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4.xml" ContentType="application/vnd.openxmlformats-officedocument.presentationml.tags+xml"/>
  <Override PartName="/ppt/notesSlides/notesSlide24.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29.xml" ContentType="application/vnd.openxmlformats-officedocument.presentationml.notesSlide+xml"/>
  <Override PartName="/ppt/tags/tag12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62"/>
  </p:notesMasterIdLst>
  <p:handoutMasterIdLst>
    <p:handoutMasterId r:id="rId63"/>
  </p:handoutMasterIdLst>
  <p:sldIdLst>
    <p:sldId id="1195" r:id="rId2"/>
    <p:sldId id="1130" r:id="rId3"/>
    <p:sldId id="882" r:id="rId4"/>
    <p:sldId id="1152" r:id="rId5"/>
    <p:sldId id="1135" r:id="rId6"/>
    <p:sldId id="1198" r:id="rId7"/>
    <p:sldId id="1199" r:id="rId8"/>
    <p:sldId id="1197" r:id="rId9"/>
    <p:sldId id="1136" r:id="rId10"/>
    <p:sldId id="1133" r:id="rId11"/>
    <p:sldId id="1175" r:id="rId12"/>
    <p:sldId id="1176" r:id="rId13"/>
    <p:sldId id="1177" r:id="rId14"/>
    <p:sldId id="1203" r:id="rId15"/>
    <p:sldId id="1179" r:id="rId16"/>
    <p:sldId id="1180" r:id="rId17"/>
    <p:sldId id="1181" r:id="rId18"/>
    <p:sldId id="1182" r:id="rId19"/>
    <p:sldId id="1183" r:id="rId20"/>
    <p:sldId id="1184" r:id="rId21"/>
    <p:sldId id="1185" r:id="rId22"/>
    <p:sldId id="1186" r:id="rId23"/>
    <p:sldId id="1187" r:id="rId24"/>
    <p:sldId id="1188" r:id="rId25"/>
    <p:sldId id="1190" r:id="rId26"/>
    <p:sldId id="1191" r:id="rId27"/>
    <p:sldId id="1192" r:id="rId28"/>
    <p:sldId id="1193" r:id="rId29"/>
    <p:sldId id="1132" r:id="rId30"/>
    <p:sldId id="1165" r:id="rId31"/>
    <p:sldId id="1166" r:id="rId32"/>
    <p:sldId id="1168" r:id="rId33"/>
    <p:sldId id="1172" r:id="rId34"/>
    <p:sldId id="1167" r:id="rId35"/>
    <p:sldId id="1107" r:id="rId36"/>
    <p:sldId id="1112" r:id="rId37"/>
    <p:sldId id="1169" r:id="rId38"/>
    <p:sldId id="1173" r:id="rId39"/>
    <p:sldId id="1194" r:id="rId40"/>
    <p:sldId id="1028" r:id="rId41"/>
    <p:sldId id="1170" r:id="rId42"/>
    <p:sldId id="1205" r:id="rId43"/>
    <p:sldId id="1058" r:id="rId44"/>
    <p:sldId id="1127" r:id="rId45"/>
    <p:sldId id="1103" r:id="rId46"/>
    <p:sldId id="1128" r:id="rId47"/>
    <p:sldId id="1151" r:id="rId48"/>
    <p:sldId id="1154" r:id="rId49"/>
    <p:sldId id="1155" r:id="rId50"/>
    <p:sldId id="1156" r:id="rId51"/>
    <p:sldId id="1157" r:id="rId52"/>
    <p:sldId id="1158" r:id="rId53"/>
    <p:sldId id="1159" r:id="rId54"/>
    <p:sldId id="1160" r:id="rId55"/>
    <p:sldId id="1161" r:id="rId56"/>
    <p:sldId id="1162" r:id="rId57"/>
    <p:sldId id="1164" r:id="rId58"/>
    <p:sldId id="1204" r:id="rId59"/>
    <p:sldId id="1174" r:id="rId60"/>
    <p:sldId id="881" r:id="rId61"/>
  </p:sldIdLst>
  <p:sldSz cx="12190413" cy="6859588"/>
  <p:notesSz cx="7099300" cy="10234613"/>
  <p:custDataLst>
    <p:tags r:id="rId64"/>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56">
          <p15:clr>
            <a:srgbClr val="A4A3A4"/>
          </p15:clr>
        </p15:guide>
        <p15:guide id="6" pos="347" userDrawn="1">
          <p15:clr>
            <a:srgbClr val="A4A3A4"/>
          </p15:clr>
        </p15:guide>
        <p15:guide id="10" orient="horz" pos="3748">
          <p15:clr>
            <a:srgbClr val="A4A3A4"/>
          </p15:clr>
        </p15:guide>
        <p15:guide id="11" orient="horz" pos="1072" userDrawn="1">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1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65" autoAdjust="0"/>
    <p:restoredTop sz="94015" autoAdjust="0"/>
  </p:normalViewPr>
  <p:slideViewPr>
    <p:cSldViewPr>
      <p:cViewPr varScale="1">
        <p:scale>
          <a:sx n="65" d="100"/>
          <a:sy n="65" d="100"/>
        </p:scale>
        <p:origin x="1170" y="66"/>
      </p:cViewPr>
      <p:guideLst>
        <p:guide orient="horz" pos="4156"/>
        <p:guide pos="347"/>
        <p:guide orient="horz" pos="3748"/>
        <p:guide orient="horz" pos="1072"/>
        <p:guide pos="7332"/>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75" d="100"/>
        <a:sy n="75" d="100"/>
      </p:scale>
      <p:origin x="0" y="0"/>
    </p:cViewPr>
  </p:sorterViewPr>
  <p:notesViewPr>
    <p:cSldViewPr showGuides="1">
      <p:cViewPr varScale="1">
        <p:scale>
          <a:sx n="50" d="100"/>
          <a:sy n="50" d="100"/>
        </p:scale>
        <p:origin x="2928" y="54"/>
      </p:cViewPr>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5.wmf"/><Relationship Id="rId7" Type="http://schemas.openxmlformats.org/officeDocument/2006/relationships/image" Target="../media/image29.wmf"/><Relationship Id="rId2" Type="http://schemas.openxmlformats.org/officeDocument/2006/relationships/image" Target="../media/image24.wmf"/><Relationship Id="rId1" Type="http://schemas.openxmlformats.org/officeDocument/2006/relationships/image" Target="../media/image23.wmf"/><Relationship Id="rId6" Type="http://schemas.openxmlformats.org/officeDocument/2006/relationships/image" Target="../media/image28.wmf"/><Relationship Id="rId5" Type="http://schemas.openxmlformats.org/officeDocument/2006/relationships/image" Target="../media/image27.wmf"/><Relationship Id="rId4" Type="http://schemas.openxmlformats.org/officeDocument/2006/relationships/image" Target="../media/image2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0.w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844031" y="9564130"/>
            <a:ext cx="2607029" cy="518724"/>
          </a:xfrm>
          <a:prstGeom prst="rect">
            <a:avLst/>
          </a:prstGeom>
        </p:spPr>
        <p:txBody>
          <a:bodyPr vert="horz" lIns="0" tIns="47311" rIns="0" bIns="47311" rtlCol="0" anchor="b"/>
          <a:lstStyle>
            <a:lvl1pPr algn="l">
              <a:defRPr sz="1200"/>
            </a:lvl1pPr>
          </a:lstStyle>
          <a:p>
            <a:endParaRPr lang="de-DE" sz="1000" dirty="0"/>
          </a:p>
        </p:txBody>
      </p:sp>
      <p:sp>
        <p:nvSpPr>
          <p:cNvPr id="5" name="Foliennummernplatzhalter 4"/>
          <p:cNvSpPr>
            <a:spLocks noGrp="1"/>
          </p:cNvSpPr>
          <p:nvPr>
            <p:ph type="sldNum" sz="quarter" idx="3"/>
          </p:nvPr>
        </p:nvSpPr>
        <p:spPr>
          <a:xfrm>
            <a:off x="498459" y="9564130"/>
            <a:ext cx="450642" cy="518724"/>
          </a:xfrm>
          <a:prstGeom prst="rect">
            <a:avLst/>
          </a:prstGeom>
        </p:spPr>
        <p:txBody>
          <a:bodyPr vert="horz" lIns="0" tIns="47311" rIns="0" bIns="47311" rtlCol="0" anchor="b"/>
          <a:lstStyle>
            <a:lvl1pPr algn="r">
              <a:defRPr sz="1200"/>
            </a:lvl1pPr>
          </a:lstStyle>
          <a:p>
            <a:pPr algn="l"/>
            <a:fld id="{93C8CD6B-BF8D-416F-A23B-2FEDEDDDEC41}" type="slidenum">
              <a:rPr lang="de-DE" sz="1000"/>
              <a:pPr algn="l"/>
              <a:t>‹#›</a:t>
            </a:fld>
            <a:endParaRPr lang="de-DE" sz="1000" dirty="0"/>
          </a:p>
        </p:txBody>
      </p:sp>
      <p:sp>
        <p:nvSpPr>
          <p:cNvPr id="6" name="Datumsplatzhalter 5"/>
          <p:cNvSpPr>
            <a:spLocks noGrp="1"/>
          </p:cNvSpPr>
          <p:nvPr>
            <p:ph type="dt" sz="quarter" idx="1"/>
          </p:nvPr>
        </p:nvSpPr>
        <p:spPr>
          <a:xfrm>
            <a:off x="978182" y="9564130"/>
            <a:ext cx="826178" cy="518724"/>
          </a:xfrm>
          <a:prstGeom prst="rect">
            <a:avLst/>
          </a:prstGeom>
        </p:spPr>
        <p:txBody>
          <a:bodyPr vert="horz" lIns="0" tIns="47311" rIns="0" bIns="47311" rtlCol="0" anchor="b"/>
          <a:lstStyle>
            <a:lvl1pPr algn="r">
              <a:defRPr sz="1200"/>
            </a:lvl1pPr>
          </a:lstStyle>
          <a:p>
            <a:pPr algn="l"/>
            <a:fld id="{A275DB6B-841C-46DF-8996-E025E890D51B}" type="datetime1">
              <a:rPr lang="de-DE" sz="1000"/>
              <a:t>25.08.2021</a:t>
            </a:fld>
            <a:endParaRPr lang="de-DE" sz="1000" dirty="0"/>
          </a:p>
        </p:txBody>
      </p:sp>
      <p:pic>
        <p:nvPicPr>
          <p:cNvPr id="8" name="Grafik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06606" y="9564131"/>
            <a:ext cx="1877676" cy="462586"/>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mod="1">
    <p:ext uri="{56416CCD-93CA-4268-BC5B-53C4BB910035}">
      <p15:sldGuideLst xmlns:p15="http://schemas.microsoft.com/office/powerpoint/2012/main">
        <p15:guide id="2" pos="314" userDrawn="1">
          <p15:clr>
            <a:srgbClr val="F26B43"/>
          </p15:clr>
        </p15:guide>
        <p15:guide id="3" pos="414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95769" y="9564203"/>
            <a:ext cx="826178" cy="518724"/>
          </a:xfrm>
          <a:prstGeom prst="rect">
            <a:avLst/>
          </a:prstGeom>
        </p:spPr>
        <p:txBody>
          <a:bodyPr vert="horz" lIns="0" tIns="47311" rIns="0" bIns="47311" rtlCol="0" anchor="b"/>
          <a:lstStyle>
            <a:lvl1pPr algn="l">
              <a:defRPr sz="1000"/>
            </a:lvl1pPr>
          </a:lstStyle>
          <a:p>
            <a:fld id="{9DF9FDA0-5D2C-4CE2-B07C-911841670378}" type="datetime1">
              <a:rPr lang="de-DE" smtClean="0"/>
              <a:t>25.08.2021</a:t>
            </a:fld>
            <a:endParaRPr lang="de-DE" dirty="0"/>
          </a:p>
        </p:txBody>
      </p:sp>
      <p:sp>
        <p:nvSpPr>
          <p:cNvPr id="4" name="Folienbildplatzhalter 3"/>
          <p:cNvSpPr>
            <a:spLocks noGrp="1" noRot="1" noChangeAspect="1"/>
          </p:cNvSpPr>
          <p:nvPr>
            <p:ph type="sldImg" idx="2"/>
          </p:nvPr>
        </p:nvSpPr>
        <p:spPr>
          <a:xfrm>
            <a:off x="538163" y="522288"/>
            <a:ext cx="6003925" cy="3378200"/>
          </a:xfrm>
          <a:prstGeom prst="rect">
            <a:avLst/>
          </a:prstGeom>
          <a:noFill/>
          <a:ln w="9525">
            <a:solidFill>
              <a:schemeClr val="accent5"/>
            </a:solidFill>
          </a:ln>
        </p:spPr>
        <p:txBody>
          <a:bodyPr vert="horz" lIns="94622" tIns="47311" rIns="94622" bIns="47311" rtlCol="0" anchor="ctr"/>
          <a:lstStyle/>
          <a:p>
            <a:endParaRPr lang="de-DE" dirty="0"/>
          </a:p>
        </p:txBody>
      </p:sp>
      <p:sp>
        <p:nvSpPr>
          <p:cNvPr id="5" name="Notizenplatzhalter 4"/>
          <p:cNvSpPr>
            <a:spLocks noGrp="1"/>
          </p:cNvSpPr>
          <p:nvPr>
            <p:ph type="body" sz="quarter" idx="3"/>
          </p:nvPr>
        </p:nvSpPr>
        <p:spPr>
          <a:xfrm>
            <a:off x="498458" y="4302055"/>
            <a:ext cx="6085823" cy="5039735"/>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a:t>
            </a:r>
          </a:p>
          <a:p>
            <a:pPr lvl="6"/>
            <a:r>
              <a:rPr lang="de-DE" dirty="0"/>
              <a:t>Sieben</a:t>
            </a:r>
          </a:p>
          <a:p>
            <a:pPr lvl="7"/>
            <a:r>
              <a:rPr lang="de-DE" dirty="0"/>
              <a:t>Acht</a:t>
            </a:r>
          </a:p>
          <a:p>
            <a:pPr lvl="8"/>
            <a:r>
              <a:rPr lang="de-DE" dirty="0"/>
              <a:t>Neun</a:t>
            </a:r>
          </a:p>
        </p:txBody>
      </p:sp>
      <p:sp>
        <p:nvSpPr>
          <p:cNvPr id="6" name="Fußzeilenplatzhalter 5"/>
          <p:cNvSpPr>
            <a:spLocks noGrp="1"/>
          </p:cNvSpPr>
          <p:nvPr>
            <p:ph type="ftr" sz="quarter" idx="4"/>
          </p:nvPr>
        </p:nvSpPr>
        <p:spPr>
          <a:xfrm>
            <a:off x="1897482" y="9564203"/>
            <a:ext cx="4686800" cy="518724"/>
          </a:xfrm>
          <a:prstGeom prst="rect">
            <a:avLst/>
          </a:prstGeom>
        </p:spPr>
        <p:txBody>
          <a:bodyPr vert="horz" lIns="0" tIns="47311" rIns="0" bIns="47311" rtlCol="0" anchor="b"/>
          <a:lstStyle>
            <a:lvl1pPr algn="l">
              <a:defRPr sz="1000"/>
            </a:lvl1pPr>
          </a:lstStyle>
          <a:p>
            <a:endParaRPr lang="de-DE" dirty="0"/>
          </a:p>
        </p:txBody>
      </p:sp>
      <p:sp>
        <p:nvSpPr>
          <p:cNvPr id="7" name="Foliennummernplatzhalter 6"/>
          <p:cNvSpPr>
            <a:spLocks noGrp="1"/>
          </p:cNvSpPr>
          <p:nvPr>
            <p:ph type="sldNum" sz="quarter" idx="5"/>
          </p:nvPr>
        </p:nvSpPr>
        <p:spPr>
          <a:xfrm>
            <a:off x="498459" y="9564131"/>
            <a:ext cx="450642" cy="518724"/>
          </a:xfrm>
          <a:prstGeom prst="rect">
            <a:avLst/>
          </a:prstGeom>
        </p:spPr>
        <p:txBody>
          <a:bodyPr vert="horz" lIns="0" tIns="47311" rIns="0" bIns="47311" rtlCol="0" anchor="b"/>
          <a:lstStyle>
            <a:lvl1pPr algn="l">
              <a:defRPr sz="1000"/>
            </a:lvl1pPr>
          </a:lstStyle>
          <a:p>
            <a:fld id="{9CB64AB4-7874-472E-9B88-D201B44CC3AF}" type="slidenum">
              <a:rPr lang="de-DE" smtClean="0"/>
              <a:pPr/>
              <a:t>‹#›</a:t>
            </a:fld>
            <a:endParaRPr lang="de-DE" dirty="0"/>
          </a:p>
        </p:txBody>
      </p:sp>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tx2"/>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pos="4148" userDrawn="1">
          <p15:clr>
            <a:srgbClr val="F26B43"/>
          </p15:clr>
        </p15:guide>
        <p15:guide id="2" orient="horz" pos="310" userDrawn="1">
          <p15:clr>
            <a:srgbClr val="F26B43"/>
          </p15:clr>
        </p15:guide>
        <p15:guide id="3" pos="31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506413"/>
            <a:ext cx="5815013" cy="3271837"/>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0"/>
          </p:nvPr>
        </p:nvSpPr>
        <p:spPr/>
        <p:txBody>
          <a:bodyPr/>
          <a:lstStyle/>
          <a:p>
            <a:fld id="{3390C5F0-FF1D-464E-B337-D2D5F6BD2C3C}" type="datetime1">
              <a:rPr lang="de-DE" smtClean="0"/>
              <a:t>25.08.2021</a:t>
            </a:fld>
            <a:endParaRPr lang="en-US" dirty="0"/>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9CB64AB4-7874-472E-9B88-D201B44CC3AF}" type="slidenum">
              <a:rPr lang="en-US" smtClean="0"/>
              <a:pPr/>
              <a:t>1</a:t>
            </a:fld>
            <a:endParaRPr lang="en-US" dirty="0"/>
          </a:p>
        </p:txBody>
      </p:sp>
    </p:spTree>
    <p:extLst>
      <p:ext uri="{BB962C8B-B14F-4D97-AF65-F5344CB8AC3E}">
        <p14:creationId xmlns:p14="http://schemas.microsoft.com/office/powerpoint/2010/main" val="3898263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5</a:t>
            </a:fld>
            <a:endParaRPr lang="en-US" dirty="0"/>
          </a:p>
        </p:txBody>
      </p:sp>
    </p:spTree>
    <p:extLst>
      <p:ext uri="{BB962C8B-B14F-4D97-AF65-F5344CB8AC3E}">
        <p14:creationId xmlns:p14="http://schemas.microsoft.com/office/powerpoint/2010/main" val="2998706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6</a:t>
            </a:fld>
            <a:endParaRPr lang="en-US" dirty="0"/>
          </a:p>
        </p:txBody>
      </p:sp>
    </p:spTree>
    <p:extLst>
      <p:ext uri="{BB962C8B-B14F-4D97-AF65-F5344CB8AC3E}">
        <p14:creationId xmlns:p14="http://schemas.microsoft.com/office/powerpoint/2010/main" val="3839487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7</a:t>
            </a:fld>
            <a:endParaRPr lang="en-US" dirty="0"/>
          </a:p>
        </p:txBody>
      </p:sp>
    </p:spTree>
    <p:extLst>
      <p:ext uri="{BB962C8B-B14F-4D97-AF65-F5344CB8AC3E}">
        <p14:creationId xmlns:p14="http://schemas.microsoft.com/office/powerpoint/2010/main" val="17348999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8</a:t>
            </a:fld>
            <a:endParaRPr lang="en-US" dirty="0"/>
          </a:p>
        </p:txBody>
      </p:sp>
    </p:spTree>
    <p:extLst>
      <p:ext uri="{BB962C8B-B14F-4D97-AF65-F5344CB8AC3E}">
        <p14:creationId xmlns:p14="http://schemas.microsoft.com/office/powerpoint/2010/main" val="28654259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9</a:t>
            </a:fld>
            <a:endParaRPr lang="en-US" dirty="0"/>
          </a:p>
        </p:txBody>
      </p:sp>
    </p:spTree>
    <p:extLst>
      <p:ext uri="{BB962C8B-B14F-4D97-AF65-F5344CB8AC3E}">
        <p14:creationId xmlns:p14="http://schemas.microsoft.com/office/powerpoint/2010/main" val="6764838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0</a:t>
            </a:fld>
            <a:endParaRPr lang="en-US" dirty="0"/>
          </a:p>
        </p:txBody>
      </p:sp>
    </p:spTree>
    <p:extLst>
      <p:ext uri="{BB962C8B-B14F-4D97-AF65-F5344CB8AC3E}">
        <p14:creationId xmlns:p14="http://schemas.microsoft.com/office/powerpoint/2010/main" val="10070231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1</a:t>
            </a:fld>
            <a:endParaRPr lang="en-US" dirty="0"/>
          </a:p>
        </p:txBody>
      </p:sp>
    </p:spTree>
    <p:extLst>
      <p:ext uri="{BB962C8B-B14F-4D97-AF65-F5344CB8AC3E}">
        <p14:creationId xmlns:p14="http://schemas.microsoft.com/office/powerpoint/2010/main" val="829364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3</a:t>
            </a:fld>
            <a:endParaRPr lang="en-US" dirty="0"/>
          </a:p>
        </p:txBody>
      </p:sp>
    </p:spTree>
    <p:extLst>
      <p:ext uri="{BB962C8B-B14F-4D97-AF65-F5344CB8AC3E}">
        <p14:creationId xmlns:p14="http://schemas.microsoft.com/office/powerpoint/2010/main" val="4202812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4</a:t>
            </a:fld>
            <a:endParaRPr lang="en-US" dirty="0"/>
          </a:p>
        </p:txBody>
      </p:sp>
    </p:spTree>
    <p:extLst>
      <p:ext uri="{BB962C8B-B14F-4D97-AF65-F5344CB8AC3E}">
        <p14:creationId xmlns:p14="http://schemas.microsoft.com/office/powerpoint/2010/main" val="2815175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6</a:t>
            </a:fld>
            <a:endParaRPr lang="en-US" dirty="0"/>
          </a:p>
        </p:txBody>
      </p:sp>
    </p:spTree>
    <p:extLst>
      <p:ext uri="{BB962C8B-B14F-4D97-AF65-F5344CB8AC3E}">
        <p14:creationId xmlns:p14="http://schemas.microsoft.com/office/powerpoint/2010/main" val="3026287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27813" cy="372903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E8C29233-B3E7-4DFE-8CA6-181C4499CE71}" type="slidenum">
              <a:rPr lang="en-US" smtClean="0"/>
              <a:t>2</a:t>
            </a:fld>
            <a:endParaRPr lang="en-US" dirty="0"/>
          </a:p>
        </p:txBody>
      </p:sp>
    </p:spTree>
    <p:extLst>
      <p:ext uri="{BB962C8B-B14F-4D97-AF65-F5344CB8AC3E}">
        <p14:creationId xmlns:p14="http://schemas.microsoft.com/office/powerpoint/2010/main" val="33774502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7</a:t>
            </a:fld>
            <a:endParaRPr lang="en-US" dirty="0"/>
          </a:p>
        </p:txBody>
      </p:sp>
    </p:spTree>
    <p:extLst>
      <p:ext uri="{BB962C8B-B14F-4D97-AF65-F5344CB8AC3E}">
        <p14:creationId xmlns:p14="http://schemas.microsoft.com/office/powerpoint/2010/main" val="29098774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28</a:t>
            </a:fld>
            <a:endParaRPr lang="en-US" dirty="0"/>
          </a:p>
        </p:txBody>
      </p:sp>
    </p:spTree>
    <p:extLst>
      <p:ext uri="{BB962C8B-B14F-4D97-AF65-F5344CB8AC3E}">
        <p14:creationId xmlns:p14="http://schemas.microsoft.com/office/powerpoint/2010/main" val="33601398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29</a:t>
            </a:fld>
            <a:endParaRPr lang="uk-UA"/>
          </a:p>
        </p:txBody>
      </p:sp>
    </p:spTree>
    <p:extLst>
      <p:ext uri="{BB962C8B-B14F-4D97-AF65-F5344CB8AC3E}">
        <p14:creationId xmlns:p14="http://schemas.microsoft.com/office/powerpoint/2010/main" val="6224758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 The case studies nicely highlighted the importance of managing the chemical inventory and controlling the proces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Here's a graphic that showcases our points of intervention, </a:t>
            </a:r>
            <a:r>
              <a:rPr lang="en-US" sz="1200" kern="1200" dirty="0" err="1" smtClean="0">
                <a:solidFill>
                  <a:schemeClr val="tx1"/>
                </a:solidFill>
                <a:effectLst/>
                <a:latin typeface="+mn-lt"/>
                <a:ea typeface="+mn-ea"/>
                <a:cs typeface="+mn-cs"/>
              </a:rPr>
              <a:t>i.e</a:t>
            </a:r>
            <a:r>
              <a:rPr lang="en-US" sz="1200" kern="1200" dirty="0" smtClean="0">
                <a:solidFill>
                  <a:schemeClr val="tx1"/>
                </a:solidFill>
                <a:effectLst/>
                <a:latin typeface="+mn-lt"/>
                <a:ea typeface="+mn-ea"/>
                <a:cs typeface="+mn-cs"/>
              </a:rPr>
              <a:t> evaluating the Input Chemistry right at the beginning, the production process via audit and wastewater analysis; along with Root Cause Analysis via our IMP-ACT program for improvement actions</a:t>
            </a:r>
          </a:p>
          <a:p>
            <a:r>
              <a:rPr lang="en-US" sz="1200" kern="1200" dirty="0" smtClean="0">
                <a:solidFill>
                  <a:schemeClr val="tx1"/>
                </a:solidFill>
                <a:effectLst/>
                <a:latin typeface="+mn-lt"/>
                <a:ea typeface="+mn-ea"/>
                <a:cs typeface="+mn-cs"/>
              </a:rPr>
              <a:t>And finally the end product to make sure it's safe for consumer and for the circular economy or environment depending on what happens at end of life</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E61E1D1-FF9B-4B03-A435-8A87E6E39BC4}" type="slidenum">
              <a:rPr lang="en-US" smtClean="0"/>
              <a:t>30</a:t>
            </a:fld>
            <a:endParaRPr lang="en-US"/>
          </a:p>
        </p:txBody>
      </p:sp>
    </p:spTree>
    <p:extLst>
      <p:ext uri="{BB962C8B-B14F-4D97-AF65-F5344CB8AC3E}">
        <p14:creationId xmlns:p14="http://schemas.microsoft.com/office/powerpoint/2010/main" val="3783183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rtl="0"/>
            <a:endParaRPr lang="en-GB" sz="1200" kern="1200" dirty="0" smtClean="0">
              <a:solidFill>
                <a:schemeClr val="tx1"/>
              </a:solidFill>
              <a:effectLst/>
              <a:latin typeface="+mn-lt"/>
              <a:ea typeface="+mn-ea"/>
              <a:cs typeface="+mn-cs"/>
            </a:endParaRPr>
          </a:p>
        </p:txBody>
      </p:sp>
      <p:sp>
        <p:nvSpPr>
          <p:cNvPr id="4" name="Datumsplatzhalter 3"/>
          <p:cNvSpPr>
            <a:spLocks noGrp="1"/>
          </p:cNvSpPr>
          <p:nvPr>
            <p:ph type="dt" idx="10"/>
          </p:nvPr>
        </p:nvSpPr>
        <p:spPr/>
        <p:txBody>
          <a:bodyPr/>
          <a:lstStyle/>
          <a:p>
            <a:fld id="{13CE90DD-CD88-46D0-BBBF-7707E55A2206}" type="datetime1">
              <a:rPr lang="de-DE" smtClean="0"/>
              <a:t>25.08.2021</a:t>
            </a:fld>
            <a:endParaRPr lang="en-GB" dirty="0"/>
          </a:p>
        </p:txBody>
      </p:sp>
      <p:sp>
        <p:nvSpPr>
          <p:cNvPr id="5" name="Fußzeilenplatzhalter 4"/>
          <p:cNvSpPr>
            <a:spLocks noGrp="1"/>
          </p:cNvSpPr>
          <p:nvPr>
            <p:ph type="ftr" sz="quarter" idx="11"/>
          </p:nvPr>
        </p:nvSpPr>
        <p:spPr/>
        <p:txBody>
          <a:bodyPr/>
          <a:lstStyle/>
          <a:p>
            <a:endParaRPr lang="en-GB" dirty="0"/>
          </a:p>
        </p:txBody>
      </p:sp>
      <p:sp>
        <p:nvSpPr>
          <p:cNvPr id="6" name="Foliennummernplatzhalter 5"/>
          <p:cNvSpPr>
            <a:spLocks noGrp="1"/>
          </p:cNvSpPr>
          <p:nvPr>
            <p:ph type="sldNum" sz="quarter" idx="12"/>
          </p:nvPr>
        </p:nvSpPr>
        <p:spPr/>
        <p:txBody>
          <a:bodyPr/>
          <a:lstStyle/>
          <a:p>
            <a:fld id="{9CB64AB4-7874-472E-9B88-D201B44CC3AF}" type="slidenum">
              <a:rPr lang="en-GB" smtClean="0"/>
              <a:pPr/>
              <a:t>31</a:t>
            </a:fld>
            <a:endParaRPr lang="en-GB" dirty="0"/>
          </a:p>
        </p:txBody>
      </p:sp>
    </p:spTree>
    <p:extLst>
      <p:ext uri="{BB962C8B-B14F-4D97-AF65-F5344CB8AC3E}">
        <p14:creationId xmlns:p14="http://schemas.microsoft.com/office/powerpoint/2010/main" val="16394148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7838" y="508000"/>
            <a:ext cx="5832475" cy="3282950"/>
          </a:xfrm>
        </p:spPr>
      </p:sp>
      <p:sp>
        <p:nvSpPr>
          <p:cNvPr id="3" name="Notizenplatzhalter 2"/>
          <p:cNvSpPr>
            <a:spLocks noGrp="1"/>
          </p:cNvSpPr>
          <p:nvPr>
            <p:ph type="body" idx="1"/>
          </p:nvPr>
        </p:nvSpPr>
        <p:spPr/>
        <p:txBody>
          <a:bodyPr/>
          <a:lstStyle/>
          <a:p>
            <a:endParaRPr lang="en-US" dirty="0"/>
          </a:p>
        </p:txBody>
      </p:sp>
      <p:sp>
        <p:nvSpPr>
          <p:cNvPr id="4" name="Datumsplatzhalter 3"/>
          <p:cNvSpPr>
            <a:spLocks noGrp="1"/>
          </p:cNvSpPr>
          <p:nvPr>
            <p:ph type="dt" idx="10"/>
          </p:nvPr>
        </p:nvSpPr>
        <p:spPr/>
        <p:txBody>
          <a:bodyPr/>
          <a:lstStyle/>
          <a:p>
            <a:fld id="{263C931F-95DE-42E8-A0AB-FB7438398485}" type="datetime1">
              <a:rPr lang="de-DE" smtClean="0"/>
              <a:t>25.08.2021</a:t>
            </a:fld>
            <a:endParaRPr lang="en-US" dirty="0"/>
          </a:p>
        </p:txBody>
      </p:sp>
      <p:sp>
        <p:nvSpPr>
          <p:cNvPr id="5" name="Fußzeilenplatzhalter 4"/>
          <p:cNvSpPr>
            <a:spLocks noGrp="1"/>
          </p:cNvSpPr>
          <p:nvPr>
            <p:ph type="ftr" sz="quarter" idx="11"/>
          </p:nvPr>
        </p:nvSpPr>
        <p:spPr/>
        <p:txBody>
          <a:bodyPr/>
          <a:lstStyle/>
          <a:p>
            <a:endParaRPr lang="en-US" dirty="0"/>
          </a:p>
        </p:txBody>
      </p:sp>
      <p:sp>
        <p:nvSpPr>
          <p:cNvPr id="6" name="Foliennummernplatzhalter 5"/>
          <p:cNvSpPr>
            <a:spLocks noGrp="1"/>
          </p:cNvSpPr>
          <p:nvPr>
            <p:ph type="sldNum" sz="quarter" idx="12"/>
          </p:nvPr>
        </p:nvSpPr>
        <p:spPr/>
        <p:txBody>
          <a:bodyPr/>
          <a:lstStyle/>
          <a:p>
            <a:fld id="{9CB64AB4-7874-472E-9B88-D201B44CC3AF}" type="slidenum">
              <a:rPr lang="en-US" smtClean="0"/>
              <a:pPr/>
              <a:t>32</a:t>
            </a:fld>
            <a:endParaRPr lang="en-US" dirty="0"/>
          </a:p>
        </p:txBody>
      </p:sp>
    </p:spTree>
    <p:extLst>
      <p:ext uri="{BB962C8B-B14F-4D97-AF65-F5344CB8AC3E}">
        <p14:creationId xmlns:p14="http://schemas.microsoft.com/office/powerpoint/2010/main" val="30112724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rtl="0">
              <a:spcBef>
                <a:spcPts val="0"/>
              </a:spcBef>
              <a:spcAft>
                <a:spcPts val="0"/>
              </a:spcAft>
              <a:buClr>
                <a:schemeClr val="dk1"/>
              </a:buClr>
              <a:buSzPts val="1200"/>
              <a:buFont typeface="Arial"/>
              <a:buNone/>
            </a:pPr>
            <a:r>
              <a:rPr lang="en-GB" sz="1200" b="0" i="0" u="none" strike="noStrike" cap="none" dirty="0" smtClean="0">
                <a:solidFill>
                  <a:schemeClr val="dk1"/>
                </a:solidFill>
                <a:latin typeface="+mn-lt"/>
                <a:ea typeface="Arial"/>
                <a:cs typeface="Arial"/>
                <a:sym typeface="Arial"/>
              </a:rPr>
              <a:t>The intended audiences are both management and environmental / chemical responsible in the tanneries and EHS managers of wet and finishing processing. </a:t>
            </a:r>
            <a:endParaRPr lang="en-GB" dirty="0" smtClean="0"/>
          </a:p>
          <a:p>
            <a:pPr marL="0" marR="0" lvl="0" indent="0" algn="l" rtl="0">
              <a:spcBef>
                <a:spcPts val="0"/>
              </a:spcBef>
              <a:spcAft>
                <a:spcPts val="0"/>
              </a:spcAft>
              <a:buClr>
                <a:schemeClr val="dk1"/>
              </a:buClr>
              <a:buSzPts val="1200"/>
              <a:buFont typeface="Arial"/>
              <a:buNone/>
            </a:pPr>
            <a:r>
              <a:rPr lang="en-GB" sz="1200" b="0" i="0" u="none" strike="noStrike" cap="none" dirty="0" smtClean="0">
                <a:solidFill>
                  <a:schemeClr val="dk1"/>
                </a:solidFill>
                <a:latin typeface="+mn-lt"/>
                <a:ea typeface="Arial"/>
                <a:cs typeface="Arial"/>
                <a:sym typeface="Arial"/>
              </a:rPr>
              <a:t>For environmental / chemical responsible, the training will help them to understand the harmful effects of hazardous chemicals used in tanneries  and why and how the chemical management system is important in wet and finishing processing facilities,</a:t>
            </a:r>
            <a:endParaRPr lang="en-GB" dirty="0" smtClean="0"/>
          </a:p>
          <a:p>
            <a:pPr marL="0" marR="0" lvl="0" indent="0" algn="l" rtl="0">
              <a:spcBef>
                <a:spcPts val="0"/>
              </a:spcBef>
              <a:spcAft>
                <a:spcPts val="0"/>
              </a:spcAft>
              <a:buClr>
                <a:schemeClr val="dk1"/>
              </a:buClr>
              <a:buSzPts val="1200"/>
              <a:buFont typeface="Arial"/>
              <a:buNone/>
            </a:pPr>
            <a:r>
              <a:rPr lang="en-GB" sz="1200" b="0" i="0" u="none" strike="noStrike" cap="none" dirty="0" smtClean="0">
                <a:solidFill>
                  <a:schemeClr val="dk1"/>
                </a:solidFill>
                <a:latin typeface="+mn-lt"/>
                <a:ea typeface="Arial"/>
                <a:cs typeface="Arial"/>
                <a:sym typeface="Arial"/>
              </a:rPr>
              <a:t>For Management and EHS managers of wet and finishing processing facilities the training will support and empower you to initiate the process of establishing a chemical management system in their organization and provide general guidance on chemical management practice</a:t>
            </a:r>
            <a:endParaRPr lang="en-GB" dirty="0" smtClean="0"/>
          </a:p>
          <a:p>
            <a:pPr marL="0" marR="0" lvl="0" indent="0" algn="l" rtl="0">
              <a:spcBef>
                <a:spcPts val="0"/>
              </a:spcBef>
              <a:spcAft>
                <a:spcPts val="0"/>
              </a:spcAft>
              <a:buNone/>
            </a:pPr>
            <a:endParaRPr lang="en-GB" sz="1200" b="0" i="0" u="none" strike="noStrike" cap="none" dirty="0" smtClean="0">
              <a:solidFill>
                <a:schemeClr val="dk1"/>
              </a:solidFill>
              <a:latin typeface="+mn-lt"/>
              <a:ea typeface="Arial"/>
              <a:cs typeface="Arial"/>
              <a:sym typeface="Arial"/>
            </a:endParaRPr>
          </a:p>
          <a:p>
            <a:endParaRPr lang="en-GB" dirty="0"/>
          </a:p>
        </p:txBody>
      </p:sp>
      <p:sp>
        <p:nvSpPr>
          <p:cNvPr id="4" name="Date Placeholder 3"/>
          <p:cNvSpPr>
            <a:spLocks noGrp="1"/>
          </p:cNvSpPr>
          <p:nvPr>
            <p:ph type="dt" idx="10"/>
          </p:nvPr>
        </p:nvSpPr>
        <p:spPr/>
        <p:txBody>
          <a:bodyPr/>
          <a:lstStyle/>
          <a:p>
            <a:fld id="{9DF9FDA0-5D2C-4CE2-B07C-911841670378}" type="datetime1">
              <a:rPr lang="de-DE" smtClean="0"/>
              <a:t>25.08.2021</a:t>
            </a:fld>
            <a:endParaRPr lang="de-DE" dirty="0"/>
          </a:p>
        </p:txBody>
      </p:sp>
      <p:sp>
        <p:nvSpPr>
          <p:cNvPr id="5" name="Footer Placeholder 4"/>
          <p:cNvSpPr>
            <a:spLocks noGrp="1"/>
          </p:cNvSpPr>
          <p:nvPr>
            <p:ph type="ftr" sz="quarter" idx="11"/>
          </p:nvPr>
        </p:nvSpPr>
        <p:spPr/>
        <p:txBody>
          <a:bodyPr/>
          <a:lstStyle/>
          <a:p>
            <a:endParaRPr lang="de-DE" dirty="0"/>
          </a:p>
        </p:txBody>
      </p:sp>
      <p:sp>
        <p:nvSpPr>
          <p:cNvPr id="6" name="Slide Number Placeholder 5"/>
          <p:cNvSpPr>
            <a:spLocks noGrp="1"/>
          </p:cNvSpPr>
          <p:nvPr>
            <p:ph type="sldNum" sz="quarter" idx="12"/>
          </p:nvPr>
        </p:nvSpPr>
        <p:spPr/>
        <p:txBody>
          <a:bodyPr/>
          <a:lstStyle/>
          <a:p>
            <a:fld id="{9CB64AB4-7874-472E-9B88-D201B44CC3AF}" type="slidenum">
              <a:rPr lang="de-DE" smtClean="0"/>
              <a:pPr/>
              <a:t>33</a:t>
            </a:fld>
            <a:endParaRPr lang="de-DE" dirty="0"/>
          </a:p>
        </p:txBody>
      </p:sp>
    </p:spTree>
    <p:extLst>
      <p:ext uri="{BB962C8B-B14F-4D97-AF65-F5344CB8AC3E}">
        <p14:creationId xmlns:p14="http://schemas.microsoft.com/office/powerpoint/2010/main" val="35624090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pPr marL="0" marR="0" lvl="0" indent="0" algn="just" rtl="0">
              <a:lnSpc>
                <a:spcPct val="107000"/>
              </a:lnSpc>
              <a:spcBef>
                <a:spcPts val="0"/>
              </a:spcBef>
              <a:spcAft>
                <a:spcPts val="0"/>
              </a:spcAft>
              <a:buNone/>
            </a:pPr>
            <a:r>
              <a:rPr lang="en-GB" sz="1200" b="0" i="0" u="none" strike="noStrike" cap="none" dirty="0" smtClean="0">
                <a:solidFill>
                  <a:srgbClr val="000000"/>
                </a:solidFill>
                <a:latin typeface="Calibri"/>
                <a:ea typeface="Calibri"/>
                <a:cs typeface="Calibri"/>
                <a:sym typeface="Calibri"/>
              </a:rPr>
              <a:t>Hazardous Chemicals can also be exposed to the environmental across 4 main pathways:</a:t>
            </a:r>
            <a:endParaRPr lang="en-GB" sz="1100" b="0" i="0" u="none" strike="noStrike" cap="none" dirty="0" smtClean="0">
              <a:solidFill>
                <a:srgbClr val="000000"/>
              </a:solidFill>
              <a:latin typeface="Calibri"/>
              <a:ea typeface="Calibri"/>
              <a:cs typeface="Calibri"/>
              <a:sym typeface="Calibri"/>
            </a:endParaRPr>
          </a:p>
          <a:p>
            <a:pPr marL="342900" marR="0" lvl="0" indent="-342900" algn="just" rtl="0">
              <a:spcBef>
                <a:spcPts val="800"/>
              </a:spcBef>
              <a:spcAft>
                <a:spcPts val="0"/>
              </a:spcAft>
              <a:buClr>
                <a:schemeClr val="dk1"/>
              </a:buClr>
              <a:buSzPts val="1200"/>
              <a:buFont typeface="Calibri"/>
              <a:buAutoNum type="arabicPeriod"/>
            </a:pPr>
            <a:r>
              <a:rPr lang="en-GB" sz="1200" b="0" i="0" u="none" strike="noStrike" cap="none" dirty="0" smtClean="0">
                <a:solidFill>
                  <a:schemeClr val="dk1"/>
                </a:solidFill>
                <a:latin typeface="+mn-lt"/>
                <a:ea typeface="Arial"/>
                <a:cs typeface="Arial"/>
                <a:sym typeface="Arial"/>
              </a:rPr>
              <a:t>Waste gases liberated to the air: Greenhouse gas emissions or liberation of formaldehyde and PFOA  (from PFCs used in oil/water repellent finishes) during finishing treatment</a:t>
            </a:r>
          </a:p>
          <a:p>
            <a:pPr marL="342900" marR="0" lvl="0" indent="-342900" algn="just" rtl="0">
              <a:spcBef>
                <a:spcPts val="0"/>
              </a:spcBef>
              <a:spcAft>
                <a:spcPts val="0"/>
              </a:spcAft>
              <a:buClr>
                <a:schemeClr val="dk1"/>
              </a:buClr>
              <a:buSzPts val="1200"/>
              <a:buFont typeface="Calibri"/>
              <a:buAutoNum type="arabicPeriod"/>
            </a:pPr>
            <a:r>
              <a:rPr lang="en-GB" sz="1200" b="0" i="0" u="none" strike="noStrike" cap="none" dirty="0" smtClean="0">
                <a:solidFill>
                  <a:schemeClr val="dk1"/>
                </a:solidFill>
                <a:latin typeface="+mn-lt"/>
                <a:ea typeface="Arial"/>
                <a:cs typeface="Arial"/>
                <a:sym typeface="Arial"/>
              </a:rPr>
              <a:t>Wastewater: All chemicals that are washed out during the different stages of manufacture </a:t>
            </a:r>
            <a:r>
              <a:rPr lang="en-GB" sz="1200" b="0" i="0" u="none" strike="noStrike" cap="none" dirty="0" err="1" smtClean="0">
                <a:solidFill>
                  <a:schemeClr val="dk1"/>
                </a:solidFill>
                <a:latin typeface="+mn-lt"/>
                <a:ea typeface="Arial"/>
                <a:cs typeface="Arial"/>
                <a:sym typeface="Arial"/>
              </a:rPr>
              <a:t>i.e</a:t>
            </a:r>
            <a:r>
              <a:rPr lang="en-GB" sz="1200" b="0" i="0" u="none" strike="noStrike" cap="none" dirty="0" smtClean="0">
                <a:solidFill>
                  <a:schemeClr val="dk1"/>
                </a:solidFill>
                <a:latin typeface="+mn-lt"/>
                <a:ea typeface="Arial"/>
                <a:cs typeface="Arial"/>
                <a:sym typeface="Arial"/>
              </a:rPr>
              <a:t> </a:t>
            </a:r>
            <a:r>
              <a:rPr lang="en-GB" sz="1200" b="0" i="0" u="none" strike="noStrike" cap="none" dirty="0" err="1" smtClean="0">
                <a:solidFill>
                  <a:schemeClr val="dk1"/>
                </a:solidFill>
                <a:latin typeface="+mn-lt"/>
                <a:ea typeface="Arial"/>
                <a:cs typeface="Arial"/>
                <a:sym typeface="Arial"/>
              </a:rPr>
              <a:t>beamhouse</a:t>
            </a:r>
            <a:r>
              <a:rPr lang="en-GB" sz="1200" b="0" i="0" u="none" strike="noStrike" cap="none" dirty="0" smtClean="0">
                <a:solidFill>
                  <a:schemeClr val="dk1"/>
                </a:solidFill>
                <a:latin typeface="+mn-lt"/>
                <a:ea typeface="Arial"/>
                <a:cs typeface="Arial"/>
                <a:sym typeface="Arial"/>
              </a:rPr>
              <a:t>, wet-end, dyeing, finishing in a typical tannery facility and discharged after suitable treatment to lower the pH, BOD, COD, TSS, temperature and other regulated values.</a:t>
            </a:r>
          </a:p>
          <a:p>
            <a:pPr marL="342900" marR="0" lvl="0" indent="-342900" algn="just" rtl="0">
              <a:spcBef>
                <a:spcPts val="0"/>
              </a:spcBef>
              <a:spcAft>
                <a:spcPts val="0"/>
              </a:spcAft>
              <a:buClr>
                <a:schemeClr val="dk1"/>
              </a:buClr>
              <a:buSzPts val="1200"/>
              <a:buFont typeface="Calibri"/>
              <a:buAutoNum type="arabicPeriod"/>
            </a:pPr>
            <a:r>
              <a:rPr lang="en-GB" sz="1200" b="0" i="0" u="none" strike="noStrike" cap="none" dirty="0" smtClean="0">
                <a:solidFill>
                  <a:schemeClr val="dk1"/>
                </a:solidFill>
                <a:latin typeface="+mn-lt"/>
                <a:ea typeface="Arial"/>
                <a:cs typeface="Arial"/>
                <a:sym typeface="Arial"/>
              </a:rPr>
              <a:t>Solid waste: includes Sludge generated during the process of effluent treatment at primary and secondary stages, as well the waste products (such as flashings, trimmings, shavings, used chemical containers, </a:t>
            </a:r>
            <a:r>
              <a:rPr lang="en-GB" sz="1200" b="0" i="0" u="none" strike="noStrike" cap="none" dirty="0" err="1" smtClean="0">
                <a:solidFill>
                  <a:schemeClr val="dk1"/>
                </a:solidFill>
                <a:latin typeface="+mn-lt"/>
                <a:ea typeface="Arial"/>
                <a:cs typeface="Arial"/>
                <a:sym typeface="Arial"/>
              </a:rPr>
              <a:t>etc</a:t>
            </a:r>
            <a:r>
              <a:rPr lang="en-GB" sz="1200" b="0" i="0" u="none" strike="noStrike" cap="none" dirty="0" smtClean="0">
                <a:solidFill>
                  <a:schemeClr val="dk1"/>
                </a:solidFill>
                <a:latin typeface="+mn-lt"/>
                <a:ea typeface="Arial"/>
                <a:cs typeface="Arial"/>
                <a:sym typeface="Arial"/>
              </a:rPr>
              <a:t>) generated in the manufacturing plant.</a:t>
            </a:r>
          </a:p>
          <a:p>
            <a:pPr marL="342900" marR="0" lvl="0" indent="-342900" algn="just" rtl="0">
              <a:spcBef>
                <a:spcPts val="0"/>
              </a:spcBef>
              <a:spcAft>
                <a:spcPts val="0"/>
              </a:spcAft>
              <a:buClr>
                <a:schemeClr val="dk1"/>
              </a:buClr>
              <a:buSzPts val="1200"/>
              <a:buFont typeface="Calibri"/>
              <a:buAutoNum type="arabicPeriod"/>
            </a:pPr>
            <a:r>
              <a:rPr lang="en-GB" sz="1200" b="0" i="0" u="none" strike="noStrike" cap="none" dirty="0" smtClean="0">
                <a:solidFill>
                  <a:schemeClr val="dk1"/>
                </a:solidFill>
                <a:latin typeface="+mn-lt"/>
                <a:ea typeface="Arial"/>
                <a:cs typeface="Arial"/>
                <a:sym typeface="Arial"/>
              </a:rPr>
              <a:t>Final Product: that is garment or upholstery or leather articles, which will contain residues of hazardous chemicals which can get washed out during simple home laundering, or which may leach out of the garment and leather goods when discarded into unsecured landfills.</a:t>
            </a:r>
          </a:p>
          <a:p>
            <a:pPr marL="0" marR="0" lvl="0" indent="0" algn="l" rtl="0">
              <a:spcBef>
                <a:spcPts val="0"/>
              </a:spcBef>
              <a:spcAft>
                <a:spcPts val="0"/>
              </a:spcAft>
              <a:buNone/>
            </a:pPr>
            <a:endParaRPr lang="en-GB" sz="1200" b="0" i="0" u="none" strike="noStrike" cap="none" dirty="0" smtClean="0">
              <a:solidFill>
                <a:schemeClr val="dk1"/>
              </a:solidFill>
              <a:latin typeface="+mn-lt"/>
              <a:ea typeface="Arial"/>
              <a:cs typeface="Arial"/>
              <a:sym typeface="Arial"/>
            </a:endParaRPr>
          </a:p>
          <a:p>
            <a:endParaRPr lang="en-GB"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35</a:t>
            </a:fld>
            <a:endParaRPr lang="uk-UA"/>
          </a:p>
        </p:txBody>
      </p:sp>
    </p:spTree>
    <p:extLst>
      <p:ext uri="{BB962C8B-B14F-4D97-AF65-F5344CB8AC3E}">
        <p14:creationId xmlns:p14="http://schemas.microsoft.com/office/powerpoint/2010/main" val="18352295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pPr defTabSz="946221">
              <a:spcAft>
                <a:spcPts val="0"/>
              </a:spcAft>
              <a:buClrTx/>
              <a:defRPr/>
            </a:pPr>
            <a:r>
              <a:rPr lang="en-US" dirty="0"/>
              <a:t>It is important to note that some facilities may not have all of these sampling points.  Sampling and reporting will be adjusted accordingly.</a:t>
            </a:r>
          </a:p>
          <a:p>
            <a:endParaRPr lang="en-GB"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36</a:t>
            </a:fld>
            <a:endParaRPr lang="uk-UA"/>
          </a:p>
        </p:txBody>
      </p:sp>
    </p:spTree>
    <p:extLst>
      <p:ext uri="{BB962C8B-B14F-4D97-AF65-F5344CB8AC3E}">
        <p14:creationId xmlns:p14="http://schemas.microsoft.com/office/powerpoint/2010/main" val="9339004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in the practice</a:t>
            </a:r>
            <a:r>
              <a:rPr lang="en-US" baseline="0" dirty="0" smtClean="0"/>
              <a:t> of effective chemical mgmt., we view the ZDHC MRSL as the brain of the entire system which guides and governs the overall ecosystem</a:t>
            </a:r>
          </a:p>
          <a:p>
            <a:endParaRPr lang="en-US" baseline="0" dirty="0" smtClean="0"/>
          </a:p>
          <a:p>
            <a:r>
              <a:rPr lang="en-US" baseline="0" dirty="0" smtClean="0"/>
              <a:t>With impact for Chemical Manufacturer, for the Tier2 mills, Brands/Retailers so as to decide function and performance features of garments that could be impacted, but also assessment organization that analyze chemical products of wastewater for conformance</a:t>
            </a:r>
            <a:endParaRPr lang="en-US" dirty="0"/>
          </a:p>
        </p:txBody>
      </p:sp>
      <p:sp>
        <p:nvSpPr>
          <p:cNvPr id="4" name="Slide Number Placeholder 3"/>
          <p:cNvSpPr>
            <a:spLocks noGrp="1"/>
          </p:cNvSpPr>
          <p:nvPr>
            <p:ph type="sldNum" sz="quarter" idx="10"/>
          </p:nvPr>
        </p:nvSpPr>
        <p:spPr/>
        <p:txBody>
          <a:bodyPr/>
          <a:lstStyle/>
          <a:p>
            <a:fld id="{1E61E1D1-FF9B-4B03-A435-8A87E6E39BC4}" type="slidenum">
              <a:rPr lang="en-US" smtClean="0"/>
              <a:t>37</a:t>
            </a:fld>
            <a:endParaRPr lang="en-US"/>
          </a:p>
        </p:txBody>
      </p:sp>
    </p:spTree>
    <p:extLst>
      <p:ext uri="{BB962C8B-B14F-4D97-AF65-F5344CB8AC3E}">
        <p14:creationId xmlns:p14="http://schemas.microsoft.com/office/powerpoint/2010/main" val="6977132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3</a:t>
            </a:fld>
            <a:endParaRPr lang="uk-UA"/>
          </a:p>
        </p:txBody>
      </p:sp>
    </p:spTree>
    <p:extLst>
      <p:ext uri="{BB962C8B-B14F-4D97-AF65-F5344CB8AC3E}">
        <p14:creationId xmlns:p14="http://schemas.microsoft.com/office/powerpoint/2010/main" val="1651025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38</a:t>
            </a:fld>
            <a:endParaRPr lang="en-US" dirty="0"/>
          </a:p>
        </p:txBody>
      </p:sp>
    </p:spTree>
    <p:extLst>
      <p:ext uri="{BB962C8B-B14F-4D97-AF65-F5344CB8AC3E}">
        <p14:creationId xmlns:p14="http://schemas.microsoft.com/office/powerpoint/2010/main" val="25135516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39</a:t>
            </a:fld>
            <a:endParaRPr lang="uk-UA"/>
          </a:p>
        </p:txBody>
      </p:sp>
    </p:spTree>
    <p:extLst>
      <p:ext uri="{BB962C8B-B14F-4D97-AF65-F5344CB8AC3E}">
        <p14:creationId xmlns:p14="http://schemas.microsoft.com/office/powerpoint/2010/main" val="332214412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155028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RSL Conformance Level 1 requires a third-party review of documentation or an analytical test report where the data meet the Quality Assurance and Quality Control requirements in Annex A to be accepted as evidence of conformance</a:t>
            </a:r>
          </a:p>
        </p:txBody>
      </p:sp>
    </p:spTree>
    <p:extLst>
      <p:ext uri="{BB962C8B-B14F-4D97-AF65-F5344CB8AC3E}">
        <p14:creationId xmlns:p14="http://schemas.microsoft.com/office/powerpoint/2010/main" val="19779252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D9C3A12-1E0F-412B-B376-8089A55D946C}" type="slidenum">
              <a:rPr lang="uk-UA" smtClean="0"/>
              <a:pPr/>
              <a:t>47</a:t>
            </a:fld>
            <a:endParaRPr lang="uk-UA"/>
          </a:p>
        </p:txBody>
      </p:sp>
    </p:spTree>
    <p:extLst>
      <p:ext uri="{BB962C8B-B14F-4D97-AF65-F5344CB8AC3E}">
        <p14:creationId xmlns:p14="http://schemas.microsoft.com/office/powerpoint/2010/main" val="2036518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59</a:t>
            </a:fld>
            <a:endParaRPr lang="en-US" dirty="0"/>
          </a:p>
        </p:txBody>
      </p:sp>
    </p:spTree>
    <p:extLst>
      <p:ext uri="{BB962C8B-B14F-4D97-AF65-F5344CB8AC3E}">
        <p14:creationId xmlns:p14="http://schemas.microsoft.com/office/powerpoint/2010/main" val="28485777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7"/>
        <p:cNvGrpSpPr/>
        <p:nvPr/>
      </p:nvGrpSpPr>
      <p:grpSpPr>
        <a:xfrm>
          <a:off x="0" y="0"/>
          <a:ext cx="0" cy="0"/>
          <a:chOff x="0" y="0"/>
          <a:chExt cx="0" cy="0"/>
        </a:xfrm>
      </p:grpSpPr>
      <p:sp>
        <p:nvSpPr>
          <p:cNvPr id="2198" name="Google Shape;2198;g3f8dc59658_0_265:notes"/>
          <p:cNvSpPr>
            <a:spLocks noGrp="1" noRot="1" noChangeAspect="1"/>
          </p:cNvSpPr>
          <p:nvPr>
            <p:ph type="sldImg" idx="2"/>
          </p:nvPr>
        </p:nvSpPr>
        <p:spPr>
          <a:xfrm>
            <a:off x="754063" y="1176338"/>
            <a:ext cx="5646737" cy="31765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99" name="Google Shape;2199;g3f8dc59658_0_265:notes"/>
          <p:cNvSpPr txBox="1">
            <a:spLocks noGrp="1"/>
          </p:cNvSpPr>
          <p:nvPr>
            <p:ph type="body" idx="1"/>
          </p:nvPr>
        </p:nvSpPr>
        <p:spPr>
          <a:xfrm>
            <a:off x="715395" y="4529110"/>
            <a:ext cx="5723158" cy="3705790"/>
          </a:xfrm>
          <a:prstGeom prst="rect">
            <a:avLst/>
          </a:prstGeom>
          <a:noFill/>
          <a:ln>
            <a:noFill/>
          </a:ln>
        </p:spPr>
        <p:txBody>
          <a:bodyPr spcFirstLastPara="1" wrap="square" lIns="94607" tIns="47290" rIns="94607" bIns="47290" anchor="t" anchorCtr="0">
            <a:noAutofit/>
          </a:bodyPr>
          <a:lstStyle/>
          <a:p>
            <a:pPr>
              <a:spcAft>
                <a:spcPts val="0"/>
              </a:spcAft>
            </a:pPr>
            <a:endParaRPr dirty="0">
              <a:solidFill>
                <a:schemeClr val="dk1"/>
              </a:solidFill>
              <a:latin typeface="Calibri"/>
              <a:ea typeface="Calibri"/>
              <a:cs typeface="Calibri"/>
              <a:sym typeface="Calibri"/>
            </a:endParaRPr>
          </a:p>
          <a:p>
            <a:pPr>
              <a:spcAft>
                <a:spcPts val="0"/>
              </a:spcAft>
            </a:pPr>
            <a:r>
              <a:rPr lang="en-US" dirty="0">
                <a:solidFill>
                  <a:schemeClr val="dk1"/>
                </a:solidFill>
                <a:latin typeface="Calibri"/>
                <a:ea typeface="Calibri"/>
                <a:cs typeface="Calibri"/>
                <a:sym typeface="Calibri"/>
              </a:rPr>
              <a:t> </a:t>
            </a:r>
            <a:endParaRPr dirty="0"/>
          </a:p>
          <a:p>
            <a:pPr>
              <a:spcAft>
                <a:spcPts val="0"/>
              </a:spcAft>
            </a:pPr>
            <a:endParaRPr dirty="0">
              <a:solidFill>
                <a:schemeClr val="dk1"/>
              </a:solidFill>
              <a:latin typeface="Calibri"/>
              <a:ea typeface="Calibri"/>
              <a:cs typeface="Calibri"/>
              <a:sym typeface="Calibri"/>
            </a:endParaRPr>
          </a:p>
        </p:txBody>
      </p:sp>
      <p:sp>
        <p:nvSpPr>
          <p:cNvPr id="2200" name="Google Shape;2200;g3f8dc59658_0_265:notes"/>
          <p:cNvSpPr txBox="1">
            <a:spLocks noGrp="1"/>
          </p:cNvSpPr>
          <p:nvPr>
            <p:ph type="sldNum" idx="12"/>
          </p:nvPr>
        </p:nvSpPr>
        <p:spPr>
          <a:xfrm>
            <a:off x="4052248" y="8938948"/>
            <a:ext cx="3100044" cy="472101"/>
          </a:xfrm>
          <a:prstGeom prst="rect">
            <a:avLst/>
          </a:prstGeom>
          <a:noFill/>
          <a:ln>
            <a:noFill/>
          </a:ln>
        </p:spPr>
        <p:txBody>
          <a:bodyPr spcFirstLastPara="1" wrap="square" lIns="94607" tIns="47290" rIns="94607" bIns="47290" anchor="b" anchorCtr="0">
            <a:noAutofit/>
          </a:bodyPr>
          <a:lstStyle/>
          <a:p>
            <a:pPr algn="r"/>
            <a:fld id="{00000000-1234-1234-1234-123412341234}" type="slidenum">
              <a:rPr lang="en-US" sz="1200">
                <a:solidFill>
                  <a:schemeClr val="dk1"/>
                </a:solidFill>
                <a:latin typeface="Calibri"/>
                <a:ea typeface="Calibri"/>
                <a:cs typeface="Calibri"/>
                <a:sym typeface="Calibri"/>
              </a:rPr>
              <a:pPr algn="r"/>
              <a:t>60</a:t>
            </a:fld>
            <a:endParaRPr sz="1200"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80682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76DEF730-7283-42BC-8D08-6964BC43D2FE}" type="datetime1">
              <a:rPr lang="de-DE" smtClean="0"/>
              <a:t>25.08.2021</a:t>
            </a:fld>
            <a:endParaRPr lang="de-DE" dirty="0"/>
          </a:p>
        </p:txBody>
      </p:sp>
      <p:sp>
        <p:nvSpPr>
          <p:cNvPr id="5" name="Footer Placeholder 4"/>
          <p:cNvSpPr>
            <a:spLocks noGrp="1"/>
          </p:cNvSpPr>
          <p:nvPr>
            <p:ph type="ftr" sz="quarter" idx="11"/>
          </p:nvPr>
        </p:nvSpPr>
        <p:spPr/>
        <p:txBody>
          <a:bodyPr/>
          <a:lstStyle/>
          <a:p>
            <a:endParaRPr lang="de-DE" dirty="0"/>
          </a:p>
        </p:txBody>
      </p:sp>
      <p:sp>
        <p:nvSpPr>
          <p:cNvPr id="6" name="Slide Number Placeholder 5"/>
          <p:cNvSpPr>
            <a:spLocks noGrp="1"/>
          </p:cNvSpPr>
          <p:nvPr>
            <p:ph type="sldNum" sz="quarter" idx="12"/>
          </p:nvPr>
        </p:nvSpPr>
        <p:spPr/>
        <p:txBody>
          <a:bodyPr/>
          <a:lstStyle/>
          <a:p>
            <a:fld id="{9CB64AB4-7874-472E-9B88-D201B44CC3AF}" type="slidenum">
              <a:rPr lang="de-DE" smtClean="0"/>
              <a:pPr/>
              <a:t>4</a:t>
            </a:fld>
            <a:endParaRPr lang="de-DE" dirty="0"/>
          </a:p>
        </p:txBody>
      </p:sp>
    </p:spTree>
    <p:extLst>
      <p:ext uri="{BB962C8B-B14F-4D97-AF65-F5344CB8AC3E}">
        <p14:creationId xmlns:p14="http://schemas.microsoft.com/office/powerpoint/2010/main" val="1514863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7885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68349" indent="-294507">
              <a:spcBef>
                <a:spcPct val="30000"/>
              </a:spcBef>
              <a:defRPr sz="1200">
                <a:solidFill>
                  <a:schemeClr val="tx1"/>
                </a:solidFill>
                <a:latin typeface="Calibri" panose="020F0502020204030204" pitchFamily="34" charset="0"/>
              </a:defRPr>
            </a:lvl2pPr>
            <a:lvl3pPr marL="1182960" indent="-235276">
              <a:spcBef>
                <a:spcPct val="30000"/>
              </a:spcBef>
              <a:defRPr sz="1200">
                <a:solidFill>
                  <a:schemeClr val="tx1"/>
                </a:solidFill>
                <a:latin typeface="Calibri" panose="020F0502020204030204" pitchFamily="34" charset="0"/>
              </a:defRPr>
            </a:lvl3pPr>
            <a:lvl4pPr marL="1656803" indent="-235276">
              <a:spcBef>
                <a:spcPct val="30000"/>
              </a:spcBef>
              <a:defRPr sz="1200">
                <a:solidFill>
                  <a:schemeClr val="tx1"/>
                </a:solidFill>
                <a:latin typeface="Calibri" panose="020F0502020204030204" pitchFamily="34" charset="0"/>
              </a:defRPr>
            </a:lvl4pPr>
            <a:lvl5pPr marL="2130645" indent="-235276">
              <a:spcBef>
                <a:spcPct val="30000"/>
              </a:spcBef>
              <a:defRPr sz="1200">
                <a:solidFill>
                  <a:schemeClr val="tx1"/>
                </a:solidFill>
                <a:latin typeface="Calibri" panose="020F0502020204030204" pitchFamily="34" charset="0"/>
              </a:defRPr>
            </a:lvl5pPr>
            <a:lvl6pPr marL="2604487" indent="-235276" eaLnBrk="0" fontAlgn="base" hangingPunct="0">
              <a:spcBef>
                <a:spcPct val="30000"/>
              </a:spcBef>
              <a:spcAft>
                <a:spcPct val="0"/>
              </a:spcAft>
              <a:defRPr sz="1200">
                <a:solidFill>
                  <a:schemeClr val="tx1"/>
                </a:solidFill>
                <a:latin typeface="Calibri" panose="020F0502020204030204" pitchFamily="34" charset="0"/>
              </a:defRPr>
            </a:lvl6pPr>
            <a:lvl7pPr marL="3078329" indent="-235276" eaLnBrk="0" fontAlgn="base" hangingPunct="0">
              <a:spcBef>
                <a:spcPct val="30000"/>
              </a:spcBef>
              <a:spcAft>
                <a:spcPct val="0"/>
              </a:spcAft>
              <a:defRPr sz="1200">
                <a:solidFill>
                  <a:schemeClr val="tx1"/>
                </a:solidFill>
                <a:latin typeface="Calibri" panose="020F0502020204030204" pitchFamily="34" charset="0"/>
              </a:defRPr>
            </a:lvl7pPr>
            <a:lvl8pPr marL="3552171" indent="-235276" eaLnBrk="0" fontAlgn="base" hangingPunct="0">
              <a:spcBef>
                <a:spcPct val="30000"/>
              </a:spcBef>
              <a:spcAft>
                <a:spcPct val="0"/>
              </a:spcAft>
              <a:defRPr sz="1200">
                <a:solidFill>
                  <a:schemeClr val="tx1"/>
                </a:solidFill>
                <a:latin typeface="Calibri" panose="020F0502020204030204" pitchFamily="34" charset="0"/>
              </a:defRPr>
            </a:lvl8pPr>
            <a:lvl9pPr marL="4026013" indent="-235276"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E944C88C-26B2-4AB6-AA74-7FAEB4978849}" type="slidenum">
              <a:rPr lang="de-DE" altLang="en-US" smtClean="0">
                <a:latin typeface="Arial" panose="020B0604020202020204" pitchFamily="34" charset="0"/>
              </a:rPr>
              <a:pPr>
                <a:spcBef>
                  <a:spcPct val="0"/>
                </a:spcBef>
              </a:pPr>
              <a:t>6</a:t>
            </a:fld>
            <a:endParaRPr lang="de-DE" altLang="en-US" smtClean="0">
              <a:latin typeface="Arial" panose="020B0604020202020204" pitchFamily="34" charset="0"/>
            </a:endParaRPr>
          </a:p>
        </p:txBody>
      </p:sp>
    </p:spTree>
    <p:extLst>
      <p:ext uri="{BB962C8B-B14F-4D97-AF65-F5344CB8AC3E}">
        <p14:creationId xmlns:p14="http://schemas.microsoft.com/office/powerpoint/2010/main" val="19893471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0</a:t>
            </a:fld>
            <a:endParaRPr lang="en-US" dirty="0"/>
          </a:p>
        </p:txBody>
      </p:sp>
    </p:spTree>
    <p:extLst>
      <p:ext uri="{BB962C8B-B14F-4D97-AF65-F5344CB8AC3E}">
        <p14:creationId xmlns:p14="http://schemas.microsoft.com/office/powerpoint/2010/main" val="36582221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1</a:t>
            </a:fld>
            <a:endParaRPr lang="en-US" dirty="0"/>
          </a:p>
        </p:txBody>
      </p:sp>
    </p:spTree>
    <p:extLst>
      <p:ext uri="{BB962C8B-B14F-4D97-AF65-F5344CB8AC3E}">
        <p14:creationId xmlns:p14="http://schemas.microsoft.com/office/powerpoint/2010/main" val="476927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2</a:t>
            </a:fld>
            <a:endParaRPr lang="en-US" dirty="0"/>
          </a:p>
        </p:txBody>
      </p:sp>
    </p:spTree>
    <p:extLst>
      <p:ext uri="{BB962C8B-B14F-4D97-AF65-F5344CB8AC3E}">
        <p14:creationId xmlns:p14="http://schemas.microsoft.com/office/powerpoint/2010/main" val="25810372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B86581C-AFDB-4178-B10F-634424C377F3}" type="datetime1">
              <a:rPr lang="en-US" smtClean="0"/>
              <a:t>8/25/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CB64AB4-7874-472E-9B88-D201B44CC3AF}" type="slidenum">
              <a:rPr lang="en-US" smtClean="0"/>
              <a:pPr/>
              <a:t>13</a:t>
            </a:fld>
            <a:endParaRPr lang="en-US" dirty="0"/>
          </a:p>
        </p:txBody>
      </p:sp>
    </p:spTree>
    <p:extLst>
      <p:ext uri="{BB962C8B-B14F-4D97-AF65-F5344CB8AC3E}">
        <p14:creationId xmlns:p14="http://schemas.microsoft.com/office/powerpoint/2010/main" val="885484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81417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Picture Placeholder 14"/>
          <p:cNvSpPr>
            <a:spLocks noGrp="1"/>
          </p:cNvSpPr>
          <p:nvPr>
            <p:ph type="pic" sz="quarter" idx="16"/>
          </p:nvPr>
        </p:nvSpPr>
        <p:spPr bwMode="gray">
          <a:xfrm>
            <a:off x="0" y="-1"/>
            <a:ext cx="12190413" cy="569389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txBody>
          <a:bodyPr wrap="square" tIns="792000" anchor="ctr">
            <a:noAutofit/>
          </a:bodyPr>
          <a:lstStyle>
            <a:lvl1pPr marL="0" indent="0" algn="ctr">
              <a:buNone/>
              <a:defRPr cap="none" baseline="0">
                <a:solidFill>
                  <a:schemeClr val="tx1"/>
                </a:solidFill>
              </a:defRPr>
            </a:lvl1pPr>
          </a:lstStyle>
          <a:p>
            <a:endParaRPr lang="de-DE" dirty="0"/>
          </a:p>
        </p:txBody>
      </p:sp>
      <p:sp>
        <p:nvSpPr>
          <p:cNvPr id="3" name="Textplatzhalter 2"/>
          <p:cNvSpPr>
            <a:spLocks noGrp="1"/>
          </p:cNvSpPr>
          <p:nvPr>
            <p:ph type="body" sz="quarter" idx="15" hasCustomPrompt="1"/>
          </p:nvPr>
        </p:nvSpPr>
        <p:spPr bwMode="gray">
          <a:xfrm>
            <a:off x="1278" y="0"/>
            <a:ext cx="6092825" cy="3400426"/>
          </a:xfrm>
          <a:blipFill>
            <a:blip r:embed="rId6"/>
            <a:stretch>
              <a:fillRect/>
            </a:stretch>
          </a:blipFill>
        </p:spPr>
        <p:txBody>
          <a:bodyPr/>
          <a:lstStyle>
            <a:lvl1pPr marL="0" indent="0">
              <a:buNone/>
              <a:defRPr baseline="0"/>
            </a:lvl1pPr>
          </a:lstStyle>
          <a:p>
            <a:pPr lvl="0"/>
            <a:r>
              <a:rPr lang="en-US" dirty="0"/>
              <a:t> </a:t>
            </a:r>
          </a:p>
        </p:txBody>
      </p:sp>
      <p:sp>
        <p:nvSpPr>
          <p:cNvPr id="9" name="Untertitel 2"/>
          <p:cNvSpPr>
            <a:spLocks noGrp="1"/>
          </p:cNvSpPr>
          <p:nvPr>
            <p:ph type="subTitle" idx="1" hasCustomPrompt="1"/>
          </p:nvPr>
        </p:nvSpPr>
        <p:spPr bwMode="gray">
          <a:xfrm>
            <a:off x="550436" y="198974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br>
              <a:rPr lang="en-US" dirty="0"/>
            </a:br>
            <a:r>
              <a:rPr lang="en-US" dirty="0"/>
              <a:t>Change picture: „Click icon to add picture“</a:t>
            </a:r>
          </a:p>
        </p:txBody>
      </p:sp>
      <p:sp>
        <p:nvSpPr>
          <p:cNvPr id="8" name="Titel 1"/>
          <p:cNvSpPr>
            <a:spLocks noGrp="1"/>
          </p:cNvSpPr>
          <p:nvPr>
            <p:ph type="ctrTitle" hasCustomPrompt="1"/>
          </p:nvPr>
        </p:nvSpPr>
        <p:spPr bwMode="gray">
          <a:xfrm>
            <a:off x="550436" y="477584"/>
            <a:ext cx="5112000" cy="1440000"/>
          </a:xfrm>
        </p:spPr>
        <p:txBody>
          <a:bodyPr/>
          <a:lstStyle>
            <a:lvl1pPr>
              <a:defRPr sz="3200" baseline="0">
                <a:solidFill>
                  <a:schemeClr val="bg1"/>
                </a:solidFill>
              </a:defRPr>
            </a:lvl1pPr>
          </a:lstStyle>
          <a:p>
            <a:r>
              <a:rPr lang="en-US" dirty="0"/>
              <a:t>Here is a very long</a:t>
            </a:r>
            <a:br>
              <a:rPr lang="en-US" dirty="0"/>
            </a:br>
            <a:r>
              <a:rPr lang="en-US" dirty="0"/>
              <a:t>Headline 32pt</a:t>
            </a: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791951044"/>
      </p:ext>
    </p:extLst>
  </p:cSld>
  <p:clrMapOvr>
    <a:masterClrMapping/>
  </p:clrMapOvr>
  <p:extLst mod="1">
    <p:ext uri="{DCECCB84-F9BA-43D5-87BE-67443E8EF086}">
      <p15:sldGuideLst xmlns:p15="http://schemas.microsoft.com/office/powerpoint/2012/main">
        <p15:guide id="1" orient="horz" pos="34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p:nvPr>
        </p:nvSpPr>
        <p:spPr bwMode="gray">
          <a:xfrm>
            <a:off x="552876" y="405374"/>
            <a:ext cx="11087100" cy="432000"/>
          </a:xfrm>
        </p:spPr>
        <p:txBody>
          <a:bodyPr/>
          <a:lstStyle/>
          <a:p>
            <a:r>
              <a:rPr lang="de-DE" dirty="0"/>
              <a:t>Titelmasterformat durch Klicken bearbeiten</a:t>
            </a:r>
            <a:endParaRPr lang="en-US" dirty="0"/>
          </a:p>
        </p:txBody>
      </p:sp>
      <p:sp>
        <p:nvSpPr>
          <p:cNvPr id="7" name="Datumsplatzhalter 6"/>
          <p:cNvSpPr>
            <a:spLocks noGrp="1"/>
          </p:cNvSpPr>
          <p:nvPr>
            <p:ph type="dt" sz="half" idx="10"/>
          </p:nvPr>
        </p:nvSpPr>
        <p:spPr bwMode="gray"/>
        <p:txBody>
          <a:bodyPr/>
          <a:lstStyle/>
          <a:p>
            <a:fld id="{194342CF-903C-49C3-9896-0541020D91E5}"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p:nvPr>
        </p:nvSpPr>
        <p:spPr bwMode="gray">
          <a:xfrm>
            <a:off x="550800" y="1701799"/>
            <a:ext cx="11088000" cy="4248000"/>
          </a:xfrm>
        </p:spPr>
        <p:txBody>
          <a:bodyPr/>
          <a:lstStyle>
            <a:lvl5pPr>
              <a:defRPr/>
            </a:lvl5pPr>
            <a:lvl7pPr>
              <a:defRPr/>
            </a:lvl7pPr>
            <a:lvl8pPr marL="539750" indent="-180975">
              <a:buFont typeface="Symbol" panose="05050102010706020507" pitchFamily="18" charset="2"/>
              <a:buChar char="-"/>
              <a:defRPr/>
            </a:lvl8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80946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baseline="0"/>
            </a:lvl1pPr>
          </a:lstStyle>
          <a:p>
            <a:r>
              <a:rPr lang="en-US" dirty="0"/>
              <a:t>Title and picture</a:t>
            </a:r>
          </a:p>
        </p:txBody>
      </p:sp>
      <p:sp>
        <p:nvSpPr>
          <p:cNvPr id="7" name="Datumsplatzhalter 6"/>
          <p:cNvSpPr>
            <a:spLocks noGrp="1"/>
          </p:cNvSpPr>
          <p:nvPr>
            <p:ph type="dt" sz="half" idx="10"/>
          </p:nvPr>
        </p:nvSpPr>
        <p:spPr bwMode="gray"/>
        <p:txBody>
          <a:bodyPr/>
          <a:lstStyle/>
          <a:p>
            <a:fld id="{55A4CBB2-E298-4F8E-84B7-36B960566EFC}"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p:nvPr>
        </p:nvSpPr>
        <p:spPr bwMode="gray">
          <a:xfrm>
            <a:off x="550436" y="1270144"/>
            <a:ext cx="11089540" cy="4680000"/>
          </a:xfrm>
          <a:pattFill prst="ltUpDiag">
            <a:fgClr>
              <a:schemeClr val="tx2"/>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Tree>
    <p:extLst>
      <p:ext uri="{BB962C8B-B14F-4D97-AF65-F5344CB8AC3E}">
        <p14:creationId xmlns:p14="http://schemas.microsoft.com/office/powerpoint/2010/main" val="981916509"/>
      </p:ext>
    </p:extLst>
  </p:cSld>
  <p:clrMapOvr>
    <a:masterClrMapping/>
  </p:clrMapOvr>
  <p:extLst mod="1">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Two content</a:t>
            </a:r>
          </a:p>
        </p:txBody>
      </p:sp>
      <p:sp>
        <p:nvSpPr>
          <p:cNvPr id="7" name="Datumsplatzhalter 6"/>
          <p:cNvSpPr>
            <a:spLocks noGrp="1"/>
          </p:cNvSpPr>
          <p:nvPr>
            <p:ph type="dt" sz="half" idx="10"/>
          </p:nvPr>
        </p:nvSpPr>
        <p:spPr bwMode="gray"/>
        <p:txBody>
          <a:bodyPr/>
          <a:lstStyle/>
          <a:p>
            <a:fld id="{B6BF10C3-7725-466A-9C20-413E9BFE37E0}"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6239976" y="1701799"/>
            <a:ext cx="5400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0" name="Inhaltsplatzhalter 2"/>
          <p:cNvSpPr>
            <a:spLocks noGrp="1"/>
          </p:cNvSpPr>
          <p:nvPr>
            <p:ph sz="quarter" idx="15"/>
          </p:nvPr>
        </p:nvSpPr>
        <p:spPr bwMode="gray">
          <a:xfrm>
            <a:off x="550436" y="1701554"/>
            <a:ext cx="5400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a:p>
            <a:pPr lvl="0"/>
            <a:endParaRPr lang="en-US" dirty="0"/>
          </a:p>
        </p:txBody>
      </p:sp>
    </p:spTree>
    <p:extLst>
      <p:ext uri="{BB962C8B-B14F-4D97-AF65-F5344CB8AC3E}">
        <p14:creationId xmlns:p14="http://schemas.microsoft.com/office/powerpoint/2010/main" val="1911460694"/>
      </p:ext>
    </p:extLst>
  </p:cSld>
  <p:clrMapOvr>
    <a:masterClrMapping/>
  </p:clrMapOvr>
  <p:extLst mod="1">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Three content</a:t>
            </a:r>
          </a:p>
        </p:txBody>
      </p:sp>
      <p:sp>
        <p:nvSpPr>
          <p:cNvPr id="7" name="Datumsplatzhalter 6"/>
          <p:cNvSpPr>
            <a:spLocks noGrp="1"/>
          </p:cNvSpPr>
          <p:nvPr>
            <p:ph type="dt" sz="half" idx="10"/>
          </p:nvPr>
        </p:nvSpPr>
        <p:spPr bwMode="gray"/>
        <p:txBody>
          <a:bodyPr/>
          <a:lstStyle/>
          <a:p>
            <a:fld id="{483CD173-AFC0-49C7-84BF-7AAAA3F33963}"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550436" y="1701554"/>
            <a:ext cx="3456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5" name="Inhaltsplatzhalter 2"/>
          <p:cNvSpPr>
            <a:spLocks noGrp="1"/>
          </p:cNvSpPr>
          <p:nvPr>
            <p:ph sz="quarter" idx="17"/>
          </p:nvPr>
        </p:nvSpPr>
        <p:spPr bwMode="gray">
          <a:xfrm>
            <a:off x="4366966" y="1701554"/>
            <a:ext cx="3456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6" name="Inhaltsplatzhalter 2"/>
          <p:cNvSpPr>
            <a:spLocks noGrp="1"/>
          </p:cNvSpPr>
          <p:nvPr>
            <p:ph sz="quarter" idx="18"/>
          </p:nvPr>
        </p:nvSpPr>
        <p:spPr bwMode="gray">
          <a:xfrm>
            <a:off x="8183976" y="1701554"/>
            <a:ext cx="3456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3904483606"/>
      </p:ext>
    </p:extLst>
  </p:cSld>
  <p:clrMapOvr>
    <a:masterClrMapping/>
  </p:clrMapOvr>
  <p:extLst mod="1">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Three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Picture/Three content</a:t>
            </a:r>
            <a:endParaRPr lang="de-DE" dirty="0"/>
          </a:p>
        </p:txBody>
      </p:sp>
      <p:sp>
        <p:nvSpPr>
          <p:cNvPr id="7" name="Datumsplatzhalter 6"/>
          <p:cNvSpPr>
            <a:spLocks noGrp="1"/>
          </p:cNvSpPr>
          <p:nvPr>
            <p:ph type="dt" sz="half" idx="10"/>
          </p:nvPr>
        </p:nvSpPr>
        <p:spPr bwMode="gray"/>
        <p:txBody>
          <a:bodyPr/>
          <a:lstStyle/>
          <a:p>
            <a:fld id="{A2977BBF-2434-499B-806C-F569267CAE56}" type="datetime1">
              <a:rPr lang="de-DE" smtClean="0"/>
              <a:t>25.08.2021</a:t>
            </a:fld>
            <a:endParaRPr lang="de-DE" dirty="0"/>
          </a:p>
        </p:txBody>
      </p:sp>
      <p:sp>
        <p:nvSpPr>
          <p:cNvPr id="8" name="Fußzeilenplatzhalter 7"/>
          <p:cNvSpPr>
            <a:spLocks noGrp="1"/>
          </p:cNvSpPr>
          <p:nvPr>
            <p:ph type="ftr" sz="quarter" idx="11"/>
          </p:nvPr>
        </p:nvSpPr>
        <p:spPr bwMode="gray"/>
        <p:txBody>
          <a:bodyPr/>
          <a:lstStyle/>
          <a:p>
            <a:r>
              <a:rPr lang="de-DE"/>
              <a:t>Bitte Fußzeile einfügen</a:t>
            </a:r>
            <a:endParaRPr lang="de-DE" dirty="0"/>
          </a:p>
        </p:txBody>
      </p:sp>
      <p:sp>
        <p:nvSpPr>
          <p:cNvPr id="9" name="Foliennummernplatzhalter 8"/>
          <p:cNvSpPr>
            <a:spLocks noGrp="1"/>
          </p:cNvSpPr>
          <p:nvPr>
            <p:ph type="sldNum" sz="quarter" idx="12"/>
          </p:nvPr>
        </p:nvSpPr>
        <p:spPr bwMode="gray"/>
        <p:txBody>
          <a:bodyPr/>
          <a:lstStyle/>
          <a:p>
            <a:fld id="{4915BD61-E5D5-4E4F-ADA0-6F3448AB9FA6}" type="slidenum">
              <a:rPr lang="de-DE" smtClean="0"/>
              <a:pPr/>
              <a:t>‹#›</a:t>
            </a:fld>
            <a:endParaRPr lang="de-DE" dirty="0"/>
          </a:p>
        </p:txBody>
      </p:sp>
      <p:sp>
        <p:nvSpPr>
          <p:cNvPr id="3" name="Inhaltsplatzhalter 2"/>
          <p:cNvSpPr>
            <a:spLocks noGrp="1"/>
          </p:cNvSpPr>
          <p:nvPr>
            <p:ph sz="quarter" idx="14"/>
          </p:nvPr>
        </p:nvSpPr>
        <p:spPr bwMode="gray">
          <a:xfrm>
            <a:off x="550436" y="3718018"/>
            <a:ext cx="3456000" cy="244834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a:t>Subheadline</a:t>
            </a:r>
          </a:p>
        </p:txBody>
      </p:sp>
      <p:sp>
        <p:nvSpPr>
          <p:cNvPr id="17" name="Bildplatzhalter 4">
            <a:extLst>
              <a:ext uri="{FF2B5EF4-FFF2-40B4-BE49-F238E27FC236}">
                <a16:creationId xmlns:a16="http://schemas.microsoft.com/office/drawing/2014/main" id="{ADB0787A-8560-9045-9EB6-1224D4E93D3C}"/>
              </a:ext>
            </a:extLst>
          </p:cNvPr>
          <p:cNvSpPr>
            <a:spLocks noGrp="1"/>
          </p:cNvSpPr>
          <p:nvPr>
            <p:ph type="pic" sz="quarter" idx="19"/>
          </p:nvPr>
        </p:nvSpPr>
        <p:spPr>
          <a:xfrm>
            <a:off x="550863" y="1701800"/>
            <a:ext cx="3455987" cy="1808163"/>
          </a:xfrm>
        </p:spPr>
        <p:txBody>
          <a:bodyPr/>
          <a:lstStyle/>
          <a:p>
            <a:endParaRPr lang="de-DE"/>
          </a:p>
        </p:txBody>
      </p:sp>
      <p:sp>
        <p:nvSpPr>
          <p:cNvPr id="18" name="Bildplatzhalter 4">
            <a:extLst>
              <a:ext uri="{FF2B5EF4-FFF2-40B4-BE49-F238E27FC236}">
                <a16:creationId xmlns:a16="http://schemas.microsoft.com/office/drawing/2014/main" id="{20C552D5-2351-FE4E-A034-C0C977FC8901}"/>
              </a:ext>
            </a:extLst>
          </p:cNvPr>
          <p:cNvSpPr>
            <a:spLocks noGrp="1"/>
          </p:cNvSpPr>
          <p:nvPr>
            <p:ph type="pic" sz="quarter" idx="20"/>
          </p:nvPr>
        </p:nvSpPr>
        <p:spPr>
          <a:xfrm>
            <a:off x="4366966" y="1701800"/>
            <a:ext cx="3455987" cy="1808163"/>
          </a:xfrm>
        </p:spPr>
        <p:txBody>
          <a:bodyPr/>
          <a:lstStyle/>
          <a:p>
            <a:endParaRPr lang="de-DE"/>
          </a:p>
        </p:txBody>
      </p:sp>
      <p:sp>
        <p:nvSpPr>
          <p:cNvPr id="19" name="Bildplatzhalter 4">
            <a:extLst>
              <a:ext uri="{FF2B5EF4-FFF2-40B4-BE49-F238E27FC236}">
                <a16:creationId xmlns:a16="http://schemas.microsoft.com/office/drawing/2014/main" id="{D2B36DCA-FB06-BD42-B956-BA084D0124E5}"/>
              </a:ext>
            </a:extLst>
          </p:cNvPr>
          <p:cNvSpPr>
            <a:spLocks noGrp="1"/>
          </p:cNvSpPr>
          <p:nvPr>
            <p:ph type="pic" sz="quarter" idx="21"/>
          </p:nvPr>
        </p:nvSpPr>
        <p:spPr>
          <a:xfrm>
            <a:off x="8183976" y="1701800"/>
            <a:ext cx="3455987" cy="1808163"/>
          </a:xfrm>
        </p:spPr>
        <p:txBody>
          <a:bodyPr/>
          <a:lstStyle/>
          <a:p>
            <a:endParaRPr lang="de-DE"/>
          </a:p>
        </p:txBody>
      </p:sp>
      <p:sp>
        <p:nvSpPr>
          <p:cNvPr id="21" name="Inhaltsplatzhalter 2">
            <a:extLst>
              <a:ext uri="{FF2B5EF4-FFF2-40B4-BE49-F238E27FC236}">
                <a16:creationId xmlns:a16="http://schemas.microsoft.com/office/drawing/2014/main" id="{23023787-F735-5642-BA2F-42E7AEAC27CC}"/>
              </a:ext>
            </a:extLst>
          </p:cNvPr>
          <p:cNvSpPr>
            <a:spLocks noGrp="1"/>
          </p:cNvSpPr>
          <p:nvPr>
            <p:ph sz="quarter" idx="22"/>
          </p:nvPr>
        </p:nvSpPr>
        <p:spPr bwMode="gray">
          <a:xfrm>
            <a:off x="4366966" y="3718018"/>
            <a:ext cx="3456000" cy="244834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
        <p:nvSpPr>
          <p:cNvPr id="22" name="Inhaltsplatzhalter 2">
            <a:extLst>
              <a:ext uri="{FF2B5EF4-FFF2-40B4-BE49-F238E27FC236}">
                <a16:creationId xmlns:a16="http://schemas.microsoft.com/office/drawing/2014/main" id="{972B2399-B6E9-E54D-8644-38C95803367D}"/>
              </a:ext>
            </a:extLst>
          </p:cNvPr>
          <p:cNvSpPr>
            <a:spLocks noGrp="1"/>
          </p:cNvSpPr>
          <p:nvPr>
            <p:ph sz="quarter" idx="23"/>
          </p:nvPr>
        </p:nvSpPr>
        <p:spPr bwMode="gray">
          <a:xfrm>
            <a:off x="8183976" y="3718018"/>
            <a:ext cx="3456000" cy="2448340"/>
          </a:xfrm>
        </p:spPr>
        <p:txBody>
          <a:bodyPr vert="horz" lIns="0" tIns="0" rIns="0" bIns="0" rtlCol="0">
            <a:noAutofit/>
          </a:bodyPr>
          <a:lstStyle>
            <a:lvl1pPr>
              <a:defRPr lang="de-DE" dirty="0"/>
            </a:lvl1pPr>
            <a:lvl2pPr>
              <a:defRPr lang="de-DE" dirty="0"/>
            </a:lvl2pPr>
            <a:lvl3pPr>
              <a:defRPr lang="de-DE" dirty="0"/>
            </a:lvl3pPr>
            <a:lvl4pPr>
              <a:defRPr lang="de-DE" dirty="0"/>
            </a:lvl4pPr>
            <a:lvl5pPr>
              <a:defRPr lang="de-DE" dirty="0"/>
            </a:lvl5pPr>
            <a:lvl6pPr>
              <a:defRPr lang="de-DE" dirty="0"/>
            </a:lvl6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6</a:t>
            </a:r>
          </a:p>
          <a:p>
            <a:pPr lvl="4"/>
            <a:r>
              <a:rPr lang="de-DE" dirty="0"/>
              <a:t>7</a:t>
            </a:r>
          </a:p>
          <a:p>
            <a:pPr lvl="4"/>
            <a:r>
              <a:rPr lang="de-DE" dirty="0"/>
              <a:t>8</a:t>
            </a:r>
          </a:p>
          <a:p>
            <a:pPr lvl="4"/>
            <a:r>
              <a:rPr lang="de-DE" dirty="0"/>
              <a:t>9</a:t>
            </a:r>
          </a:p>
        </p:txBody>
      </p:sp>
    </p:spTree>
    <p:extLst>
      <p:ext uri="{BB962C8B-B14F-4D97-AF65-F5344CB8AC3E}">
        <p14:creationId xmlns:p14="http://schemas.microsoft.com/office/powerpoint/2010/main" val="336269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Four content</a:t>
            </a:r>
          </a:p>
        </p:txBody>
      </p:sp>
      <p:sp>
        <p:nvSpPr>
          <p:cNvPr id="7" name="Datumsplatzhalter 6"/>
          <p:cNvSpPr>
            <a:spLocks noGrp="1"/>
          </p:cNvSpPr>
          <p:nvPr>
            <p:ph type="dt" sz="half" idx="10"/>
          </p:nvPr>
        </p:nvSpPr>
        <p:spPr bwMode="gray"/>
        <p:txBody>
          <a:bodyPr/>
          <a:lstStyle/>
          <a:p>
            <a:fld id="{2C9FE11B-67F1-4D47-898D-DA756FDEA1FF}"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550436" y="1701554"/>
            <a:ext cx="244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8" name="Inhaltsplatzhalter 2"/>
          <p:cNvSpPr>
            <a:spLocks noGrp="1"/>
          </p:cNvSpPr>
          <p:nvPr>
            <p:ph sz="quarter" idx="18"/>
          </p:nvPr>
        </p:nvSpPr>
        <p:spPr bwMode="gray">
          <a:xfrm>
            <a:off x="3430836" y="1701554"/>
            <a:ext cx="244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9" name="Inhaltsplatzhalter 2"/>
          <p:cNvSpPr>
            <a:spLocks noGrp="1"/>
          </p:cNvSpPr>
          <p:nvPr>
            <p:ph sz="quarter" idx="19"/>
          </p:nvPr>
        </p:nvSpPr>
        <p:spPr bwMode="gray">
          <a:xfrm>
            <a:off x="6311470" y="1701554"/>
            <a:ext cx="244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20" name="Inhaltsplatzhalter 2"/>
          <p:cNvSpPr>
            <a:spLocks noGrp="1"/>
          </p:cNvSpPr>
          <p:nvPr>
            <p:ph sz="quarter" idx="20"/>
          </p:nvPr>
        </p:nvSpPr>
        <p:spPr bwMode="gray">
          <a:xfrm>
            <a:off x="9191986" y="1701554"/>
            <a:ext cx="244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1837758675"/>
      </p:ext>
    </p:extLst>
  </p:cSld>
  <p:clrMapOvr>
    <a:masterClrMapping/>
  </p:clrMapOvr>
  <p:extLst mod="1">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Eight content</a:t>
            </a:r>
          </a:p>
        </p:txBody>
      </p:sp>
      <p:sp>
        <p:nvSpPr>
          <p:cNvPr id="7" name="Datumsplatzhalter 6"/>
          <p:cNvSpPr>
            <a:spLocks noGrp="1"/>
          </p:cNvSpPr>
          <p:nvPr>
            <p:ph type="dt" sz="half" idx="10"/>
          </p:nvPr>
        </p:nvSpPr>
        <p:spPr bwMode="gray"/>
        <p:txBody>
          <a:bodyPr/>
          <a:lstStyle/>
          <a:p>
            <a:fld id="{9EDC517B-79F5-42E5-BF7B-83AA334B2091}"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550436" y="170155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0" name="Inhaltsplatzhalter 2"/>
          <p:cNvSpPr>
            <a:spLocks noGrp="1"/>
          </p:cNvSpPr>
          <p:nvPr>
            <p:ph sz="quarter" idx="21"/>
          </p:nvPr>
        </p:nvSpPr>
        <p:spPr bwMode="gray">
          <a:xfrm>
            <a:off x="550436" y="393412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1" name="Inhaltsplatzhalter 2"/>
          <p:cNvSpPr>
            <a:spLocks noGrp="1"/>
          </p:cNvSpPr>
          <p:nvPr>
            <p:ph sz="quarter" idx="22"/>
          </p:nvPr>
        </p:nvSpPr>
        <p:spPr bwMode="gray">
          <a:xfrm>
            <a:off x="3430836" y="170155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2" name="Inhaltsplatzhalter 2"/>
          <p:cNvSpPr>
            <a:spLocks noGrp="1"/>
          </p:cNvSpPr>
          <p:nvPr>
            <p:ph sz="quarter" idx="23"/>
          </p:nvPr>
        </p:nvSpPr>
        <p:spPr bwMode="gray">
          <a:xfrm>
            <a:off x="3430836" y="393412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3" name="Inhaltsplatzhalter 2"/>
          <p:cNvSpPr>
            <a:spLocks noGrp="1"/>
          </p:cNvSpPr>
          <p:nvPr>
            <p:ph sz="quarter" idx="24"/>
          </p:nvPr>
        </p:nvSpPr>
        <p:spPr bwMode="gray">
          <a:xfrm>
            <a:off x="9191636" y="170155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4" name="Inhaltsplatzhalter 2"/>
          <p:cNvSpPr>
            <a:spLocks noGrp="1"/>
          </p:cNvSpPr>
          <p:nvPr>
            <p:ph sz="quarter" idx="25"/>
          </p:nvPr>
        </p:nvSpPr>
        <p:spPr bwMode="gray">
          <a:xfrm>
            <a:off x="9191636" y="393412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5" name="Inhaltsplatzhalter 2"/>
          <p:cNvSpPr>
            <a:spLocks noGrp="1"/>
          </p:cNvSpPr>
          <p:nvPr>
            <p:ph sz="quarter" idx="26"/>
          </p:nvPr>
        </p:nvSpPr>
        <p:spPr bwMode="gray">
          <a:xfrm>
            <a:off x="6311236" y="170155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6" name="Inhaltsplatzhalter 2"/>
          <p:cNvSpPr>
            <a:spLocks noGrp="1"/>
          </p:cNvSpPr>
          <p:nvPr>
            <p:ph sz="quarter" idx="27"/>
          </p:nvPr>
        </p:nvSpPr>
        <p:spPr bwMode="gray">
          <a:xfrm>
            <a:off x="6311236" y="3934124"/>
            <a:ext cx="2448000" cy="2016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600">
                <a:solidFill>
                  <a:schemeClr val="tx2"/>
                </a:solidFill>
              </a:defRPr>
            </a:lvl2pPr>
            <a:lvl3pPr marL="0" indent="0">
              <a:buNone/>
              <a:defRPr sz="1600">
                <a:solidFill>
                  <a:schemeClr val="tx2"/>
                </a:solidFill>
              </a:defRPr>
            </a:lvl3pPr>
            <a:lvl4pPr marL="0" indent="0">
              <a:buNone/>
              <a:defRPr sz="1600">
                <a:solidFill>
                  <a:schemeClr val="tx2"/>
                </a:solidFill>
              </a:defRPr>
            </a:lvl4pPr>
            <a:lvl5pPr marL="0" indent="0">
              <a:buNone/>
              <a:defRPr sz="1600">
                <a:solidFill>
                  <a:schemeClr val="tx2"/>
                </a:solidFill>
              </a:defRPr>
            </a:lvl5pPr>
            <a:lvl6pPr marL="0" indent="0">
              <a:buNone/>
              <a:defRPr sz="1600">
                <a:solidFill>
                  <a:schemeClr val="tx2"/>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3795669549"/>
      </p:ext>
    </p:extLst>
  </p:cSld>
  <p:clrMapOvr>
    <a:masterClrMapping/>
  </p:clrMapOvr>
  <p:extLst mod="1">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4C3F3E6A-A552-472E-A289-B10808FBD072}"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550666" y="1702144"/>
            <a:ext cx="172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0" name="Inhaltsplatzhalter 2"/>
          <p:cNvSpPr>
            <a:spLocks noGrp="1"/>
          </p:cNvSpPr>
          <p:nvPr>
            <p:ph sz="quarter" idx="15"/>
          </p:nvPr>
        </p:nvSpPr>
        <p:spPr bwMode="gray">
          <a:xfrm>
            <a:off x="2422926" y="1702144"/>
            <a:ext cx="172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1" name="Inhaltsplatzhalter 2"/>
          <p:cNvSpPr>
            <a:spLocks noGrp="1"/>
          </p:cNvSpPr>
          <p:nvPr>
            <p:ph sz="quarter" idx="16"/>
          </p:nvPr>
        </p:nvSpPr>
        <p:spPr bwMode="gray">
          <a:xfrm>
            <a:off x="4295186" y="1702144"/>
            <a:ext cx="172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2" name="Inhaltsplatzhalter 2"/>
          <p:cNvSpPr>
            <a:spLocks noGrp="1"/>
          </p:cNvSpPr>
          <p:nvPr>
            <p:ph sz="quarter" idx="17"/>
          </p:nvPr>
        </p:nvSpPr>
        <p:spPr bwMode="gray">
          <a:xfrm>
            <a:off x="6167446" y="1702144"/>
            <a:ext cx="172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3" name="Inhaltsplatzhalter 2"/>
          <p:cNvSpPr>
            <a:spLocks noGrp="1"/>
          </p:cNvSpPr>
          <p:nvPr>
            <p:ph sz="quarter" idx="18"/>
          </p:nvPr>
        </p:nvSpPr>
        <p:spPr bwMode="gray">
          <a:xfrm>
            <a:off x="8039706" y="1702144"/>
            <a:ext cx="172800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4" name="Inhaltsplatzhalter 2"/>
          <p:cNvSpPr>
            <a:spLocks noGrp="1"/>
          </p:cNvSpPr>
          <p:nvPr>
            <p:ph sz="quarter" idx="19"/>
          </p:nvPr>
        </p:nvSpPr>
        <p:spPr bwMode="gray">
          <a:xfrm>
            <a:off x="9909585" y="1702144"/>
            <a:ext cx="172801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p:cNvSpPr>
            <a:spLocks noGrp="1"/>
          </p:cNvSpPr>
          <p:nvPr>
            <p:ph type="title" hasCustomPrompt="1"/>
          </p:nvPr>
        </p:nvSpPr>
        <p:spPr bwMode="gray"/>
        <p:txBody>
          <a:bodyPr/>
          <a:lstStyle>
            <a:lvl1pPr>
              <a:defRPr/>
            </a:lvl1pPr>
          </a:lstStyle>
          <a:p>
            <a:r>
              <a:rPr lang="en-US" dirty="0"/>
              <a:t>Six content</a:t>
            </a:r>
          </a:p>
        </p:txBody>
      </p:sp>
    </p:spTree>
    <p:extLst>
      <p:ext uri="{BB962C8B-B14F-4D97-AF65-F5344CB8AC3E}">
        <p14:creationId xmlns:p14="http://schemas.microsoft.com/office/powerpoint/2010/main" val="3971431944"/>
      </p:ext>
    </p:extLst>
  </p:cSld>
  <p:clrMapOvr>
    <a:masterClrMapping/>
  </p:clrMapOvr>
  <p:extLst mod="1">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2143F467-CA8E-4E78-94FF-8812B63FE674}"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p:nvPr>
        </p:nvSpPr>
        <p:spPr bwMode="gray">
          <a:xfrm>
            <a:off x="6236845" y="1702144"/>
            <a:ext cx="5400750" cy="4248000"/>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4" name="Picture Placeholder 3"/>
          <p:cNvSpPr>
            <a:spLocks noGrp="1"/>
          </p:cNvSpPr>
          <p:nvPr>
            <p:ph type="pic" sz="quarter" idx="15"/>
          </p:nvPr>
        </p:nvSpPr>
        <p:spPr bwMode="gray">
          <a:xfrm>
            <a:off x="550436" y="1702144"/>
            <a:ext cx="5400750" cy="4248000"/>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Titel 1"/>
          <p:cNvSpPr>
            <a:spLocks noGrp="1"/>
          </p:cNvSpPr>
          <p:nvPr>
            <p:ph type="title" hasCustomPrompt="1"/>
          </p:nvPr>
        </p:nvSpPr>
        <p:spPr bwMode="gray"/>
        <p:txBody>
          <a:bodyPr/>
          <a:lstStyle>
            <a:lvl1pPr>
              <a:defRPr/>
            </a:lvl1pPr>
          </a:lstStyle>
          <a:p>
            <a:r>
              <a:rPr lang="en-US" dirty="0"/>
              <a:t>Picture/Content</a:t>
            </a:r>
          </a:p>
        </p:txBody>
      </p:sp>
    </p:spTree>
    <p:extLst>
      <p:ext uri="{BB962C8B-B14F-4D97-AF65-F5344CB8AC3E}">
        <p14:creationId xmlns:p14="http://schemas.microsoft.com/office/powerpoint/2010/main" val="4032127275"/>
      </p:ext>
    </p:extLst>
  </p:cSld>
  <p:clrMapOvr>
    <a:masterClrMapping/>
  </p:clrMapOvr>
  <p:extLst mod="1">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2876" y="405374"/>
            <a:ext cx="11087100" cy="432000"/>
          </a:xfrm>
        </p:spPr>
        <p:txBody>
          <a:bodyPr/>
          <a:lstStyle>
            <a:lvl1pPr>
              <a:defRPr/>
            </a:lvl1pPr>
          </a:lstStyle>
          <a:p>
            <a:r>
              <a:rPr lang="en-US" dirty="0"/>
              <a:t>2/3 picture, 1/3 content</a:t>
            </a:r>
          </a:p>
        </p:txBody>
      </p:sp>
      <p:sp>
        <p:nvSpPr>
          <p:cNvPr id="7" name="Datumsplatzhalter 6"/>
          <p:cNvSpPr>
            <a:spLocks noGrp="1"/>
          </p:cNvSpPr>
          <p:nvPr>
            <p:ph type="dt" sz="half" idx="10"/>
          </p:nvPr>
        </p:nvSpPr>
        <p:spPr bwMode="gray"/>
        <p:txBody>
          <a:bodyPr/>
          <a:lstStyle/>
          <a:p>
            <a:fld id="{79B777DB-E923-4F02-9B9F-CF2D168F4F77}"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p:nvPr>
        </p:nvSpPr>
        <p:spPr bwMode="gray">
          <a:xfrm>
            <a:off x="8111820" y="1701800"/>
            <a:ext cx="3527728" cy="4247733"/>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4" name="Bildplatzhalter 3"/>
          <p:cNvSpPr>
            <a:spLocks noGrp="1"/>
          </p:cNvSpPr>
          <p:nvPr>
            <p:ph type="pic" sz="quarter" idx="19"/>
          </p:nvPr>
        </p:nvSpPr>
        <p:spPr bwMode="gray">
          <a:xfrm>
            <a:off x="550863" y="1701801"/>
            <a:ext cx="7343433" cy="4247733"/>
          </a:xfrm>
          <a:pattFill prst="ltUpDiag">
            <a:fgClr>
              <a:schemeClr val="tx2"/>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Tree>
    <p:extLst>
      <p:ext uri="{BB962C8B-B14F-4D97-AF65-F5344CB8AC3E}">
        <p14:creationId xmlns:p14="http://schemas.microsoft.com/office/powerpoint/2010/main" val="3835787570"/>
      </p:ext>
    </p:extLst>
  </p:cSld>
  <p:clrMapOvr>
    <a:masterClrMapping/>
  </p:clrMapOvr>
  <p:extLst mod="1">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out picture">
    <p:bg>
      <p:bgPr>
        <a:solidFill>
          <a:srgbClr val="0071B9"/>
        </a:solidFill>
        <a:effectLst/>
      </p:bgPr>
    </p:bg>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bwMode="gray">
          <a:xfrm>
            <a:off x="550436" y="198959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7" name="Freihandform 6"/>
          <p:cNvSpPr/>
          <p:nvPr userDrawn="1"/>
        </p:nvSpPr>
        <p:spPr bwMode="gray">
          <a:xfrm rot="5028044">
            <a:off x="4702484" y="-15160"/>
            <a:ext cx="2782356" cy="12275255"/>
          </a:xfrm>
          <a:custGeom>
            <a:avLst/>
            <a:gdLst>
              <a:gd name="connsiteX0" fmla="*/ 741981 w 2782356"/>
              <a:gd name="connsiteY0" fmla="*/ 2666488 h 12275255"/>
              <a:gd name="connsiteX1" fmla="*/ 1230504 w 2782356"/>
              <a:gd name="connsiteY1" fmla="*/ 326671 h 12275255"/>
              <a:gd name="connsiteX2" fmla="*/ 1291329 w 2782356"/>
              <a:gd name="connsiteY2" fmla="*/ 153122 h 12275255"/>
              <a:gd name="connsiteX3" fmla="*/ 1337660 w 2782356"/>
              <a:gd name="connsiteY3" fmla="*/ 1422 h 12275255"/>
              <a:gd name="connsiteX4" fmla="*/ 1344246 w 2782356"/>
              <a:gd name="connsiteY4" fmla="*/ 2137 h 12275255"/>
              <a:gd name="connsiteX5" fmla="*/ 1344995 w 2782356"/>
              <a:gd name="connsiteY5" fmla="*/ 0 h 12275255"/>
              <a:gd name="connsiteX6" fmla="*/ 2782356 w 2782356"/>
              <a:gd name="connsiteY6" fmla="*/ 156129 h 12275255"/>
              <a:gd name="connsiteX7" fmla="*/ 1465955 w 2782356"/>
              <a:gd name="connsiteY7" fmla="*/ 12275255 h 12275255"/>
              <a:gd name="connsiteX8" fmla="*/ 0 w 2782356"/>
              <a:gd name="connsiteY8" fmla="*/ 12116020 h 12275255"/>
              <a:gd name="connsiteX9" fmla="*/ 95071 w 2782356"/>
              <a:gd name="connsiteY9" fmla="*/ 11856215 h 12275255"/>
              <a:gd name="connsiteX10" fmla="*/ 237121 w 2782356"/>
              <a:gd name="connsiteY10" fmla="*/ 11386506 h 12275255"/>
              <a:gd name="connsiteX11" fmla="*/ 315560 w 2782356"/>
              <a:gd name="connsiteY11" fmla="*/ 11080850 h 12275255"/>
              <a:gd name="connsiteX12" fmla="*/ 327278 w 2782356"/>
              <a:gd name="connsiteY12" fmla="*/ 11032111 h 12275255"/>
              <a:gd name="connsiteX13" fmla="*/ 398720 w 2782356"/>
              <a:gd name="connsiteY13" fmla="*/ 10712652 h 12275255"/>
              <a:gd name="connsiteX14" fmla="*/ 693610 w 2782356"/>
              <a:gd name="connsiteY14" fmla="*/ 6299194 h 12275255"/>
              <a:gd name="connsiteX15" fmla="*/ 691851 w 2782356"/>
              <a:gd name="connsiteY15" fmla="*/ 6269220 h 12275255"/>
              <a:gd name="connsiteX16" fmla="*/ 676341 w 2782356"/>
              <a:gd name="connsiteY16" fmla="*/ 6112792 h 12275255"/>
              <a:gd name="connsiteX17" fmla="*/ 655714 w 2782356"/>
              <a:gd name="connsiteY17" fmla="*/ 5762308 h 12275255"/>
              <a:gd name="connsiteX18" fmla="*/ 649738 w 2782356"/>
              <a:gd name="connsiteY18" fmla="*/ 5687796 h 12275255"/>
              <a:gd name="connsiteX19" fmla="*/ 646295 w 2782356"/>
              <a:gd name="connsiteY19" fmla="*/ 5602281 h 12275255"/>
              <a:gd name="connsiteX20" fmla="*/ 635975 w 2782356"/>
              <a:gd name="connsiteY20" fmla="*/ 5426916 h 12275255"/>
              <a:gd name="connsiteX21" fmla="*/ 633338 w 2782356"/>
              <a:gd name="connsiteY21" fmla="*/ 5291486 h 12275255"/>
              <a:gd name="connsiteX22" fmla="*/ 625017 w 2782356"/>
              <a:gd name="connsiteY22" fmla="*/ 5123051 h 12275255"/>
              <a:gd name="connsiteX23" fmla="*/ 621266 w 2782356"/>
              <a:gd name="connsiteY23" fmla="*/ 4931192 h 12275255"/>
              <a:gd name="connsiteX24" fmla="*/ 618875 w 2782356"/>
              <a:gd name="connsiteY24" fmla="*/ 4742998 h 12275255"/>
              <a:gd name="connsiteX25" fmla="*/ 616861 w 2782356"/>
              <a:gd name="connsiteY25" fmla="*/ 4551326 h 12275255"/>
              <a:gd name="connsiteX26" fmla="*/ 618507 w 2782356"/>
              <a:gd name="connsiteY26" fmla="*/ 4358298 h 12275255"/>
              <a:gd name="connsiteX27" fmla="*/ 623815 w 2782356"/>
              <a:gd name="connsiteY27" fmla="*/ 4163911 h 12275255"/>
              <a:gd name="connsiteX28" fmla="*/ 632216 w 2782356"/>
              <a:gd name="connsiteY28" fmla="*/ 3973373 h 12275255"/>
              <a:gd name="connsiteX29" fmla="*/ 640995 w 2782356"/>
              <a:gd name="connsiteY29" fmla="*/ 3779362 h 12275255"/>
              <a:gd name="connsiteX30" fmla="*/ 651699 w 2782356"/>
              <a:gd name="connsiteY30" fmla="*/ 3583805 h 12275255"/>
              <a:gd name="connsiteX31" fmla="*/ 667421 w 2782356"/>
              <a:gd name="connsiteY31" fmla="*/ 3390548 h 12275255"/>
              <a:gd name="connsiteX32" fmla="*/ 685256 w 2782356"/>
              <a:gd name="connsiteY32" fmla="*/ 3194009 h 12275255"/>
              <a:gd name="connsiteX33" fmla="*/ 706564 w 2782356"/>
              <a:gd name="connsiteY33" fmla="*/ 2997846 h 12275255"/>
              <a:gd name="connsiteX34" fmla="*/ 727683 w 2782356"/>
              <a:gd name="connsiteY34" fmla="*/ 2803420 h 12275255"/>
              <a:gd name="connsiteX35" fmla="*/ 731010 w 2782356"/>
              <a:gd name="connsiteY35" fmla="*/ 2777130 h 1227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82356" h="12275255">
                <a:moveTo>
                  <a:pt x="741981" y="2666488"/>
                </a:moveTo>
                <a:cubicBezTo>
                  <a:pt x="845755" y="1801279"/>
                  <a:pt x="1013357" y="1008994"/>
                  <a:pt x="1230504" y="326671"/>
                </a:cubicBezTo>
                <a:lnTo>
                  <a:pt x="1291329" y="153122"/>
                </a:lnTo>
                <a:lnTo>
                  <a:pt x="1337660" y="1422"/>
                </a:lnTo>
                <a:lnTo>
                  <a:pt x="1344246" y="2137"/>
                </a:lnTo>
                <a:lnTo>
                  <a:pt x="1344995" y="0"/>
                </a:lnTo>
                <a:lnTo>
                  <a:pt x="2782356" y="156129"/>
                </a:lnTo>
                <a:lnTo>
                  <a:pt x="1465955" y="12275255"/>
                </a:lnTo>
                <a:lnTo>
                  <a:pt x="0" y="12116020"/>
                </a:lnTo>
                <a:lnTo>
                  <a:pt x="95071" y="11856215"/>
                </a:lnTo>
                <a:cubicBezTo>
                  <a:pt x="145367" y="11705078"/>
                  <a:pt x="192731" y="11548364"/>
                  <a:pt x="237121" y="11386506"/>
                </a:cubicBezTo>
                <a:lnTo>
                  <a:pt x="315560" y="11080850"/>
                </a:lnTo>
                <a:lnTo>
                  <a:pt x="327278" y="11032111"/>
                </a:lnTo>
                <a:lnTo>
                  <a:pt x="398720" y="10712652"/>
                </a:lnTo>
                <a:cubicBezTo>
                  <a:pt x="665539" y="9430689"/>
                  <a:pt x="769396" y="7902911"/>
                  <a:pt x="693610" y="6299194"/>
                </a:cubicBezTo>
                <a:lnTo>
                  <a:pt x="691851" y="6269220"/>
                </a:lnTo>
                <a:lnTo>
                  <a:pt x="676341" y="6112792"/>
                </a:lnTo>
                <a:lnTo>
                  <a:pt x="655714" y="5762308"/>
                </a:lnTo>
                <a:lnTo>
                  <a:pt x="649738" y="5687796"/>
                </a:lnTo>
                <a:lnTo>
                  <a:pt x="646295" y="5602281"/>
                </a:lnTo>
                <a:lnTo>
                  <a:pt x="635975" y="5426916"/>
                </a:lnTo>
                <a:lnTo>
                  <a:pt x="633338" y="5291486"/>
                </a:lnTo>
                <a:lnTo>
                  <a:pt x="625017" y="5123051"/>
                </a:lnTo>
                <a:lnTo>
                  <a:pt x="621266" y="4931192"/>
                </a:lnTo>
                <a:lnTo>
                  <a:pt x="618875" y="4742998"/>
                </a:lnTo>
                <a:lnTo>
                  <a:pt x="616861" y="4551326"/>
                </a:lnTo>
                <a:lnTo>
                  <a:pt x="618507" y="4358298"/>
                </a:lnTo>
                <a:lnTo>
                  <a:pt x="623815" y="4163911"/>
                </a:lnTo>
                <a:lnTo>
                  <a:pt x="632216" y="3973373"/>
                </a:lnTo>
                <a:lnTo>
                  <a:pt x="640995" y="3779362"/>
                </a:lnTo>
                <a:lnTo>
                  <a:pt x="651699" y="3583805"/>
                </a:lnTo>
                <a:lnTo>
                  <a:pt x="667421" y="3390548"/>
                </a:lnTo>
                <a:lnTo>
                  <a:pt x="685256" y="3194009"/>
                </a:lnTo>
                <a:lnTo>
                  <a:pt x="706564" y="2997846"/>
                </a:lnTo>
                <a:lnTo>
                  <a:pt x="727683" y="2803420"/>
                </a:lnTo>
                <a:lnTo>
                  <a:pt x="731010" y="277713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440000"/>
          </a:xfrm>
        </p:spPr>
        <p:txBody>
          <a:bodyPr/>
          <a:lstStyle>
            <a:lvl1pPr>
              <a:defRPr sz="3200">
                <a:solidFill>
                  <a:schemeClr val="bg1"/>
                </a:solidFill>
              </a:defRPr>
            </a:lvl1pPr>
          </a:lstStyle>
          <a:p>
            <a:r>
              <a:rPr lang="en-US" dirty="0"/>
              <a:t>Title without picture 32pt</a:t>
            </a:r>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8196175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1/3 picture, 2/3 cont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a:lvl1pPr>
          </a:lstStyle>
          <a:p>
            <a:r>
              <a:rPr lang="en-US" dirty="0"/>
              <a:t>1 1/3 picture, 2/3 content</a:t>
            </a:r>
          </a:p>
        </p:txBody>
      </p:sp>
      <p:sp>
        <p:nvSpPr>
          <p:cNvPr id="7" name="Datumsplatzhalter 6"/>
          <p:cNvSpPr>
            <a:spLocks noGrp="1"/>
          </p:cNvSpPr>
          <p:nvPr>
            <p:ph type="dt" sz="half" idx="10"/>
          </p:nvPr>
        </p:nvSpPr>
        <p:spPr bwMode="gray"/>
        <p:txBody>
          <a:bodyPr/>
          <a:lstStyle/>
          <a:p>
            <a:fld id="{9A96D966-88AF-4C67-B665-5A848788CF2A}"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p:nvPr>
        </p:nvSpPr>
        <p:spPr bwMode="gray">
          <a:xfrm>
            <a:off x="4295094" y="1701800"/>
            <a:ext cx="7344454" cy="4247542"/>
          </a:xfrm>
        </p:spPr>
        <p:txBody>
          <a:bodyPr vert="horz" lIns="0" tIns="0" rIns="0" bIns="0" rtlCol="0">
            <a:noAutofit/>
          </a:bodyPr>
          <a:lstStyle>
            <a:lvl1pPr>
              <a:defRPr lang="en-US" dirty="0" smtClean="0"/>
            </a:lvl1pPr>
            <a:lvl2pPr>
              <a:defRPr lang="en-US" dirty="0" smtClean="0"/>
            </a:lvl2pPr>
            <a:lvl3pPr>
              <a:defRPr lang="en-US" dirty="0" smtClean="0"/>
            </a:lvl3pPr>
            <a:lvl4pPr>
              <a:defRPr lang="en-US" dirty="0" smtClean="0"/>
            </a:lvl4pPr>
            <a:lvl5pPr>
              <a:defRPr lang="en-US" dirty="0"/>
            </a:lvl5pPr>
            <a:lvl6pPr>
              <a:defRPr lang="en-US" dirty="0" smtClean="0"/>
            </a:lvl6p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4" name="Picture Placeholder 3"/>
          <p:cNvSpPr>
            <a:spLocks noGrp="1"/>
          </p:cNvSpPr>
          <p:nvPr>
            <p:ph type="pic" sz="quarter" idx="19"/>
          </p:nvPr>
        </p:nvSpPr>
        <p:spPr bwMode="gray">
          <a:xfrm>
            <a:off x="550863" y="1702143"/>
            <a:ext cx="3527728" cy="4247392"/>
          </a:xfrm>
          <a:pattFill prst="ltUpDiag">
            <a:fgClr>
              <a:schemeClr val="tx2"/>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err="1"/>
              <a:t>Bild</a:t>
            </a:r>
            <a:r>
              <a:rPr lang="en-US" dirty="0"/>
              <a:t> </a:t>
            </a:r>
            <a:r>
              <a:rPr lang="en-US" dirty="0" err="1"/>
              <a:t>durch</a:t>
            </a:r>
            <a:r>
              <a:rPr lang="en-US" dirty="0"/>
              <a:t> </a:t>
            </a:r>
            <a:r>
              <a:rPr lang="en-US" dirty="0" err="1"/>
              <a:t>Klicken</a:t>
            </a:r>
            <a:r>
              <a:rPr lang="en-US" dirty="0"/>
              <a:t> auf Symbol </a:t>
            </a:r>
            <a:r>
              <a:rPr lang="en-US" dirty="0" err="1"/>
              <a:t>hinzufügen</a:t>
            </a:r>
            <a:endParaRPr lang="en-US" dirty="0"/>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Tree>
    <p:extLst>
      <p:ext uri="{BB962C8B-B14F-4D97-AF65-F5344CB8AC3E}">
        <p14:creationId xmlns:p14="http://schemas.microsoft.com/office/powerpoint/2010/main" val="870309101"/>
      </p:ext>
    </p:extLst>
  </p:cSld>
  <p:clrMapOvr>
    <a:masterClrMapping/>
  </p:clrMapOvr>
  <p:extLst mod="1">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8" name="Rechteck 7" hidden="1">
            <a:extLst>
              <a:ext uri="{FF2B5EF4-FFF2-40B4-BE49-F238E27FC236}">
                <a16:creationId xmlns:a16="http://schemas.microsoft.com/office/drawing/2014/main" id="{53B15941-F93C-48D5-BDCE-71F2605E94C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dirty="0"/>
              <a:t>Here is a Subheadline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1" name="Rectangle 5">
            <a:extLst>
              <a:ext uri="{FF2B5EF4-FFF2-40B4-BE49-F238E27FC236}">
                <a16:creationId xmlns:a16="http://schemas.microsoft.com/office/drawing/2014/main" id="{A710F9C2-FF7D-4CD7-B9E6-548853DAA89C}"/>
              </a:ext>
            </a:extLst>
          </p:cNvPr>
          <p:cNvSpPr>
            <a:spLocks noChangeArrowheads="1"/>
          </p:cNvSpPr>
          <p:nvPr userDrawn="1"/>
        </p:nvSpPr>
        <p:spPr bwMode="auto">
          <a:xfrm>
            <a:off x="550863" y="5949950"/>
            <a:ext cx="6624493" cy="792304"/>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lt1"/>
                </a:solidFill>
              </a:rPr>
              <a:t>LEGAL DISCLAIMER</a:t>
            </a:r>
          </a:p>
          <a:p>
            <a:pPr marL="0" indent="0">
              <a:buNone/>
            </a:pPr>
            <a:r>
              <a:rPr lang="en-US" sz="800" dirty="0">
                <a:solidFill>
                  <a:schemeClr val="lt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dirty="0">
                <a:solidFill>
                  <a:schemeClr val="lt1"/>
                </a:solidFill>
              </a:rPr>
            </a:br>
            <a:r>
              <a:rPr lang="en-US" sz="800" dirty="0">
                <a:solidFill>
                  <a:schemeClr val="lt1"/>
                </a:solidFill>
              </a:rPr>
              <a:t>of the content. </a:t>
            </a:r>
          </a:p>
          <a:p>
            <a:r>
              <a:rPr lang="en-US" sz="800" dirty="0">
                <a:solidFill>
                  <a:schemeClr val="lt1"/>
                </a:solidFill>
              </a:rPr>
              <a:t>TÜV Rheinland AG</a:t>
            </a:r>
          </a:p>
        </p:txBody>
      </p:sp>
      <p:pic>
        <p:nvPicPr>
          <p:cNvPr id="13" name="Grafik 12">
            <a:extLst>
              <a:ext uri="{FF2B5EF4-FFF2-40B4-BE49-F238E27FC236}">
                <a16:creationId xmlns:a16="http://schemas.microsoft.com/office/drawing/2014/main" id="{478C12C0-0B22-914D-947D-7456A9F859B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39137" y="6179469"/>
            <a:ext cx="1800000" cy="455556"/>
          </a:xfrm>
          <a:prstGeom prst="rect">
            <a:avLst/>
          </a:prstGeom>
        </p:spPr>
      </p:pic>
    </p:spTree>
    <p:extLst>
      <p:ext uri="{BB962C8B-B14F-4D97-AF65-F5344CB8AC3E}">
        <p14:creationId xmlns:p14="http://schemas.microsoft.com/office/powerpoint/2010/main" val="41215676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en-US" dirty="0"/>
              <a:t>Thank you for</a:t>
            </a:r>
            <a:br>
              <a:rPr lang="en-US" dirty="0"/>
            </a:br>
            <a:r>
              <a:rPr lang="en-US" dirty="0"/>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dirty="0"/>
              <a:t>Here is a Subheadline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8" name="Rechteck 7" hidden="1">
            <a:extLst>
              <a:ext uri="{FF2B5EF4-FFF2-40B4-BE49-F238E27FC236}">
                <a16:creationId xmlns:a16="http://schemas.microsoft.com/office/drawing/2014/main" id="{8C743FDA-0A82-4CAC-8D52-486B54909F3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9" name="Rectangle 5">
            <a:extLst>
              <a:ext uri="{FF2B5EF4-FFF2-40B4-BE49-F238E27FC236}">
                <a16:creationId xmlns:a16="http://schemas.microsoft.com/office/drawing/2014/main" id="{7E8182B0-09C2-4D11-934F-7B77E5E9ABD9}"/>
              </a:ext>
            </a:extLst>
          </p:cNvPr>
          <p:cNvSpPr>
            <a:spLocks noChangeArrowheads="1"/>
          </p:cNvSpPr>
          <p:nvPr userDrawn="1"/>
        </p:nvSpPr>
        <p:spPr bwMode="auto">
          <a:xfrm>
            <a:off x="550863" y="5949950"/>
            <a:ext cx="6624493" cy="792304"/>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dirty="0">
                <a:solidFill>
                  <a:schemeClr val="tx1"/>
                </a:solidFill>
              </a:rPr>
              <a:t>LEGAL DISCLAIMER</a:t>
            </a:r>
          </a:p>
          <a:p>
            <a:pPr marL="0" indent="0">
              <a:buNone/>
            </a:pPr>
            <a:r>
              <a:rPr lang="en-US" sz="800" dirty="0">
                <a:solidFill>
                  <a:schemeClr val="tx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dirty="0">
                <a:solidFill>
                  <a:schemeClr val="tx1"/>
                </a:solidFill>
              </a:rPr>
            </a:br>
            <a:r>
              <a:rPr lang="en-US" sz="800" dirty="0">
                <a:solidFill>
                  <a:schemeClr val="tx1"/>
                </a:solidFill>
              </a:rPr>
              <a:t>of the content. </a:t>
            </a:r>
          </a:p>
          <a:p>
            <a:r>
              <a:rPr lang="en-US" sz="800" dirty="0">
                <a:solidFill>
                  <a:schemeClr val="tx1"/>
                </a:solidFill>
              </a:rPr>
              <a:t>TÜV Rheinland AG</a:t>
            </a:r>
          </a:p>
        </p:txBody>
      </p:sp>
    </p:spTree>
    <p:extLst>
      <p:ext uri="{BB962C8B-B14F-4D97-AF65-F5344CB8AC3E}">
        <p14:creationId xmlns:p14="http://schemas.microsoft.com/office/powerpoint/2010/main" val="2877123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FULL BACKGROUND IMAGE">
  <p:cSld name="FULL BACKGROUND IMAGE">
    <p:spTree>
      <p:nvGrpSpPr>
        <p:cNvPr id="1" name="Shape 301"/>
        <p:cNvGrpSpPr/>
        <p:nvPr/>
      </p:nvGrpSpPr>
      <p:grpSpPr>
        <a:xfrm>
          <a:off x="0" y="0"/>
          <a:ext cx="0" cy="0"/>
          <a:chOff x="0" y="0"/>
          <a:chExt cx="0" cy="0"/>
        </a:xfrm>
      </p:grpSpPr>
      <p:sp>
        <p:nvSpPr>
          <p:cNvPr id="302" name="Google Shape;302;p56"/>
          <p:cNvSpPr>
            <a:spLocks noGrp="1"/>
          </p:cNvSpPr>
          <p:nvPr>
            <p:ph type="pic" idx="2"/>
          </p:nvPr>
        </p:nvSpPr>
        <p:spPr>
          <a:xfrm>
            <a:off x="0" y="0"/>
            <a:ext cx="12190413" cy="6859588"/>
          </a:xfrm>
          <a:prstGeom prst="rect">
            <a:avLst/>
          </a:prstGeom>
          <a:noFill/>
          <a:ln>
            <a:noFill/>
          </a:ln>
        </p:spPr>
        <p:txBody>
          <a:bodyPr spcFirstLastPara="1" wrap="square" lIns="91425" tIns="45700" rIns="91425" bIns="45700" anchor="t" anchorCtr="0"/>
          <a:lstStyle>
            <a:lvl1pPr marR="0" lvl="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3450003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917854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DEFAULT SLIDE">
    <p:spTree>
      <p:nvGrpSpPr>
        <p:cNvPr id="1" name=""/>
        <p:cNvGrpSpPr/>
        <p:nvPr/>
      </p:nvGrpSpPr>
      <p:grpSpPr>
        <a:xfrm>
          <a:off x="0" y="0"/>
          <a:ext cx="0" cy="0"/>
          <a:chOff x="0" y="0"/>
          <a:chExt cx="0" cy="0"/>
        </a:xfrm>
      </p:grpSpPr>
      <p:cxnSp>
        <p:nvCxnSpPr>
          <p:cNvPr id="2" name="Straight Connector 1"/>
          <p:cNvCxnSpPr/>
          <p:nvPr userDrawn="1"/>
        </p:nvCxnSpPr>
        <p:spPr>
          <a:xfrm>
            <a:off x="469839" y="457306"/>
            <a:ext cx="0" cy="685959"/>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69839" y="6126075"/>
            <a:ext cx="0" cy="49541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11161847" y="6126075"/>
            <a:ext cx="0" cy="495415"/>
          </a:xfrm>
          <a:prstGeom prst="line">
            <a:avLst/>
          </a:prstGeom>
          <a:ln w="635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 name="Title 7"/>
          <p:cNvSpPr>
            <a:spLocks noGrp="1"/>
          </p:cNvSpPr>
          <p:nvPr>
            <p:ph type="title" hasCustomPrompt="1"/>
          </p:nvPr>
        </p:nvSpPr>
        <p:spPr>
          <a:xfrm>
            <a:off x="584124" y="381029"/>
            <a:ext cx="3631727" cy="923330"/>
          </a:xfrm>
          <a:prstGeom prst="rect">
            <a:avLst/>
          </a:prstGeom>
          <a:noFill/>
        </p:spPr>
        <p:txBody>
          <a:bodyPr wrap="square" rtlCol="0">
            <a:spAutoFit/>
          </a:bodyPr>
          <a:lstStyle>
            <a:lvl1pPr>
              <a:defRPr lang="uk-UA" sz="3000" b="0" i="0">
                <a:solidFill>
                  <a:srgbClr val="555555"/>
                </a:solidFill>
                <a:latin typeface="Arial"/>
                <a:ea typeface="Arial" charset="0"/>
                <a:cs typeface="Arial"/>
              </a:defRPr>
            </a:lvl1pPr>
          </a:lstStyle>
          <a:p>
            <a:pPr marL="0" lvl="0"/>
            <a:r>
              <a:rPr lang="en-US" dirty="0"/>
              <a:t>click to edit master title style</a:t>
            </a:r>
            <a:endParaRPr lang="uk-UA" dirty="0"/>
          </a:p>
        </p:txBody>
      </p:sp>
      <p:sp>
        <p:nvSpPr>
          <p:cNvPr id="9" name="Slide Number Placeholder 8"/>
          <p:cNvSpPr>
            <a:spLocks noGrp="1"/>
          </p:cNvSpPr>
          <p:nvPr>
            <p:ph type="sldNum" sz="quarter" idx="10"/>
          </p:nvPr>
        </p:nvSpPr>
        <p:spPr>
          <a:xfrm>
            <a:off x="11276132" y="6111816"/>
            <a:ext cx="1155550" cy="574260"/>
          </a:xfrm>
          <a:prstGeom prst="rect">
            <a:avLst/>
          </a:prstGeom>
          <a:noFill/>
        </p:spPr>
        <p:txBody>
          <a:bodyPr wrap="square" rtlCol="0">
            <a:spAutoFit/>
          </a:bodyPr>
          <a:lstStyle>
            <a:lvl1pPr>
              <a:defRPr lang="uk-UA" sz="1866" b="1" smtClean="0">
                <a:solidFill>
                  <a:schemeClr val="accent1"/>
                </a:solidFill>
                <a:latin typeface="Arial"/>
                <a:cs typeface="Arial"/>
              </a:defRPr>
            </a:lvl1pPr>
          </a:lstStyle>
          <a:p>
            <a:r>
              <a:rPr lang="de-DE"/>
              <a:t>page</a:t>
            </a:r>
          </a:p>
          <a:p>
            <a:r>
              <a:rPr lang="de-DE"/>
              <a:t>0</a:t>
            </a:r>
            <a:fld id="{37D409AB-2201-4E18-8A34-C31753AD9B06}" type="slidenum">
              <a:rPr lang="de-DE" smtClean="0"/>
              <a:pPr/>
              <a:t>‹#›</a:t>
            </a:fld>
            <a:endParaRPr lang="de-DE"/>
          </a:p>
        </p:txBody>
      </p:sp>
      <p:pic>
        <p:nvPicPr>
          <p:cNvPr id="10" name="Bild 9" descr="ZDHC_Logotype_Grey 80__print.jpg"/>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a:off x="558727" y="6220040"/>
            <a:ext cx="359953" cy="360083"/>
          </a:xfrm>
          <a:prstGeom prst="rect">
            <a:avLst/>
          </a:prstGeom>
        </p:spPr>
      </p:pic>
    </p:spTree>
    <p:extLst>
      <p:ext uri="{BB962C8B-B14F-4D97-AF65-F5344CB8AC3E}">
        <p14:creationId xmlns:p14="http://schemas.microsoft.com/office/powerpoint/2010/main" val="89161369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a:xfrm>
            <a:off x="719573" y="1773648"/>
            <a:ext cx="10731198" cy="4033184"/>
          </a:xfrm>
        </p:spPr>
        <p:txBody>
          <a:bodyPr/>
          <a:lstStyle>
            <a:lvl1pPr>
              <a:spcBef>
                <a:spcPts val="0"/>
              </a:spcBef>
              <a:spcAft>
                <a:spcPts val="598"/>
              </a:spcAft>
              <a:defRPr sz="1593"/>
            </a:lvl1pPr>
            <a:lvl2pPr>
              <a:spcBef>
                <a:spcPts val="0"/>
              </a:spcBef>
              <a:spcAft>
                <a:spcPts val="598"/>
              </a:spcAft>
              <a:defRPr sz="1593"/>
            </a:lvl2pPr>
            <a:lvl3pPr>
              <a:spcBef>
                <a:spcPts val="0"/>
              </a:spcBef>
              <a:spcAft>
                <a:spcPts val="598"/>
              </a:spcAft>
              <a:defRPr sz="1593"/>
            </a:lvl3pPr>
            <a:lvl4pPr>
              <a:spcBef>
                <a:spcPts val="0"/>
              </a:spcBef>
              <a:spcAft>
                <a:spcPts val="598"/>
              </a:spcAft>
              <a:defRPr sz="1593"/>
            </a:lvl4pPr>
            <a:lvl5pPr>
              <a:spcBef>
                <a:spcPts val="0"/>
              </a:spcBef>
              <a:spcAft>
                <a:spcPts val="598"/>
              </a:spcAft>
              <a:defRPr sz="1593"/>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Rectangle 4"/>
          <p:cNvSpPr>
            <a:spLocks noGrp="1" noChangeArrowheads="1"/>
          </p:cNvSpPr>
          <p:nvPr>
            <p:ph type="dt" sz="half" idx="10"/>
          </p:nvPr>
        </p:nvSpPr>
        <p:spPr>
          <a:ln/>
        </p:spPr>
        <p:txBody>
          <a:bodyPr/>
          <a:lstStyle>
            <a:lvl1pPr>
              <a:defRPr/>
            </a:lvl1pPr>
          </a:lstStyle>
          <a:p>
            <a:pPr>
              <a:defRPr/>
            </a:pPr>
            <a:fld id="{AF34D50E-7FAF-4146-AE16-6A5964DFAC0A}" type="datetime1">
              <a:rPr lang="en-US" smtClean="0"/>
              <a:t>8/25/2021</a:t>
            </a:fld>
            <a:endParaRPr lang="de-DE"/>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Sampling pictures - Waste Water and Sludge</a:t>
            </a:r>
            <a:endParaRPr lang="de-DE" dirty="0"/>
          </a:p>
        </p:txBody>
      </p:sp>
      <p:sp>
        <p:nvSpPr>
          <p:cNvPr id="6" name="Rectangle 6"/>
          <p:cNvSpPr>
            <a:spLocks noGrp="1" noChangeArrowheads="1"/>
          </p:cNvSpPr>
          <p:nvPr>
            <p:ph type="sldNum" sz="quarter" idx="12"/>
          </p:nvPr>
        </p:nvSpPr>
        <p:spPr>
          <a:ln/>
        </p:spPr>
        <p:txBody>
          <a:bodyPr/>
          <a:lstStyle>
            <a:lvl1pPr>
              <a:defRPr/>
            </a:lvl1pPr>
          </a:lstStyle>
          <a:p>
            <a:pPr>
              <a:defRPr/>
            </a:pPr>
            <a:fld id="{A59737EE-6D6B-4FC2-820B-A8CC40D22E9C}" type="slidenum">
              <a:rPr lang="de-DE"/>
              <a:pPr>
                <a:defRPr/>
              </a:pPr>
              <a:t>‹#›</a:t>
            </a:fld>
            <a:endParaRPr lang="de-DE"/>
          </a:p>
        </p:txBody>
      </p:sp>
      <p:sp>
        <p:nvSpPr>
          <p:cNvPr id="8" name="Textplatzhalter 7"/>
          <p:cNvSpPr>
            <a:spLocks noGrp="1"/>
          </p:cNvSpPr>
          <p:nvPr>
            <p:ph type="body" sz="quarter" idx="13" hasCustomPrompt="1"/>
          </p:nvPr>
        </p:nvSpPr>
        <p:spPr>
          <a:xfrm>
            <a:off x="719573" y="1268707"/>
            <a:ext cx="10731198" cy="360445"/>
          </a:xfrm>
        </p:spPr>
        <p:txBody>
          <a:bodyPr/>
          <a:lstStyle>
            <a:lvl1pPr marL="0" indent="0">
              <a:lnSpc>
                <a:spcPct val="100000"/>
              </a:lnSpc>
              <a:buFontTx/>
              <a:buNone/>
              <a:defRPr sz="1793" b="1" baseline="0"/>
            </a:lvl1pPr>
            <a:lvl2pPr marL="354142" indent="0">
              <a:buFontTx/>
              <a:buNone/>
              <a:defRPr b="1"/>
            </a:lvl2pPr>
            <a:lvl3pPr marL="713028" indent="0">
              <a:buFontTx/>
              <a:buNone/>
              <a:defRPr b="1"/>
            </a:lvl3pPr>
            <a:lvl4pPr marL="1071912" indent="0">
              <a:buFontTx/>
              <a:buNone/>
              <a:defRPr b="1"/>
            </a:lvl4pPr>
            <a:lvl5pPr marL="1422892" indent="0">
              <a:buFontTx/>
              <a:buNone/>
              <a:defRPr b="1"/>
            </a:lvl5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subtitle</a:t>
            </a:r>
            <a:endParaRPr lang="de-DE" dirty="0" smtClean="0"/>
          </a:p>
        </p:txBody>
      </p:sp>
    </p:spTree>
    <p:extLst>
      <p:ext uri="{BB962C8B-B14F-4D97-AF65-F5344CB8AC3E}">
        <p14:creationId xmlns:p14="http://schemas.microsoft.com/office/powerpoint/2010/main" val="46532365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dirty="0"/>
              <a:t>Titelmasterformat durch Klicken bearbeiten</a:t>
            </a:r>
          </a:p>
        </p:txBody>
      </p:sp>
      <p:sp>
        <p:nvSpPr>
          <p:cNvPr id="4" name="Fußzeilenplatzhalter 3"/>
          <p:cNvSpPr>
            <a:spLocks noGrp="1"/>
          </p:cNvSpPr>
          <p:nvPr>
            <p:ph type="ftr" sz="quarter" idx="11"/>
          </p:nvPr>
        </p:nvSpPr>
        <p:spPr bwMode="gray"/>
        <p:txBody>
          <a:bodyPr/>
          <a:lstStyle/>
          <a:p>
            <a:r>
              <a:rPr lang="en-US" smtClean="0"/>
              <a:t>TUV Rheinland │ Ask a DetoXpert - Workshop NPOs</a:t>
            </a:r>
            <a:endParaRPr lang="de-DE" dirty="0"/>
          </a:p>
        </p:txBody>
      </p:sp>
      <p:sp>
        <p:nvSpPr>
          <p:cNvPr id="5" name="Foliennummernplatzhalter 4"/>
          <p:cNvSpPr>
            <a:spLocks noGrp="1"/>
          </p:cNvSpPr>
          <p:nvPr>
            <p:ph type="sldNum" sz="quarter" idx="12"/>
          </p:nvPr>
        </p:nvSpPr>
        <p:spPr bwMode="gray"/>
        <p:txBody>
          <a:bodyPr/>
          <a:lstStyle/>
          <a:p>
            <a:fld id="{4915BD61-E5D5-4E4F-ADA0-6F3448AB9FA6}" type="slidenum">
              <a:rPr lang="de-DE" smtClean="0"/>
              <a:pPr/>
              <a:t>‹#›</a:t>
            </a:fld>
            <a:endParaRPr lang="de-DE"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dirty="0"/>
              <a:t>Subheadline</a:t>
            </a:r>
          </a:p>
        </p:txBody>
      </p:sp>
    </p:spTree>
    <p:extLst>
      <p:ext uri="{BB962C8B-B14F-4D97-AF65-F5344CB8AC3E}">
        <p14:creationId xmlns:p14="http://schemas.microsoft.com/office/powerpoint/2010/main" val="23230467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extse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a:xfrm>
            <a:off x="719573" y="1773648"/>
            <a:ext cx="10731198" cy="4033184"/>
          </a:xfrm>
        </p:spPr>
        <p:txBody>
          <a:bodyPr/>
          <a:lstStyle>
            <a:lvl1pPr marL="181011" indent="-181011">
              <a:spcBef>
                <a:spcPts val="0"/>
              </a:spcBef>
              <a:spcAft>
                <a:spcPts val="600"/>
              </a:spcAft>
              <a:defRPr sz="1600"/>
            </a:lvl1pPr>
            <a:lvl2pPr>
              <a:spcBef>
                <a:spcPts val="0"/>
              </a:spcBef>
              <a:spcAft>
                <a:spcPts val="600"/>
              </a:spcAft>
              <a:defRPr sz="1600"/>
            </a:lvl2pPr>
            <a:lvl3pPr>
              <a:spcBef>
                <a:spcPts val="0"/>
              </a:spcBef>
              <a:spcAft>
                <a:spcPts val="600"/>
              </a:spcAft>
              <a:defRPr sz="1600"/>
            </a:lvl3pPr>
            <a:lvl4pPr>
              <a:spcBef>
                <a:spcPts val="0"/>
              </a:spcBef>
              <a:spcAft>
                <a:spcPts val="600"/>
              </a:spcAft>
              <a:defRPr sz="1600"/>
            </a:lvl4pPr>
            <a:lvl5pPr>
              <a:spcBef>
                <a:spcPts val="0"/>
              </a:spcBef>
              <a:spcAft>
                <a:spcPts val="600"/>
              </a:spcAft>
              <a:defRPr sz="1600"/>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Textplatzhalter 7"/>
          <p:cNvSpPr>
            <a:spLocks noGrp="1"/>
          </p:cNvSpPr>
          <p:nvPr>
            <p:ph type="body" sz="quarter" idx="13"/>
          </p:nvPr>
        </p:nvSpPr>
        <p:spPr>
          <a:xfrm>
            <a:off x="719573" y="1268707"/>
            <a:ext cx="10731198" cy="360445"/>
          </a:xfrm>
        </p:spPr>
        <p:txBody>
          <a:bodyPr/>
          <a:lstStyle>
            <a:lvl1pPr marL="0" indent="0">
              <a:lnSpc>
                <a:spcPct val="100000"/>
              </a:lnSpc>
              <a:buFontTx/>
              <a:buNone/>
              <a:defRPr sz="1800" b="1" baseline="0"/>
            </a:lvl1pPr>
            <a:lvl2pPr marL="355671" indent="0">
              <a:buFontTx/>
              <a:buNone/>
              <a:defRPr b="1"/>
            </a:lvl2pPr>
            <a:lvl3pPr marL="716106" indent="0">
              <a:buFontTx/>
              <a:buNone/>
              <a:defRPr b="1"/>
            </a:lvl3pPr>
            <a:lvl4pPr marL="1076540" indent="0">
              <a:buFontTx/>
              <a:buNone/>
              <a:defRPr b="1"/>
            </a:lvl4pPr>
            <a:lvl5pPr marL="1429036" indent="0">
              <a:buFontTx/>
              <a:buNone/>
              <a:defRPr b="1"/>
            </a:lvl5pPr>
          </a:lstStyle>
          <a:p>
            <a:pPr lvl="0"/>
            <a:r>
              <a:rPr lang="en-US" smtClean="0"/>
              <a:t>Click to edit Master text styles</a:t>
            </a:r>
          </a:p>
        </p:txBody>
      </p:sp>
      <p:sp>
        <p:nvSpPr>
          <p:cNvPr id="5" name="Date Placeholder 4"/>
          <p:cNvSpPr>
            <a:spLocks noGrp="1" noChangeArrowheads="1"/>
          </p:cNvSpPr>
          <p:nvPr>
            <p:ph type="dt" sz="half" idx="14"/>
          </p:nvPr>
        </p:nvSpPr>
        <p:spPr/>
        <p:txBody>
          <a:bodyPr/>
          <a:lstStyle>
            <a:lvl1pPr>
              <a:defRPr/>
            </a:lvl1pPr>
          </a:lstStyle>
          <a:p>
            <a:pPr>
              <a:defRPr/>
            </a:pPr>
            <a:fld id="{EC891813-F8F5-42CF-A78D-D9F8A22C0624}" type="datetime1">
              <a:rPr lang="de-DE" smtClean="0"/>
              <a:t>25.08.2021</a:t>
            </a:fld>
            <a:endParaRPr lang="de-DE"/>
          </a:p>
        </p:txBody>
      </p:sp>
      <p:sp>
        <p:nvSpPr>
          <p:cNvPr id="6" name="Footer Placeholder 5"/>
          <p:cNvSpPr>
            <a:spLocks noGrp="1" noChangeArrowheads="1"/>
          </p:cNvSpPr>
          <p:nvPr>
            <p:ph type="ftr" sz="quarter" idx="15"/>
          </p:nvPr>
        </p:nvSpPr>
        <p:spPr/>
        <p:txBody>
          <a:bodyPr/>
          <a:lstStyle>
            <a:lvl1pPr>
              <a:defRPr/>
            </a:lvl1pPr>
          </a:lstStyle>
          <a:p>
            <a:pPr>
              <a:defRPr/>
            </a:pPr>
            <a:r>
              <a:rPr lang="de-DE" smtClean="0"/>
              <a:t>Corporate Presentation</a:t>
            </a:r>
            <a:endParaRPr lang="de-DE"/>
          </a:p>
        </p:txBody>
      </p:sp>
      <p:sp>
        <p:nvSpPr>
          <p:cNvPr id="7" name="Slide Number Placeholder 6"/>
          <p:cNvSpPr>
            <a:spLocks noGrp="1" noChangeArrowheads="1"/>
          </p:cNvSpPr>
          <p:nvPr>
            <p:ph type="sldNum" sz="quarter" idx="16"/>
          </p:nvPr>
        </p:nvSpPr>
        <p:spPr/>
        <p:txBody>
          <a:bodyPr/>
          <a:lstStyle>
            <a:lvl1pPr>
              <a:defRPr/>
            </a:lvl1pPr>
          </a:lstStyle>
          <a:p>
            <a:pPr>
              <a:defRPr/>
            </a:pPr>
            <a:fld id="{B3585A5A-00E8-40D0-B91D-BC96AF8BE1A5}" type="slidenum">
              <a:rPr lang="de-DE" altLang="en-US"/>
              <a:pPr>
                <a:defRPr/>
              </a:pPr>
              <a:t>‹#›</a:t>
            </a:fld>
            <a:endParaRPr lang="de-DE" altLang="en-US"/>
          </a:p>
        </p:txBody>
      </p:sp>
    </p:spTree>
    <p:extLst>
      <p:ext uri="{BB962C8B-B14F-4D97-AF65-F5344CB8AC3E}">
        <p14:creationId xmlns:p14="http://schemas.microsoft.com/office/powerpoint/2010/main" val="34936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dt" sz="half" idx="10"/>
          </p:nvPr>
        </p:nvSpPr>
        <p:spPr/>
        <p:txBody>
          <a:bodyPr/>
          <a:lstStyle>
            <a:lvl1pPr>
              <a:defRPr/>
            </a:lvl1pPr>
          </a:lstStyle>
          <a:p>
            <a:pPr>
              <a:defRPr/>
            </a:pPr>
            <a:fld id="{D2ECA3DB-7452-4D19-A8A0-5F2C6572B752}" type="datetime1">
              <a:rPr lang="de-DE" smtClean="0"/>
              <a:t>25.08.2021</a:t>
            </a:fld>
            <a:endParaRPr lang="de-DE"/>
          </a:p>
        </p:txBody>
      </p:sp>
      <p:sp>
        <p:nvSpPr>
          <p:cNvPr id="4" name="Rectangle 5"/>
          <p:cNvSpPr>
            <a:spLocks noGrp="1" noChangeArrowheads="1"/>
          </p:cNvSpPr>
          <p:nvPr>
            <p:ph type="ftr" sz="quarter" idx="11"/>
          </p:nvPr>
        </p:nvSpPr>
        <p:spPr/>
        <p:txBody>
          <a:bodyPr/>
          <a:lstStyle>
            <a:lvl1pPr>
              <a:defRPr/>
            </a:lvl1pPr>
          </a:lstStyle>
          <a:p>
            <a:pPr>
              <a:defRPr/>
            </a:pPr>
            <a:r>
              <a:rPr lang="de-DE" smtClean="0"/>
              <a:t>Corporate Presentation</a:t>
            </a:r>
            <a:endParaRPr lang="de-DE"/>
          </a:p>
        </p:txBody>
      </p:sp>
      <p:sp>
        <p:nvSpPr>
          <p:cNvPr id="5" name="Rectangle 6"/>
          <p:cNvSpPr>
            <a:spLocks noGrp="1" noChangeArrowheads="1"/>
          </p:cNvSpPr>
          <p:nvPr>
            <p:ph type="sldNum" sz="quarter" idx="12"/>
          </p:nvPr>
        </p:nvSpPr>
        <p:spPr/>
        <p:txBody>
          <a:bodyPr/>
          <a:lstStyle>
            <a:lvl1pPr>
              <a:defRPr/>
            </a:lvl1pPr>
          </a:lstStyle>
          <a:p>
            <a:pPr>
              <a:defRPr/>
            </a:pPr>
            <a:fld id="{8C923C57-C2A5-4581-9D6A-5FCCC5B90C32}" type="slidenum">
              <a:rPr lang="de-DE" altLang="en-US"/>
              <a:pPr>
                <a:defRPr/>
              </a:pPr>
              <a:t>‹#›</a:t>
            </a:fld>
            <a:endParaRPr lang="de-DE" altLang="en-US"/>
          </a:p>
        </p:txBody>
      </p:sp>
    </p:spTree>
    <p:extLst>
      <p:ext uri="{BB962C8B-B14F-4D97-AF65-F5344CB8AC3E}">
        <p14:creationId xmlns:p14="http://schemas.microsoft.com/office/powerpoint/2010/main" val="21438803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pic>
        <p:nvPicPr>
          <p:cNvPr id="4" name="Grafik 3"/>
          <p:cNvPicPr>
            <a:picLocks noChangeAspect="1"/>
          </p:cNvPicPr>
          <p:nvPr userDrawn="1"/>
        </p:nvPicPr>
        <p:blipFill rotWithShape="1">
          <a:blip r:embed="rId2" cstate="print">
            <a:extLst>
              <a:ext uri="{28A0092B-C50C-407E-A947-70E740481C1C}">
                <a14:useLocalDpi xmlns:a14="http://schemas.microsoft.com/office/drawing/2010/main"/>
              </a:ext>
            </a:extLst>
          </a:blip>
          <a:srcRect t="69871" b="6597"/>
          <a:stretch/>
        </p:blipFill>
        <p:spPr bwMode="gray">
          <a:xfrm>
            <a:off x="0" y="4792850"/>
            <a:ext cx="12190413" cy="1614235"/>
          </a:xfrm>
          <a:prstGeom prst="rect">
            <a:avLst/>
          </a:prstGeom>
        </p:spPr>
      </p:pic>
      <p:sp>
        <p:nvSpPr>
          <p:cNvPr id="8"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98974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a:t>
            </a:r>
            <a:r>
              <a:rPr lang="en-US" dirty="0" err="1"/>
              <a:t>Subheadline</a:t>
            </a:r>
            <a:r>
              <a:rPr lang="en-US" dirty="0"/>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a:t>
            </a:r>
            <a:r>
              <a:rPr lang="en-US" dirty="0" err="1"/>
              <a:t>Mustermann</a:t>
            </a:r>
            <a:r>
              <a:rPr lang="en-US" dirty="0"/>
              <a:t> – Head of Corporate</a:t>
            </a:r>
            <a:br>
              <a:rPr lang="en-US" dirty="0"/>
            </a:br>
            <a:r>
              <a:rPr lang="en-US" dirty="0"/>
              <a:t>Place, Date</a:t>
            </a:r>
          </a:p>
        </p:txBody>
      </p:sp>
    </p:spTree>
    <p:extLst>
      <p:ext uri="{BB962C8B-B14F-4D97-AF65-F5344CB8AC3E}">
        <p14:creationId xmlns:p14="http://schemas.microsoft.com/office/powerpoint/2010/main" val="34804564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Rectangle 4"/>
          <p:cNvSpPr>
            <a:spLocks noGrp="1" noChangeArrowheads="1"/>
          </p:cNvSpPr>
          <p:nvPr>
            <p:ph type="dt" sz="half" idx="10"/>
          </p:nvPr>
        </p:nvSpPr>
        <p:spPr/>
        <p:txBody>
          <a:bodyPr/>
          <a:lstStyle>
            <a:lvl1pPr>
              <a:defRPr>
                <a:solidFill>
                  <a:srgbClr val="000000"/>
                </a:solidFill>
              </a:defRPr>
            </a:lvl1pPr>
          </a:lstStyle>
          <a:p>
            <a:pPr>
              <a:defRPr/>
            </a:pPr>
            <a:fld id="{A56299B0-44A8-47A1-98B2-56625E39FEA0}" type="datetime1">
              <a:rPr lang="de-DE" smtClean="0"/>
              <a:t>25.08.2021</a:t>
            </a:fld>
            <a:endParaRPr lang="en-US" altLang="ja-JP">
              <a:ea typeface="ＭＳ Ｐゴシック" pitchFamily="50" charset="-128"/>
            </a:endParaRPr>
          </a:p>
        </p:txBody>
      </p:sp>
      <p:sp>
        <p:nvSpPr>
          <p:cNvPr id="5" name="Rectangle 6"/>
          <p:cNvSpPr>
            <a:spLocks noGrp="1" noChangeArrowheads="1"/>
          </p:cNvSpPr>
          <p:nvPr>
            <p:ph type="sldNum" sz="quarter" idx="11"/>
          </p:nvPr>
        </p:nvSpPr>
        <p:spPr/>
        <p:txBody>
          <a:bodyPr/>
          <a:lstStyle>
            <a:lvl1pPr>
              <a:defRPr>
                <a:solidFill>
                  <a:srgbClr val="000000"/>
                </a:solidFill>
              </a:defRPr>
            </a:lvl1pPr>
          </a:lstStyle>
          <a:p>
            <a:pPr>
              <a:defRPr/>
            </a:pPr>
            <a:fld id="{0A984728-FA30-4074-8B45-6E0C27E072BA}" type="slidenum">
              <a:rPr lang="en-US" altLang="ja-JP"/>
              <a:pPr>
                <a:defRPr/>
              </a:pPr>
              <a:t>‹#›</a:t>
            </a:fld>
            <a:endParaRPr lang="en-US" altLang="ja-JP"/>
          </a:p>
        </p:txBody>
      </p:sp>
      <p:sp>
        <p:nvSpPr>
          <p:cNvPr id="6" name="Rectangle 55"/>
          <p:cNvSpPr>
            <a:spLocks noGrp="1" noChangeArrowheads="1"/>
          </p:cNvSpPr>
          <p:nvPr>
            <p:ph type="ftr" sz="quarter" idx="12"/>
          </p:nvPr>
        </p:nvSpPr>
        <p:spPr/>
        <p:txBody>
          <a:bodyPr/>
          <a:lstStyle>
            <a:lvl1pPr>
              <a:defRPr>
                <a:solidFill>
                  <a:srgbClr val="000000"/>
                </a:solidFill>
              </a:defRPr>
            </a:lvl1pPr>
          </a:lstStyle>
          <a:p>
            <a:pPr>
              <a:defRPr/>
            </a:pPr>
            <a:r>
              <a:rPr lang="en-US" altLang="ja-JP" smtClean="0"/>
              <a:t>Corporate Presentation</a:t>
            </a:r>
            <a:endParaRPr lang="en-US" altLang="ja-JP"/>
          </a:p>
        </p:txBody>
      </p:sp>
    </p:spTree>
    <p:extLst>
      <p:ext uri="{BB962C8B-B14F-4D97-AF65-F5344CB8AC3E}">
        <p14:creationId xmlns:p14="http://schemas.microsoft.com/office/powerpoint/2010/main" val="23046382"/>
      </p:ext>
    </p:extLst>
  </p:cSld>
  <p:clrMapOvr>
    <a:masterClrMapping/>
  </p:clrMapOvr>
  <p:transition spd="slow"/>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 columns, Text/Photo/Diagram">
    <p:spTree>
      <p:nvGrpSpPr>
        <p:cNvPr id="1" name=""/>
        <p:cNvGrpSpPr/>
        <p:nvPr/>
      </p:nvGrpSpPr>
      <p:grpSpPr>
        <a:xfrm>
          <a:off x="0" y="0"/>
          <a:ext cx="0" cy="0"/>
          <a:chOff x="0" y="0"/>
          <a:chExt cx="0" cy="0"/>
        </a:xfrm>
      </p:grpSpPr>
      <p:sp>
        <p:nvSpPr>
          <p:cNvPr id="6" name="Titel 5"/>
          <p:cNvSpPr>
            <a:spLocks noGrp="1"/>
          </p:cNvSpPr>
          <p:nvPr>
            <p:ph type="title" hasCustomPrompt="1"/>
          </p:nvPr>
        </p:nvSpPr>
        <p:spPr>
          <a:xfrm>
            <a:off x="542926" y="447675"/>
            <a:ext cx="11087100" cy="581297"/>
          </a:xfrm>
        </p:spPr>
        <p:txBody>
          <a:bodyPr/>
          <a:lstStyle>
            <a:lvl1pPr>
              <a:defRPr baseline="0"/>
            </a:lvl1pPr>
          </a:lstStyle>
          <a:p>
            <a:r>
              <a:rPr lang="de-DE" dirty="0"/>
              <a:t>2 </a:t>
            </a:r>
            <a:r>
              <a:rPr lang="de-DE" dirty="0" err="1"/>
              <a:t>columns</a:t>
            </a:r>
            <a:r>
              <a:rPr lang="de-DE" dirty="0"/>
              <a:t>, Text/</a:t>
            </a:r>
            <a:r>
              <a:rPr lang="de-DE" dirty="0" err="1"/>
              <a:t>Photo</a:t>
            </a:r>
            <a:r>
              <a:rPr lang="de-DE" dirty="0"/>
              <a:t>/</a:t>
            </a:r>
            <a:r>
              <a:rPr lang="de-DE" dirty="0" err="1"/>
              <a:t>Diagram</a:t>
            </a:r>
            <a:endParaRPr lang="de-DE" dirty="0"/>
          </a:p>
        </p:txBody>
      </p:sp>
      <p:sp>
        <p:nvSpPr>
          <p:cNvPr id="7" name="Datumsplatzhalter 6"/>
          <p:cNvSpPr>
            <a:spLocks noGrp="1"/>
          </p:cNvSpPr>
          <p:nvPr>
            <p:ph type="dt" sz="half" idx="10"/>
          </p:nvPr>
        </p:nvSpPr>
        <p:spPr/>
        <p:txBody>
          <a:bodyPr/>
          <a:lstStyle/>
          <a:p>
            <a:endParaRPr lang="de-DE" dirty="0"/>
          </a:p>
        </p:txBody>
      </p:sp>
      <p:sp>
        <p:nvSpPr>
          <p:cNvPr id="8" name="Fußzeilenplatzhalter 7"/>
          <p:cNvSpPr>
            <a:spLocks noGrp="1"/>
          </p:cNvSpPr>
          <p:nvPr>
            <p:ph type="ftr" sz="quarter" idx="11"/>
          </p:nvPr>
        </p:nvSpPr>
        <p:spPr/>
        <p:txBody>
          <a:bodyPr/>
          <a:lstStyle/>
          <a:p>
            <a:r>
              <a:rPr lang="de-DE" smtClean="0"/>
              <a:t>Uniqlo - Enabling Sustainability</a:t>
            </a:r>
            <a:endParaRPr lang="de-DE" dirty="0"/>
          </a:p>
        </p:txBody>
      </p:sp>
      <p:sp>
        <p:nvSpPr>
          <p:cNvPr id="9" name="Foliennummernplatzhalter 8"/>
          <p:cNvSpPr>
            <a:spLocks noGrp="1"/>
          </p:cNvSpPr>
          <p:nvPr>
            <p:ph type="sldNum" sz="quarter" idx="12"/>
          </p:nvPr>
        </p:nvSpPr>
        <p:spPr/>
        <p:txBody>
          <a:bodyPr/>
          <a:lstStyle/>
          <a:p>
            <a:fld id="{4915BD61-E5D5-4E4F-ADA0-6F3448AB9FA6}" type="slidenum">
              <a:rPr lang="de-DE" smtClean="0"/>
              <a:pPr/>
              <a:t>‹#›</a:t>
            </a:fld>
            <a:endParaRPr lang="de-DE" dirty="0"/>
          </a:p>
        </p:txBody>
      </p:sp>
      <p:sp>
        <p:nvSpPr>
          <p:cNvPr id="3" name="Inhaltsplatzhalter 2"/>
          <p:cNvSpPr>
            <a:spLocks noGrp="1"/>
          </p:cNvSpPr>
          <p:nvPr>
            <p:ph sz="quarter" idx="14" hasCustomPrompt="1"/>
          </p:nvPr>
        </p:nvSpPr>
        <p:spPr>
          <a:xfrm>
            <a:off x="6186825" y="1221602"/>
            <a:ext cx="5443200" cy="4721999"/>
          </a:xfrm>
        </p:spPr>
        <p:txBody>
          <a:bodyPr/>
          <a:lstStyle>
            <a:lvl1pPr>
              <a:defRPr sz="1800"/>
            </a:lvl1pPr>
            <a:lvl2pPr>
              <a:defRPr sz="1800"/>
            </a:lvl2pPr>
            <a:lvl3pPr>
              <a:defRPr sz="1800"/>
            </a:lvl3pPr>
            <a:lvl4pPr>
              <a:defRPr sz="1800"/>
            </a:lvl4pPr>
            <a:lvl5pPr>
              <a:defRPr sz="1800"/>
            </a:lvl5pPr>
          </a:lstStyle>
          <a:p>
            <a:pPr lvl="0"/>
            <a:r>
              <a:rPr lang="de-DE" dirty="0"/>
              <a:t>Change </a:t>
            </a:r>
            <a:r>
              <a:rPr lang="de-DE" dirty="0" err="1"/>
              <a:t>textforma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0" name="Inhaltsplatzhalter 2"/>
          <p:cNvSpPr>
            <a:spLocks noGrp="1"/>
          </p:cNvSpPr>
          <p:nvPr>
            <p:ph sz="quarter" idx="15" hasCustomPrompt="1"/>
          </p:nvPr>
        </p:nvSpPr>
        <p:spPr>
          <a:xfrm>
            <a:off x="542926" y="1221602"/>
            <a:ext cx="5441800" cy="4721999"/>
          </a:xfrm>
        </p:spPr>
        <p:txBody>
          <a:bodyPr/>
          <a:lstStyle>
            <a:lvl1pPr>
              <a:defRPr sz="1800"/>
            </a:lvl1pPr>
            <a:lvl2pPr>
              <a:defRPr sz="1800"/>
            </a:lvl2pPr>
            <a:lvl3pPr>
              <a:defRPr sz="1800"/>
            </a:lvl3pPr>
            <a:lvl4pPr>
              <a:defRPr sz="1800"/>
            </a:lvl4pPr>
            <a:lvl5pPr>
              <a:defRPr sz="1800"/>
            </a:lvl5pPr>
          </a:lstStyle>
          <a:p>
            <a:pPr lvl="0"/>
            <a:r>
              <a:rPr lang="de-DE" dirty="0"/>
              <a:t>Change </a:t>
            </a:r>
            <a:r>
              <a:rPr lang="de-DE" dirty="0" err="1"/>
              <a:t>textforma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Tree>
    <p:extLst>
      <p:ext uri="{BB962C8B-B14F-4D97-AF65-F5344CB8AC3E}">
        <p14:creationId xmlns:p14="http://schemas.microsoft.com/office/powerpoint/2010/main" val="17216600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Only 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bg2"/>
          </a:solidFill>
        </p:spPr>
        <p:txBody>
          <a:bodyPr wrap="square" lIns="6336000" tIns="0" anchor="ctr">
            <a:noAutofit/>
          </a:bodyPr>
          <a:lstStyle>
            <a:lvl1pPr marL="0" indent="0" algn="l">
              <a:buNone/>
              <a:defRPr cap="none" baseline="0">
                <a:solidFill>
                  <a:schemeClr val="tx1"/>
                </a:solidFill>
              </a:defRPr>
            </a:lvl1pPr>
          </a:lstStyle>
          <a:p>
            <a:r>
              <a:rPr lang="de-DE" dirty="0"/>
              <a:t>Picture</a:t>
            </a:r>
          </a:p>
        </p:txBody>
      </p:sp>
      <p:sp>
        <p:nvSpPr>
          <p:cNvPr id="9" name="Textplatzhalter 8">
            <a:extLst>
              <a:ext uri="{FF2B5EF4-FFF2-40B4-BE49-F238E27FC236}">
                <a16:creationId xmlns:a16="http://schemas.microsoft.com/office/drawing/2014/main" id="{15D4E777-60AC-4694-9358-8A8B83B89DC5}"/>
              </a:ext>
            </a:extLst>
          </p:cNvPr>
          <p:cNvSpPr>
            <a:spLocks noGrp="1"/>
          </p:cNvSpPr>
          <p:nvPr>
            <p:ph type="body" sz="quarter" idx="15" hasCustomPrompt="1"/>
          </p:nvPr>
        </p:nvSpPr>
        <p:spPr bwMode="gray">
          <a:xfrm>
            <a:off x="1278" y="0"/>
            <a:ext cx="6092825" cy="1773564"/>
          </a:xfrm>
          <a:custGeom>
            <a:avLst/>
            <a:gdLst>
              <a:gd name="connsiteX0" fmla="*/ 0 w 6092825"/>
              <a:gd name="connsiteY0" fmla="*/ 0 h 1773564"/>
              <a:gd name="connsiteX1" fmla="*/ 6092825 w 6092825"/>
              <a:gd name="connsiteY1" fmla="*/ 0 h 1773564"/>
              <a:gd name="connsiteX2" fmla="*/ 6092825 w 6092825"/>
              <a:gd name="connsiteY2" fmla="*/ 1773564 h 1773564"/>
              <a:gd name="connsiteX3" fmla="*/ 0 w 6092825"/>
              <a:gd name="connsiteY3" fmla="*/ 1773564 h 1773564"/>
            </a:gdLst>
            <a:ahLst/>
            <a:cxnLst>
              <a:cxn ang="0">
                <a:pos x="connsiteX0" y="connsiteY0"/>
              </a:cxn>
              <a:cxn ang="0">
                <a:pos x="connsiteX1" y="connsiteY1"/>
              </a:cxn>
              <a:cxn ang="0">
                <a:pos x="connsiteX2" y="connsiteY2"/>
              </a:cxn>
              <a:cxn ang="0">
                <a:pos x="connsiteX3" y="connsiteY3"/>
              </a:cxn>
            </a:cxnLst>
            <a:rect l="l" t="t" r="r" b="b"/>
            <a:pathLst>
              <a:path w="6092825" h="1773564">
                <a:moveTo>
                  <a:pt x="0" y="0"/>
                </a:moveTo>
                <a:lnTo>
                  <a:pt x="6092825" y="0"/>
                </a:lnTo>
                <a:lnTo>
                  <a:pt x="6092825" y="1773564"/>
                </a:lnTo>
                <a:lnTo>
                  <a:pt x="0" y="1773564"/>
                </a:lnTo>
                <a:close/>
              </a:path>
            </a:pathLst>
          </a:custGeom>
          <a:blipFill>
            <a:blip r:embed="rId3"/>
            <a:stretch>
              <a:fillRect/>
            </a:stretch>
          </a:blipFill>
        </p:spPr>
        <p:txBody>
          <a:bodyPr wrap="square">
            <a:noAutofit/>
          </a:bodyPr>
          <a:lstStyle>
            <a:lvl1pPr marL="0" indent="0">
              <a:buNone/>
              <a:defRPr baseline="0"/>
            </a:lvl1pPr>
          </a:lstStyle>
          <a:p>
            <a:pPr lvl="0"/>
            <a:r>
              <a:rPr lang="de-DE" dirty="0"/>
              <a:t> </a:t>
            </a:r>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8" name="Titel 1"/>
          <p:cNvSpPr>
            <a:spLocks noGrp="1"/>
          </p:cNvSpPr>
          <p:nvPr>
            <p:ph type="ctrTitle" hasCustomPrompt="1"/>
          </p:nvPr>
        </p:nvSpPr>
        <p:spPr bwMode="gray">
          <a:xfrm>
            <a:off x="550436" y="477584"/>
            <a:ext cx="5112000" cy="1222629"/>
          </a:xfrm>
        </p:spPr>
        <p:txBody>
          <a:bodyPr/>
          <a:lstStyle>
            <a:lvl1pPr>
              <a:defRPr sz="3200"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3918952663"/>
      </p:ext>
    </p:extLst>
  </p:cSld>
  <p:clrMapOvr>
    <a:masterClrMapping/>
  </p:clrMapOvr>
  <p:extLst mod="1">
    <p:ext uri="{DCECCB84-F9BA-43D5-87BE-67443E8EF086}">
      <p15:sldGuideLst xmlns:p15="http://schemas.microsoft.com/office/powerpoint/2012/main">
        <p15:guide id="1" orient="horz" pos="34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pPr>
              <a:defRPr/>
            </a:pPr>
            <a:fld id="{31944C6A-CC4E-4333-927F-383F56A00523}" type="datetime1">
              <a:rPr lang="en-US" smtClean="0"/>
              <a:pPr>
                <a:defRPr/>
              </a:pPr>
              <a:t>8/25/2021</a:t>
            </a:fld>
            <a:endParaRPr lang="en-US" dirty="0"/>
          </a:p>
        </p:txBody>
      </p:sp>
      <p:sp>
        <p:nvSpPr>
          <p:cNvPr id="4" name="Footer Placeholder 3"/>
          <p:cNvSpPr>
            <a:spLocks noGrp="1"/>
          </p:cNvSpPr>
          <p:nvPr>
            <p:ph type="ftr" sz="quarter" idx="11"/>
          </p:nvPr>
        </p:nvSpPr>
        <p:spPr/>
        <p:txBody>
          <a:bodyPr/>
          <a:lstStyle/>
          <a:p>
            <a:pPr>
              <a:defRPr/>
            </a:pPr>
            <a:r>
              <a:rPr lang="en-US" dirty="0" smtClean="0"/>
              <a:t>TUV Rheinland │ TCC C03 Technical Training - REACH Regulation</a:t>
            </a:r>
            <a:endParaRPr lang="de-DE" dirty="0"/>
          </a:p>
        </p:txBody>
      </p:sp>
      <p:sp>
        <p:nvSpPr>
          <p:cNvPr id="5" name="Slide Number Placeholder 4"/>
          <p:cNvSpPr>
            <a:spLocks noGrp="1"/>
          </p:cNvSpPr>
          <p:nvPr>
            <p:ph type="sldNum" sz="quarter" idx="12"/>
          </p:nvPr>
        </p:nvSpPr>
        <p:spPr/>
        <p:txBody>
          <a:bodyPr/>
          <a:lstStyle/>
          <a:p>
            <a:pPr>
              <a:defRPr/>
            </a:pPr>
            <a:fld id="{A8A0D73F-1F63-43D2-8015-5E130AB4E484}" type="slidenum">
              <a:rPr lang="de-DE" smtClean="0"/>
              <a:pPr>
                <a:defRPr/>
              </a:pPr>
              <a:t>‹#›</a:t>
            </a:fld>
            <a:endParaRPr lang="de-DE" dirty="0"/>
          </a:p>
        </p:txBody>
      </p:sp>
      <p:sp>
        <p:nvSpPr>
          <p:cNvPr id="6" name="Textplatzhalter 7"/>
          <p:cNvSpPr>
            <a:spLocks noGrp="1"/>
          </p:cNvSpPr>
          <p:nvPr>
            <p:ph type="body" sz="quarter" idx="15" hasCustomPrompt="1"/>
          </p:nvPr>
        </p:nvSpPr>
        <p:spPr>
          <a:xfrm>
            <a:off x="719573" y="1268707"/>
            <a:ext cx="10731198" cy="360445"/>
          </a:xfrm>
        </p:spPr>
        <p:txBody>
          <a:bodyPr/>
          <a:lstStyle>
            <a:lvl1pPr marL="0" indent="0">
              <a:lnSpc>
                <a:spcPct val="100000"/>
              </a:lnSpc>
              <a:buFontTx/>
              <a:buNone/>
              <a:defRPr sz="1800" b="1" baseline="0"/>
            </a:lvl1pPr>
            <a:lvl2pPr marL="355671" indent="0">
              <a:buFontTx/>
              <a:buNone/>
              <a:defRPr b="1"/>
            </a:lvl2pPr>
            <a:lvl3pPr marL="716106" indent="0">
              <a:buFontTx/>
              <a:buNone/>
              <a:defRPr b="1"/>
            </a:lvl3pPr>
            <a:lvl4pPr marL="1076540" indent="0">
              <a:buFontTx/>
              <a:buNone/>
              <a:defRPr b="1"/>
            </a:lvl4pPr>
            <a:lvl5pPr marL="1429036" indent="0">
              <a:buFontTx/>
              <a:buNone/>
              <a:defRPr b="1"/>
            </a:lvl5pPr>
          </a:lstStyle>
          <a:p>
            <a:pPr lvl="0"/>
            <a:r>
              <a:rPr lang="de-DE" dirty="0" smtClean="0"/>
              <a:t>Click to add subtitle</a:t>
            </a:r>
          </a:p>
        </p:txBody>
      </p:sp>
    </p:spTree>
    <p:extLst>
      <p:ext uri="{BB962C8B-B14F-4D97-AF65-F5344CB8AC3E}">
        <p14:creationId xmlns:p14="http://schemas.microsoft.com/office/powerpoint/2010/main" val="2983391332"/>
      </p:ext>
    </p:extLst>
  </p:cSld>
  <p:clrMapOvr>
    <a:masterClrMapping/>
  </p:clrMapOvr>
  <p:timing>
    <p:tnLst>
      <p:par>
        <p:cTn id="1" dur="indefinite" restart="never" nodeType="tmRoot"/>
      </p:par>
    </p:tnLst>
  </p:timing>
  <p:hf hdr="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solidFill>
            <a:schemeClr val="tx2"/>
          </a:solidFill>
        </p:spPr>
        <p:txBody>
          <a:bodyPr wrap="square" tIns="792000" anchor="ctr">
            <a:noAutofit/>
          </a:bodyPr>
          <a:lstStyle>
            <a:lvl1pPr marL="0" indent="0" algn="ctr">
              <a:buNone/>
              <a:defRPr/>
            </a:lvl1pPr>
            <a:lvl2pPr algn="ctr">
              <a:defRPr cap="none" baseline="0">
                <a:solidFill>
                  <a:schemeClr val="tx1"/>
                </a:solidFill>
              </a:defRPr>
            </a:lvl2pPr>
          </a:lstStyle>
          <a:p>
            <a:pPr lvl="1"/>
            <a:endParaRPr lang="de-DE" dirty="0"/>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0"/>
              </a:spcAft>
              <a:buClr>
                <a:schemeClr val="tx2"/>
              </a:buClr>
              <a:buSzTx/>
              <a:buFont typeface="Wingdings" panose="05000000000000000000" pitchFamily="2" charset="2"/>
              <a:buNone/>
              <a:tabLst/>
              <a:defRPr sz="2000" cap="none" baseline="0">
                <a:solidFill>
                  <a:schemeClr val="tx2"/>
                </a:solidFill>
              </a:defRPr>
            </a:lvl1pPr>
            <a:lvl2pPr marL="0" indent="0" algn="l">
              <a:spcAft>
                <a:spcPts val="0"/>
              </a:spcAft>
              <a:buNone/>
              <a:defRPr sz="2000">
                <a:solidFill>
                  <a:schemeClr val="tx2"/>
                </a:solidFill>
              </a:defRPr>
            </a:lvl2pPr>
            <a:lvl3pPr marL="0" indent="0" algn="l">
              <a:spcAft>
                <a:spcPts val="0"/>
              </a:spcAft>
              <a:buNone/>
              <a:defRPr sz="2000">
                <a:solidFill>
                  <a:schemeClr val="tx2"/>
                </a:solidFill>
              </a:defRPr>
            </a:lvl3pPr>
            <a:lvl4pPr marL="0" indent="0" algn="l">
              <a:spcAft>
                <a:spcPts val="0"/>
              </a:spcAft>
              <a:buNone/>
              <a:defRPr sz="2000">
                <a:solidFill>
                  <a:schemeClr val="tx2"/>
                </a:solidFill>
              </a:defRPr>
            </a:lvl4pPr>
            <a:lvl5pPr marL="0" indent="0" algn="l">
              <a:spcAft>
                <a:spcPts val="0"/>
              </a:spcAft>
              <a:buNone/>
              <a:defRPr sz="2000">
                <a:solidFill>
                  <a:schemeClr val="tx2"/>
                </a:solidFill>
              </a:defRPr>
            </a:lvl5pPr>
            <a:lvl6pPr marL="0" indent="0" algn="l">
              <a:spcAft>
                <a:spcPts val="0"/>
              </a:spcAft>
              <a:buNone/>
              <a:defRPr sz="2000">
                <a:solidFill>
                  <a:schemeClr val="tx2"/>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dirty="0"/>
              <a:t>Here is a Subheadline 20pt</a:t>
            </a:r>
            <a:br>
              <a:rPr lang="en-US" dirty="0"/>
            </a:br>
            <a:r>
              <a:rPr lang="en-US" dirty="0"/>
              <a:t>Change picture: „Click icon to add picture“</a:t>
            </a:r>
          </a:p>
        </p:txBody>
      </p:sp>
      <p:sp>
        <p:nvSpPr>
          <p:cNvPr id="7" name="Datumsplatzhalter 6"/>
          <p:cNvSpPr>
            <a:spLocks noGrp="1"/>
          </p:cNvSpPr>
          <p:nvPr userDrawn="1">
            <p:ph type="dt" sz="half" idx="11"/>
          </p:nvPr>
        </p:nvSpPr>
        <p:spPr bwMode="gray"/>
        <p:txBody>
          <a:bodyPr/>
          <a:lstStyle/>
          <a:p>
            <a:fld id="{7FC5A3FB-4BB9-43E8-8526-58C71CA9E09B}" type="datetime1">
              <a:rPr lang="en-US" smtClean="0"/>
              <a:t>8/25/2021</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tx2"/>
                </a:solidFill>
              </a:defRPr>
            </a:lvl1pPr>
          </a:lstStyle>
          <a:p>
            <a:r>
              <a:rPr lang="en-US" dirty="0"/>
              <a:t>Here is a very long Headline 32pt</a:t>
            </a:r>
          </a:p>
        </p:txBody>
      </p:sp>
      <p:pic>
        <p:nvPicPr>
          <p:cNvPr id="10" name="Grafik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690451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tx2"/>
                </a:solidFill>
              </a:defRPr>
            </a:lvl1pPr>
          </a:lstStyle>
          <a:p>
            <a:r>
              <a:rPr lang="en-US" dirty="0"/>
              <a:t>Title without pictur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406E66F0-CE94-4746-9243-BBD8DD42F979}" type="datetime1">
              <a:rPr lang="en-US" smtClean="0"/>
              <a:t>8/25/2021</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Grafik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28612920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white">
    <p:bg>
      <p:bgPr>
        <a:solidFill>
          <a:schemeClr val="bg1"/>
        </a:solidFill>
        <a:effectLst/>
      </p:bgPr>
    </p:bg>
    <p:spTree>
      <p:nvGrpSpPr>
        <p:cNvPr id="1" name=""/>
        <p:cNvGrpSpPr/>
        <p:nvPr/>
      </p:nvGrpSpPr>
      <p:grpSpPr>
        <a:xfrm>
          <a:off x="0" y="0"/>
          <a:ext cx="0" cy="0"/>
          <a:chOff x="0" y="0"/>
          <a:chExt cx="0" cy="0"/>
        </a:xfrm>
      </p:grpSpPr>
      <p:pic>
        <p:nvPicPr>
          <p:cNvPr id="4" name="Grafik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gray">
          <a:xfrm>
            <a:off x="-1" y="1240"/>
            <a:ext cx="12192621" cy="6858348"/>
          </a:xfrm>
          <a:prstGeom prst="rect">
            <a:avLst/>
          </a:prstGeom>
        </p:spPr>
      </p:pic>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tx2"/>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tx2"/>
                </a:solidFill>
              </a:defRPr>
            </a:lvl1pPr>
            <a:lvl2pPr marL="0" indent="0" algn="l">
              <a:buNone/>
              <a:defRPr sz="2000">
                <a:solidFill>
                  <a:schemeClr val="tx2"/>
                </a:solidFill>
              </a:defRPr>
            </a:lvl2pPr>
            <a:lvl3pPr marL="0" indent="0" algn="l">
              <a:buNone/>
              <a:defRPr sz="2000">
                <a:solidFill>
                  <a:schemeClr val="tx2"/>
                </a:solidFill>
              </a:defRPr>
            </a:lvl3pPr>
            <a:lvl4pPr marL="0" indent="0" algn="l">
              <a:buNone/>
              <a:defRPr sz="2000">
                <a:solidFill>
                  <a:schemeClr val="tx2"/>
                </a:solidFill>
              </a:defRPr>
            </a:lvl4pPr>
            <a:lvl5pPr marL="0" indent="0" algn="l">
              <a:buNone/>
              <a:defRPr sz="2000">
                <a:solidFill>
                  <a:schemeClr val="tx2"/>
                </a:solidFill>
              </a:defRPr>
            </a:lvl5pPr>
            <a:lvl6pPr marL="0" indent="0" algn="l">
              <a:buNone/>
              <a:defRPr sz="2000">
                <a:solidFill>
                  <a:schemeClr val="tx2"/>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4A880F4-3517-406A-BFEA-EBA14559D47C}" type="datetime1">
              <a:rPr lang="en-US" smtClean="0"/>
              <a:t>8/25/2021</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pic>
        <p:nvPicPr>
          <p:cNvPr id="10" name="Grafik 9"/>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39563184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Datumsplatzhalter 2"/>
          <p:cNvSpPr>
            <a:spLocks noGrp="1"/>
          </p:cNvSpPr>
          <p:nvPr>
            <p:ph type="dt" sz="half" idx="10"/>
          </p:nvPr>
        </p:nvSpPr>
        <p:spPr bwMode="gray"/>
        <p:txBody>
          <a:bodyPr/>
          <a:lstStyle/>
          <a:p>
            <a:fld id="{99008CA6-BA1D-487E-B153-4648639C7AE7}" type="datetime1">
              <a:rPr lang="en-US" smtClean="0"/>
              <a:t>8/25/2021</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Tree>
    <p:extLst>
      <p:ext uri="{BB962C8B-B14F-4D97-AF65-F5344CB8AC3E}">
        <p14:creationId xmlns:p14="http://schemas.microsoft.com/office/powerpoint/2010/main" val="40425353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00B4490B-C179-4B25-9003-BEFFF48DF0B4}" type="datetime1">
              <a:rPr lang="en-US" smtClean="0"/>
              <a:t>8/25/2021</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p:nvPr>
        </p:nvSpPr>
        <p:spPr bwMode="gray">
          <a:xfrm>
            <a:off x="551288" y="1269494"/>
            <a:ext cx="11088688" cy="4680000"/>
          </a:xfrm>
        </p:spPr>
        <p:txBody>
          <a:bodyPr/>
          <a:lstStyle>
            <a:lvl1pPr>
              <a:defRPr cap="none" baseline="0"/>
            </a:lvl1pPr>
          </a:lstStyle>
          <a:p>
            <a:pPr lvl="0"/>
            <a:endParaRPr lang="en-US" dirty="0"/>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02C0C152-FC6C-4118-BB9A-A566AC9EAA17}" type="datetime1">
              <a:rPr lang="en-US" smtClean="0"/>
              <a:t>8/25/2021</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Textplatzhalter 10"/>
          <p:cNvSpPr>
            <a:spLocks noGrp="1"/>
          </p:cNvSpPr>
          <p:nvPr>
            <p:ph type="body" sz="quarter" idx="13" hasCustomPrompt="1"/>
          </p:nvPr>
        </p:nvSpPr>
        <p:spPr bwMode="gray">
          <a:xfrm>
            <a:off x="550436" y="1270000"/>
            <a:ext cx="11088000" cy="4680144"/>
          </a:xfrm>
        </p:spPr>
        <p:txBody>
          <a:bodyPr tIns="288000"/>
          <a:lstStyle>
            <a:lvl1pPr marL="0" indent="0">
              <a:lnSpc>
                <a:spcPct val="100000"/>
              </a:lnSpc>
              <a:buFont typeface="Arial" panose="020B0604020202020204" pitchFamily="34" charset="0"/>
              <a:buNone/>
              <a:defRPr lang="en-US" sz="4800" kern="1200" cap="none" baseline="0" dirty="0" smtClean="0">
                <a:solidFill>
                  <a:schemeClr val="accent1"/>
                </a:solidFill>
                <a:latin typeface="+mn-lt"/>
                <a:ea typeface="+mn-ea"/>
                <a:cs typeface="+mn-cs"/>
              </a:defRPr>
            </a:lvl1pPr>
            <a:lvl2pPr marL="0" indent="0">
              <a:buFont typeface="Arial" panose="020B0604020202020204" pitchFamily="34" charset="0"/>
              <a:buNone/>
              <a:defRPr sz="4800">
                <a:solidFill>
                  <a:schemeClr val="tx2"/>
                </a:solidFill>
              </a:defRPr>
            </a:lvl2pPr>
            <a:lvl3pPr marL="0" indent="0">
              <a:buNone/>
              <a:defRPr sz="4800">
                <a:solidFill>
                  <a:schemeClr val="tx2"/>
                </a:solidFill>
              </a:defRPr>
            </a:lvl3pPr>
            <a:lvl4pPr marL="0" indent="0">
              <a:buNone/>
              <a:defRPr sz="4800">
                <a:solidFill>
                  <a:schemeClr val="tx2"/>
                </a:solidFill>
              </a:defRPr>
            </a:lvl4pPr>
            <a:lvl5pPr marL="0" indent="0">
              <a:buNone/>
              <a:defRPr sz="4800">
                <a:solidFill>
                  <a:schemeClr val="tx2"/>
                </a:solidFill>
              </a:defRPr>
            </a:lvl5pPr>
            <a:lvl6pPr marL="0" indent="0">
              <a:buNone/>
              <a:defRPr sz="4800">
                <a:solidFill>
                  <a:schemeClr val="tx2"/>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en-US" dirty="0"/>
              <a:t>» Whoever is not looking for the solutions of the future today is already yesterday.«</a:t>
            </a:r>
          </a:p>
        </p:txBody>
      </p:sp>
    </p:spTree>
    <p:extLst>
      <p:ext uri="{BB962C8B-B14F-4D97-AF65-F5344CB8AC3E}">
        <p14:creationId xmlns:p14="http://schemas.microsoft.com/office/powerpoint/2010/main" val="2163954403"/>
      </p:ext>
    </p:extLst>
  </p:cSld>
  <p:clrMapOvr>
    <a:masterClrMapping/>
  </p:clrMapOvr>
  <p:extLst mod="1">
    <p:ext uri="{DCECCB84-F9BA-43D5-87BE-67443E8EF086}">
      <p15:sldGuideLst xmlns:p15="http://schemas.microsoft.com/office/powerpoint/2012/main">
        <p15:guide id="1" orient="horz" pos="80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6"/>
            </p:custDataLst>
            <p:extLst>
              <p:ext uri="{D42A27DB-BD31-4B8C-83A1-F6EECF244321}">
                <p14:modId xmlns:p14="http://schemas.microsoft.com/office/powerpoint/2010/main" val="904627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1" name="think-cell Folie" r:id="rId40" imgW="270" imgH="270" progId="TCLayout.ActiveDocument.1">
                  <p:embed/>
                </p:oleObj>
              </mc:Choice>
              <mc:Fallback>
                <p:oleObj name="think-cell Foli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 name="Textplatzhalter 2"/>
          <p:cNvSpPr>
            <a:spLocks noGrp="1"/>
          </p:cNvSpPr>
          <p:nvPr>
            <p:ph type="body" idx="1"/>
            <p:custDataLst>
              <p:tags r:id="rId37"/>
            </p:custDataLst>
          </p:nvPr>
        </p:nvSpPr>
        <p:spPr bwMode="gray">
          <a:xfrm>
            <a:off x="550862" y="1701800"/>
            <a:ext cx="11088687" cy="4247734"/>
          </a:xfrm>
          <a:prstGeom prst="rect">
            <a:avLst/>
          </a:prstGeom>
        </p:spPr>
        <p:txBody>
          <a:bodyPr vert="horz" lIns="0" tIns="0" rIns="0" bIns="0" rtlCol="0">
            <a:noAutofit/>
          </a:bodyPr>
          <a:lstStyle/>
          <a:p>
            <a:pPr lvl="0">
              <a:lnSpc>
                <a:spcPct val="120000"/>
              </a:lnSpc>
              <a:spcAft>
                <a:spcPts val="800"/>
              </a:spcAft>
            </a:pPr>
            <a:r>
              <a:rPr lang="en-US" dirty="0" err="1"/>
              <a:t>Textmasterformat</a:t>
            </a:r>
            <a:r>
              <a:rPr lang="en-US" dirty="0"/>
              <a:t> </a:t>
            </a:r>
            <a:r>
              <a:rPr lang="en-US" dirty="0" err="1"/>
              <a:t>bearbeiten</a:t>
            </a:r>
            <a:endParaRPr lang="en-US" dirty="0"/>
          </a:p>
          <a:p>
            <a:pPr marL="126000" lvl="1" indent="-126000">
              <a:lnSpc>
                <a:spcPct val="120000"/>
              </a:lnSpc>
              <a:spcAft>
                <a:spcPts val="400"/>
              </a:spcAft>
            </a:pPr>
            <a:r>
              <a:rPr lang="en-US" dirty="0" err="1"/>
              <a:t>Zweite</a:t>
            </a:r>
            <a:r>
              <a:rPr lang="en-US" dirty="0"/>
              <a:t> </a:t>
            </a:r>
            <a:r>
              <a:rPr lang="en-US" dirty="0" err="1"/>
              <a:t>Ebene</a:t>
            </a:r>
            <a:endParaRPr lang="en-US" dirty="0"/>
          </a:p>
          <a:p>
            <a:pPr marL="270000" lvl="2" indent="-126000">
              <a:lnSpc>
                <a:spcPct val="120000"/>
              </a:lnSpc>
              <a:spcAft>
                <a:spcPts val="400"/>
              </a:spcAft>
              <a:buClr>
                <a:schemeClr val="tx2"/>
              </a:buClr>
            </a:pPr>
            <a:r>
              <a:rPr lang="en-US" dirty="0" err="1"/>
              <a:t>Dritte</a:t>
            </a:r>
            <a:r>
              <a:rPr lang="en-US" dirty="0"/>
              <a:t> </a:t>
            </a:r>
            <a:r>
              <a:rPr lang="en-US" dirty="0" err="1"/>
              <a:t>Ebene</a:t>
            </a:r>
            <a:endParaRPr lang="en-US" dirty="0"/>
          </a:p>
          <a:p>
            <a:pPr marL="403200" lvl="3" indent="-126000">
              <a:lnSpc>
                <a:spcPct val="120000"/>
              </a:lnSpc>
              <a:spcAft>
                <a:spcPts val="400"/>
              </a:spcAft>
              <a:buClr>
                <a:schemeClr val="tx2"/>
              </a:buClr>
            </a:pPr>
            <a:r>
              <a:rPr lang="en-US" dirty="0" err="1"/>
              <a:t>Vierte</a:t>
            </a:r>
            <a:r>
              <a:rPr lang="en-US" dirty="0"/>
              <a:t> </a:t>
            </a:r>
            <a:r>
              <a:rPr lang="en-US" dirty="0" err="1"/>
              <a:t>Ebene</a:t>
            </a:r>
            <a:endParaRPr lang="en-US" dirty="0"/>
          </a:p>
          <a:p>
            <a:pPr marL="403200" lvl="4" indent="-126000">
              <a:lnSpc>
                <a:spcPct val="120000"/>
              </a:lnSpc>
              <a:spcAft>
                <a:spcPts val="400"/>
              </a:spcAft>
              <a:buClr>
                <a:schemeClr val="tx2"/>
              </a:buClr>
            </a:pPr>
            <a:r>
              <a:rPr lang="en-US" dirty="0" err="1"/>
              <a:t>Fünfte</a:t>
            </a:r>
            <a:r>
              <a:rPr lang="en-US" dirty="0"/>
              <a:t> </a:t>
            </a:r>
            <a:r>
              <a:rPr lang="en-US" dirty="0" err="1"/>
              <a:t>Ebene</a:t>
            </a:r>
            <a:endParaRPr lang="en-US" dirty="0"/>
          </a:p>
          <a:p>
            <a:pPr marL="403200" lvl="5" indent="-126000">
              <a:lnSpc>
                <a:spcPct val="120000"/>
              </a:lnSpc>
              <a:spcAft>
                <a:spcPts val="400"/>
              </a:spcAft>
              <a:buClr>
                <a:schemeClr val="tx2"/>
              </a:buClr>
            </a:pPr>
            <a:r>
              <a:rPr lang="en-US" dirty="0"/>
              <a:t>6</a:t>
            </a:r>
          </a:p>
          <a:p>
            <a:pPr marL="403200" lvl="4" indent="-126000">
              <a:lnSpc>
                <a:spcPct val="120000"/>
              </a:lnSpc>
              <a:spcAft>
                <a:spcPts val="400"/>
              </a:spcAft>
              <a:buClr>
                <a:schemeClr val="tx2"/>
              </a:buClr>
            </a:pPr>
            <a:r>
              <a:rPr lang="en-US" dirty="0"/>
              <a:t>7</a:t>
            </a:r>
          </a:p>
          <a:p>
            <a:pPr marL="403200" lvl="4" indent="-126000">
              <a:lnSpc>
                <a:spcPct val="120000"/>
              </a:lnSpc>
              <a:spcAft>
                <a:spcPts val="400"/>
              </a:spcAft>
              <a:buClr>
                <a:schemeClr val="tx2"/>
              </a:buClr>
            </a:pPr>
            <a:r>
              <a:rPr lang="en-US" dirty="0"/>
              <a:t>8</a:t>
            </a:r>
          </a:p>
          <a:p>
            <a:pPr marL="403200" lvl="4" indent="-126000">
              <a:lnSpc>
                <a:spcPct val="120000"/>
              </a:lnSpc>
              <a:spcAft>
                <a:spcPts val="400"/>
              </a:spcAft>
              <a:buClr>
                <a:schemeClr val="tx2"/>
              </a:buClr>
            </a:pPr>
            <a:r>
              <a:rPr lang="en-US" dirty="0"/>
              <a:t>9</a:t>
            </a:r>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a:defRPr sz="800">
                <a:solidFill>
                  <a:schemeClr val="tx1"/>
                </a:solidFill>
              </a:defRPr>
            </a:lvl1pPr>
          </a:lstStyle>
          <a:p>
            <a:fld id="{6FC89831-7492-4967-98EF-E4CF8FC683BE}" type="datetime1">
              <a:rPr lang="en-US" smtClean="0"/>
              <a:t>8/25/2021</a:t>
            </a:fld>
            <a:endParaRPr lang="en-US"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7" name="VCT_Marker_ID_7" hidden="1"/>
          <p:cNvSpPr/>
          <p:nvPr userDrawn="1">
            <p:custDataLst>
              <p:tags r:id="rId38"/>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1" name="Grafik 10"/>
          <p:cNvPicPr>
            <a:picLocks noChangeAspect="1"/>
          </p:cNvPicPr>
          <p:nvPr userDrawn="1"/>
        </p:nvPicPr>
        <p:blipFill>
          <a:blip r:embed="rId42" cstate="print">
            <a:extLst>
              <a:ext uri="{28A0092B-C50C-407E-A947-70E740481C1C}">
                <a14:useLocalDpi xmlns:a14="http://schemas.microsoft.com/office/drawing/2010/main"/>
              </a:ext>
            </a:extLst>
          </a:blip>
          <a:stretch>
            <a:fillRect/>
          </a:stretch>
        </p:blipFill>
        <p:spPr>
          <a:xfrm>
            <a:off x="9839137" y="6179469"/>
            <a:ext cx="1799999" cy="449455"/>
          </a:xfrm>
          <a:prstGeom prst="rect">
            <a:avLst/>
          </a:prstGeom>
        </p:spPr>
      </p:pic>
      <p:sp>
        <p:nvSpPr>
          <p:cNvPr id="8" name="empower - DO NOT DELETE!!!" hidden="1"/>
          <p:cNvSpPr/>
          <p:nvPr userDrawn="1">
            <p:custDataLst>
              <p:tags r:id="rId3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2" r:id="rId1"/>
    <p:sldLayoutId id="2147483649" r:id="rId2"/>
    <p:sldLayoutId id="2147483653" r:id="rId3"/>
    <p:sldLayoutId id="2147483654" r:id="rId4"/>
    <p:sldLayoutId id="2147483655" r:id="rId5"/>
    <p:sldLayoutId id="2147483656" r:id="rId6"/>
    <p:sldLayoutId id="2147483682" r:id="rId7"/>
    <p:sldLayoutId id="2147483657" r:id="rId8"/>
    <p:sldLayoutId id="2147483658" r:id="rId9"/>
    <p:sldLayoutId id="2147483650" r:id="rId10"/>
    <p:sldLayoutId id="2147483660" r:id="rId11"/>
    <p:sldLayoutId id="2147483661" r:id="rId12"/>
    <p:sldLayoutId id="2147483662" r:id="rId13"/>
    <p:sldLayoutId id="2147483683" r:id="rId14"/>
    <p:sldLayoutId id="2147483663" r:id="rId15"/>
    <p:sldLayoutId id="2147483666" r:id="rId16"/>
    <p:sldLayoutId id="2147483664" r:id="rId17"/>
    <p:sldLayoutId id="2147483672" r:id="rId18"/>
    <p:sldLayoutId id="2147483671" r:id="rId19"/>
    <p:sldLayoutId id="2147483675" r:id="rId20"/>
    <p:sldLayoutId id="2147483684" r:id="rId21"/>
    <p:sldLayoutId id="2147483685" r:id="rId22"/>
    <p:sldLayoutId id="2147483698" r:id="rId23"/>
    <p:sldLayoutId id="2147483699" r:id="rId24"/>
    <p:sldLayoutId id="2147483703" r:id="rId25"/>
    <p:sldLayoutId id="2147483735" r:id="rId26"/>
    <p:sldLayoutId id="2147483737" r:id="rId27"/>
    <p:sldLayoutId id="2147483738" r:id="rId28"/>
    <p:sldLayoutId id="2147483739" r:id="rId29"/>
    <p:sldLayoutId id="2147483740" r:id="rId30"/>
    <p:sldLayoutId id="2147483741" r:id="rId31"/>
    <p:sldLayoutId id="2147483742" r:id="rId32"/>
    <p:sldLayoutId id="2147483743" r:id="rId33"/>
  </p:sldLayoutIdLst>
  <p:hf hdr="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lang="en-US" sz="1200" kern="1200" cap="none" baseline="0" dirty="0" smtClean="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lang="en-US" sz="1200" kern="1200" dirty="0" smtClean="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lang="en-US" sz="1200" kern="1200" dirty="0" smtClean="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lang="en-US" sz="1200" kern="1200" dirty="0" smtClean="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lang="en-US" sz="1200" kern="1200" dirty="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lang="en-US" sz="1200" kern="1200" dirty="0" smtClean="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38.jpeg"/></Relationships>
</file>

<file path=ppt/slides/_rels/slide17.xml.rels><?xml version="1.0" encoding="UTF-8" standalone="yes"?>
<Relationships xmlns="http://schemas.openxmlformats.org/package/2006/relationships"><Relationship Id="rId3" Type="http://schemas.openxmlformats.org/officeDocument/2006/relationships/image" Target="../media/image39.jpg"/><Relationship Id="rId7" Type="http://schemas.openxmlformats.org/officeDocument/2006/relationships/image" Target="../media/image43.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jpg"/></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46.png"/><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hyperlink" Target="http://www.miriamfluri.ch/piktogramm.php?kid=11&amp;piktogramm=Fluri_Miriam_Piktogramm_Architektur_Fabrik.jpg" TargetMode="External"/><Relationship Id="rId7" Type="http://schemas.openxmlformats.org/officeDocument/2006/relationships/hyperlink" Target="http://www.miriamfluri.ch/piktogramm.php?kid=11&amp;piktogramm=Fluri_Miriam_Piktogramm_Architektur_Einfamilienhaus.jpg" TargetMode="External"/><Relationship Id="rId12" Type="http://schemas.openxmlformats.org/officeDocument/2006/relationships/image" Target="../media/image53.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48.jpeg"/><Relationship Id="rId11" Type="http://schemas.openxmlformats.org/officeDocument/2006/relationships/image" Target="../media/image52.jpeg"/><Relationship Id="rId5" Type="http://schemas.openxmlformats.org/officeDocument/2006/relationships/hyperlink" Target="http://www.miriamfluri.ch/piktogramm.php?kid=11&amp;piktogramm=Fluri_Miriam_Piktogramm_Architektur_Mehrfamilienhaus.jpg" TargetMode="External"/><Relationship Id="rId10" Type="http://schemas.openxmlformats.org/officeDocument/2006/relationships/image" Target="../media/image51.jpeg"/><Relationship Id="rId4" Type="http://schemas.openxmlformats.org/officeDocument/2006/relationships/image" Target="../media/image47.jpeg"/><Relationship Id="rId9" Type="http://schemas.openxmlformats.org/officeDocument/2006/relationships/image" Target="../media/image50.jpe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24.xml.rels><?xml version="1.0" encoding="UTF-8" standalone="yes"?>
<Relationships xmlns="http://schemas.openxmlformats.org/package/2006/relationships"><Relationship Id="rId3" Type="http://schemas.openxmlformats.org/officeDocument/2006/relationships/hyperlink" Target="https://www.echa.europa.eu/candidate-list-table" TargetMode="External"/><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hyperlink" Target="https://echa.europa.eu/candidate-list-table" TargetMode="Externa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https://www.echa.europa.eu/web/guest/authorisation-list" TargetMode="External"/><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24.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8.png"/><Relationship Id="rId7"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hyperlink" Target="http://www.tuv.com/detox" TargetMode="External"/><Relationship Id="rId9" Type="http://schemas.openxmlformats.org/officeDocument/2006/relationships/image" Target="../media/image63.png"/></Relationships>
</file>

<file path=ppt/slides/_rels/slide31.xml.rels><?xml version="1.0" encoding="UTF-8" standalone="yes"?>
<Relationships xmlns="http://schemas.openxmlformats.org/package/2006/relationships"><Relationship Id="rId8" Type="http://schemas.openxmlformats.org/officeDocument/2006/relationships/hyperlink" Target="mailto:Rashid.Mansoor@sa.tuv.com" TargetMode="External"/><Relationship Id="rId3" Type="http://schemas.openxmlformats.org/officeDocument/2006/relationships/notesSlide" Target="../notesSlides/notesSlide24.xml"/><Relationship Id="rId7" Type="http://schemas.openxmlformats.org/officeDocument/2006/relationships/hyperlink" Target="mailto:sesadev.pn@ind.tuv.com" TargetMode="External"/><Relationship Id="rId2" Type="http://schemas.openxmlformats.org/officeDocument/2006/relationships/slideLayout" Target="../slideLayouts/slideLayout27.xml"/><Relationship Id="rId1" Type="http://schemas.openxmlformats.org/officeDocument/2006/relationships/tags" Target="../tags/tag14.xml"/><Relationship Id="rId6" Type="http://schemas.openxmlformats.org/officeDocument/2006/relationships/hyperlink" Target="mailto:venkat.hr@ind.tuv.com/" TargetMode="External"/><Relationship Id="rId5" Type="http://schemas.openxmlformats.org/officeDocument/2006/relationships/hyperlink" Target="mailto:Fatema.Jahan@bd.tuv.com" TargetMode="External"/><Relationship Id="rId10" Type="http://schemas.openxmlformats.org/officeDocument/2006/relationships/hyperlink" Target="http://www.tuv.com/detox" TargetMode="External"/><Relationship Id="rId4" Type="http://schemas.openxmlformats.org/officeDocument/2006/relationships/image" Target="../media/image65.png"/><Relationship Id="rId9" Type="http://schemas.openxmlformats.org/officeDocument/2006/relationships/hyperlink" Target="mailto:Akhlaq.Hussain@sa.tuv.com" TargetMode="External"/></Relationships>
</file>

<file path=ppt/slides/_rels/slide32.xml.rels><?xml version="1.0" encoding="UTF-8" standalone="yes"?>
<Relationships xmlns="http://schemas.openxmlformats.org/package/2006/relationships"><Relationship Id="rId26" Type="http://schemas.openxmlformats.org/officeDocument/2006/relationships/tags" Target="../tags/tag39.xml"/><Relationship Id="rId21" Type="http://schemas.openxmlformats.org/officeDocument/2006/relationships/tags" Target="../tags/tag34.xml"/><Relationship Id="rId34" Type="http://schemas.openxmlformats.org/officeDocument/2006/relationships/tags" Target="../tags/tag47.xml"/><Relationship Id="rId42" Type="http://schemas.openxmlformats.org/officeDocument/2006/relationships/tags" Target="../tags/tag55.xml"/><Relationship Id="rId47" Type="http://schemas.openxmlformats.org/officeDocument/2006/relationships/tags" Target="../tags/tag60.xml"/><Relationship Id="rId50" Type="http://schemas.openxmlformats.org/officeDocument/2006/relationships/tags" Target="../tags/tag63.xml"/><Relationship Id="rId55" Type="http://schemas.openxmlformats.org/officeDocument/2006/relationships/tags" Target="../tags/tag68.xml"/><Relationship Id="rId63" Type="http://schemas.openxmlformats.org/officeDocument/2006/relationships/tags" Target="../tags/tag76.xml"/><Relationship Id="rId68" Type="http://schemas.openxmlformats.org/officeDocument/2006/relationships/tags" Target="../tags/tag81.xml"/><Relationship Id="rId76" Type="http://schemas.openxmlformats.org/officeDocument/2006/relationships/tags" Target="../tags/tag89.xml"/><Relationship Id="rId84" Type="http://schemas.openxmlformats.org/officeDocument/2006/relationships/tags" Target="../tags/tag97.xml"/><Relationship Id="rId89" Type="http://schemas.openxmlformats.org/officeDocument/2006/relationships/tags" Target="../tags/tag102.xml"/><Relationship Id="rId97" Type="http://schemas.openxmlformats.org/officeDocument/2006/relationships/image" Target="../media/image67.png"/><Relationship Id="rId7" Type="http://schemas.openxmlformats.org/officeDocument/2006/relationships/tags" Target="../tags/tag20.xml"/><Relationship Id="rId71" Type="http://schemas.openxmlformats.org/officeDocument/2006/relationships/tags" Target="../tags/tag84.xml"/><Relationship Id="rId92" Type="http://schemas.openxmlformats.org/officeDocument/2006/relationships/tags" Target="../tags/tag105.xml"/><Relationship Id="rId2" Type="http://schemas.openxmlformats.org/officeDocument/2006/relationships/tags" Target="../tags/tag15.xml"/><Relationship Id="rId16" Type="http://schemas.openxmlformats.org/officeDocument/2006/relationships/tags" Target="../tags/tag29.xml"/><Relationship Id="rId29" Type="http://schemas.openxmlformats.org/officeDocument/2006/relationships/tags" Target="../tags/tag42.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tags" Target="../tags/tag53.xml"/><Relationship Id="rId45" Type="http://schemas.openxmlformats.org/officeDocument/2006/relationships/tags" Target="../tags/tag58.xml"/><Relationship Id="rId53" Type="http://schemas.openxmlformats.org/officeDocument/2006/relationships/tags" Target="../tags/tag66.xml"/><Relationship Id="rId58" Type="http://schemas.openxmlformats.org/officeDocument/2006/relationships/tags" Target="../tags/tag71.xml"/><Relationship Id="rId66" Type="http://schemas.openxmlformats.org/officeDocument/2006/relationships/tags" Target="../tags/tag79.xml"/><Relationship Id="rId74" Type="http://schemas.openxmlformats.org/officeDocument/2006/relationships/tags" Target="../tags/tag87.xml"/><Relationship Id="rId79" Type="http://schemas.openxmlformats.org/officeDocument/2006/relationships/tags" Target="../tags/tag92.xml"/><Relationship Id="rId87" Type="http://schemas.openxmlformats.org/officeDocument/2006/relationships/tags" Target="../tags/tag100.xml"/><Relationship Id="rId5" Type="http://schemas.openxmlformats.org/officeDocument/2006/relationships/tags" Target="../tags/tag18.xml"/><Relationship Id="rId61" Type="http://schemas.openxmlformats.org/officeDocument/2006/relationships/tags" Target="../tags/tag74.xml"/><Relationship Id="rId82" Type="http://schemas.openxmlformats.org/officeDocument/2006/relationships/tags" Target="../tags/tag95.xml"/><Relationship Id="rId90" Type="http://schemas.openxmlformats.org/officeDocument/2006/relationships/tags" Target="../tags/tag103.xml"/><Relationship Id="rId95" Type="http://schemas.openxmlformats.org/officeDocument/2006/relationships/oleObject" Target="../embeddings/oleObject11.bin"/><Relationship Id="rId19" Type="http://schemas.openxmlformats.org/officeDocument/2006/relationships/tags" Target="../tags/tag3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 Id="rId43" Type="http://schemas.openxmlformats.org/officeDocument/2006/relationships/tags" Target="../tags/tag56.xml"/><Relationship Id="rId48" Type="http://schemas.openxmlformats.org/officeDocument/2006/relationships/tags" Target="../tags/tag61.xml"/><Relationship Id="rId56" Type="http://schemas.openxmlformats.org/officeDocument/2006/relationships/tags" Target="../tags/tag69.xml"/><Relationship Id="rId64" Type="http://schemas.openxmlformats.org/officeDocument/2006/relationships/tags" Target="../tags/tag77.xml"/><Relationship Id="rId69" Type="http://schemas.openxmlformats.org/officeDocument/2006/relationships/tags" Target="../tags/tag82.xml"/><Relationship Id="rId77" Type="http://schemas.openxmlformats.org/officeDocument/2006/relationships/tags" Target="../tags/tag90.xml"/><Relationship Id="rId8" Type="http://schemas.openxmlformats.org/officeDocument/2006/relationships/tags" Target="../tags/tag21.xml"/><Relationship Id="rId51" Type="http://schemas.openxmlformats.org/officeDocument/2006/relationships/tags" Target="../tags/tag64.xml"/><Relationship Id="rId72" Type="http://schemas.openxmlformats.org/officeDocument/2006/relationships/tags" Target="../tags/tag85.xml"/><Relationship Id="rId80" Type="http://schemas.openxmlformats.org/officeDocument/2006/relationships/tags" Target="../tags/tag93.xml"/><Relationship Id="rId85" Type="http://schemas.openxmlformats.org/officeDocument/2006/relationships/tags" Target="../tags/tag98.xml"/><Relationship Id="rId93" Type="http://schemas.openxmlformats.org/officeDocument/2006/relationships/slideLayout" Target="../slideLayouts/slideLayout7.xml"/><Relationship Id="rId3" Type="http://schemas.openxmlformats.org/officeDocument/2006/relationships/tags" Target="../tags/tag16.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46" Type="http://schemas.openxmlformats.org/officeDocument/2006/relationships/tags" Target="../tags/tag59.xml"/><Relationship Id="rId59" Type="http://schemas.openxmlformats.org/officeDocument/2006/relationships/tags" Target="../tags/tag72.xml"/><Relationship Id="rId67" Type="http://schemas.openxmlformats.org/officeDocument/2006/relationships/tags" Target="../tags/tag80.xml"/><Relationship Id="rId20" Type="http://schemas.openxmlformats.org/officeDocument/2006/relationships/tags" Target="../tags/tag33.xml"/><Relationship Id="rId41" Type="http://schemas.openxmlformats.org/officeDocument/2006/relationships/tags" Target="../tags/tag54.xml"/><Relationship Id="rId54" Type="http://schemas.openxmlformats.org/officeDocument/2006/relationships/tags" Target="../tags/tag67.xml"/><Relationship Id="rId62" Type="http://schemas.openxmlformats.org/officeDocument/2006/relationships/tags" Target="../tags/tag75.xml"/><Relationship Id="rId70" Type="http://schemas.openxmlformats.org/officeDocument/2006/relationships/tags" Target="../tags/tag83.xml"/><Relationship Id="rId75" Type="http://schemas.openxmlformats.org/officeDocument/2006/relationships/tags" Target="../tags/tag88.xml"/><Relationship Id="rId83" Type="http://schemas.openxmlformats.org/officeDocument/2006/relationships/tags" Target="../tags/tag96.xml"/><Relationship Id="rId88" Type="http://schemas.openxmlformats.org/officeDocument/2006/relationships/tags" Target="../tags/tag101.xml"/><Relationship Id="rId91" Type="http://schemas.openxmlformats.org/officeDocument/2006/relationships/tags" Target="../tags/tag104.xml"/><Relationship Id="rId96" Type="http://schemas.openxmlformats.org/officeDocument/2006/relationships/image" Target="../media/image66.emf"/><Relationship Id="rId1" Type="http://schemas.openxmlformats.org/officeDocument/2006/relationships/vmlDrawing" Target="../drawings/vmlDrawing5.vml"/><Relationship Id="rId6" Type="http://schemas.openxmlformats.org/officeDocument/2006/relationships/tags" Target="../tags/tag19.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49" Type="http://schemas.openxmlformats.org/officeDocument/2006/relationships/tags" Target="../tags/tag62.xml"/><Relationship Id="rId57" Type="http://schemas.openxmlformats.org/officeDocument/2006/relationships/tags" Target="../tags/tag70.xml"/><Relationship Id="rId10" Type="http://schemas.openxmlformats.org/officeDocument/2006/relationships/tags" Target="../tags/tag23.xml"/><Relationship Id="rId31" Type="http://schemas.openxmlformats.org/officeDocument/2006/relationships/tags" Target="../tags/tag44.xml"/><Relationship Id="rId44" Type="http://schemas.openxmlformats.org/officeDocument/2006/relationships/tags" Target="../tags/tag57.xml"/><Relationship Id="rId52" Type="http://schemas.openxmlformats.org/officeDocument/2006/relationships/tags" Target="../tags/tag65.xml"/><Relationship Id="rId60" Type="http://schemas.openxmlformats.org/officeDocument/2006/relationships/tags" Target="../tags/tag73.xml"/><Relationship Id="rId65" Type="http://schemas.openxmlformats.org/officeDocument/2006/relationships/tags" Target="../tags/tag78.xml"/><Relationship Id="rId73" Type="http://schemas.openxmlformats.org/officeDocument/2006/relationships/tags" Target="../tags/tag86.xml"/><Relationship Id="rId78" Type="http://schemas.openxmlformats.org/officeDocument/2006/relationships/tags" Target="../tags/tag91.xml"/><Relationship Id="rId81" Type="http://schemas.openxmlformats.org/officeDocument/2006/relationships/tags" Target="../tags/tag94.xml"/><Relationship Id="rId86" Type="http://schemas.openxmlformats.org/officeDocument/2006/relationships/tags" Target="../tags/tag99.xml"/><Relationship Id="rId94" Type="http://schemas.openxmlformats.org/officeDocument/2006/relationships/notesSlide" Target="../notesSlides/notesSlide25.xml"/><Relationship Id="rId4" Type="http://schemas.openxmlformats.org/officeDocument/2006/relationships/tags" Target="../tags/tag17.xml"/><Relationship Id="rId9" Type="http://schemas.openxmlformats.org/officeDocument/2006/relationships/tags" Target="../tags/tag22.xml"/><Relationship Id="rId13" Type="http://schemas.openxmlformats.org/officeDocument/2006/relationships/tags" Target="../tags/tag26.xml"/><Relationship Id="rId18" Type="http://schemas.openxmlformats.org/officeDocument/2006/relationships/tags" Target="../tags/tag31.xml"/><Relationship Id="rId39" Type="http://schemas.openxmlformats.org/officeDocument/2006/relationships/tags" Target="../tags/tag52.xml"/></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8" Type="http://schemas.openxmlformats.org/officeDocument/2006/relationships/image" Target="../media/image73.jpeg"/><Relationship Id="rId3" Type="http://schemas.openxmlformats.org/officeDocument/2006/relationships/notesSlide" Target="../notesSlides/notesSlide27.xml"/><Relationship Id="rId7" Type="http://schemas.openxmlformats.org/officeDocument/2006/relationships/image" Target="../media/image72.jpeg"/><Relationship Id="rId2" Type="http://schemas.openxmlformats.org/officeDocument/2006/relationships/slideLayout" Target="../slideLayouts/slideLayout25.xml"/><Relationship Id="rId1" Type="http://schemas.openxmlformats.org/officeDocument/2006/relationships/vmlDrawing" Target="../drawings/vmlDrawing6.vml"/><Relationship Id="rId6" Type="http://schemas.openxmlformats.org/officeDocument/2006/relationships/image" Target="../media/image70.wmf"/><Relationship Id="rId5" Type="http://schemas.openxmlformats.org/officeDocument/2006/relationships/oleObject" Target="../embeddings/oleObject12.bin"/><Relationship Id="rId4" Type="http://schemas.openxmlformats.org/officeDocument/2006/relationships/image" Target="../media/image71.jpe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image" Target="../media/image75.png"/><Relationship Id="rId3" Type="http://schemas.openxmlformats.org/officeDocument/2006/relationships/tags" Target="../tags/tag108.xml"/><Relationship Id="rId21" Type="http://schemas.openxmlformats.org/officeDocument/2006/relationships/image" Target="../media/image78.png"/><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image" Target="../media/image74.png"/><Relationship Id="rId2" Type="http://schemas.openxmlformats.org/officeDocument/2006/relationships/tags" Target="../tags/tag107.xml"/><Relationship Id="rId16" Type="http://schemas.openxmlformats.org/officeDocument/2006/relationships/notesSlide" Target="../notesSlides/notesSlide29.xml"/><Relationship Id="rId20" Type="http://schemas.openxmlformats.org/officeDocument/2006/relationships/image" Target="../media/image77.png"/><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slideLayout" Target="../slideLayouts/slideLayout10.xml"/><Relationship Id="rId23" Type="http://schemas.openxmlformats.org/officeDocument/2006/relationships/image" Target="../media/image80.png"/><Relationship Id="rId10" Type="http://schemas.openxmlformats.org/officeDocument/2006/relationships/tags" Target="../tags/tag115.xml"/><Relationship Id="rId19" Type="http://schemas.openxmlformats.org/officeDocument/2006/relationships/image" Target="../media/image76.png"/><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image" Target="../media/image79.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120.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1.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openxmlformats.org/officeDocument/2006/relationships/image" Target="../media/image10.jpeg"/></Relationships>
</file>

<file path=ppt/slides/_rels/slide4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26.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3.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6.xml"/></Relationships>
</file>

<file path=ppt/slides/_rels/slide4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Layout" Target="../slideLayouts/slideLayout28.xml"/></Relationships>
</file>

<file path=ppt/slides/_rels/slide50.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3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0.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png"/></Relationships>
</file>

<file path=ppt/slides/_rels/slide58.xml.rels><?xml version="1.0" encoding="UTF-8" standalone="yes"?>
<Relationships xmlns="http://schemas.openxmlformats.org/package/2006/relationships"><Relationship Id="rId2" Type="http://schemas.openxmlformats.org/officeDocument/2006/relationships/hyperlink" Target="mailto:dhananjay.pandey@ind.tuv.com" TargetMode="External"/><Relationship Id="rId1" Type="http://schemas.openxmlformats.org/officeDocument/2006/relationships/slideLayout" Target="../slideLayouts/slideLayout30.xml"/></Relationships>
</file>

<file path=ppt/slides/_rels/slide59.xml.rels><?xml version="1.0" encoding="UTF-8" standalone="yes"?>
<Relationships xmlns="http://schemas.openxmlformats.org/package/2006/relationships"><Relationship Id="rId3" Type="http://schemas.openxmlformats.org/officeDocument/2006/relationships/hyperlink" Target="mailto:siddhartha.srivastava@ind.tuv.com"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notesSlide" Target="../notesSlides/notesSlide5.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slideLayout" Target="../slideLayouts/slideLayout29.xml"/><Relationship Id="rId1" Type="http://schemas.openxmlformats.org/officeDocument/2006/relationships/tags" Target="../tags/tag13.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6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8" Type="http://schemas.openxmlformats.org/officeDocument/2006/relationships/image" Target="../media/image25.wmf"/><Relationship Id="rId13" Type="http://schemas.openxmlformats.org/officeDocument/2006/relationships/oleObject" Target="../embeddings/oleObject9.bin"/><Relationship Id="rId18" Type="http://schemas.openxmlformats.org/officeDocument/2006/relationships/image" Target="../media/image31.png"/><Relationship Id="rId3" Type="http://schemas.openxmlformats.org/officeDocument/2006/relationships/oleObject" Target="../embeddings/oleObject4.bin"/><Relationship Id="rId7" Type="http://schemas.openxmlformats.org/officeDocument/2006/relationships/oleObject" Target="../embeddings/oleObject6.bin"/><Relationship Id="rId12" Type="http://schemas.openxmlformats.org/officeDocument/2006/relationships/image" Target="../media/image27.wmf"/><Relationship Id="rId17" Type="http://schemas.openxmlformats.org/officeDocument/2006/relationships/image" Target="../media/image30.png"/><Relationship Id="rId2" Type="http://schemas.openxmlformats.org/officeDocument/2006/relationships/slideLayout" Target="../slideLayouts/slideLayout29.xml"/><Relationship Id="rId16" Type="http://schemas.openxmlformats.org/officeDocument/2006/relationships/image" Target="../media/image29.wmf"/><Relationship Id="rId1" Type="http://schemas.openxmlformats.org/officeDocument/2006/relationships/vmlDrawing" Target="../drawings/vmlDrawing4.vml"/><Relationship Id="rId6" Type="http://schemas.openxmlformats.org/officeDocument/2006/relationships/image" Target="../media/image24.wmf"/><Relationship Id="rId11" Type="http://schemas.openxmlformats.org/officeDocument/2006/relationships/oleObject" Target="../embeddings/oleObject8.bin"/><Relationship Id="rId5" Type="http://schemas.openxmlformats.org/officeDocument/2006/relationships/oleObject" Target="../embeddings/oleObject5.bin"/><Relationship Id="rId15" Type="http://schemas.openxmlformats.org/officeDocument/2006/relationships/oleObject" Target="../embeddings/oleObject10.bin"/><Relationship Id="rId10" Type="http://schemas.openxmlformats.org/officeDocument/2006/relationships/image" Target="../media/image26.wmf"/><Relationship Id="rId19" Type="http://schemas.openxmlformats.org/officeDocument/2006/relationships/image" Target="../media/image32.png"/><Relationship Id="rId4" Type="http://schemas.openxmlformats.org/officeDocument/2006/relationships/image" Target="../media/image23.wmf"/><Relationship Id="rId9" Type="http://schemas.openxmlformats.org/officeDocument/2006/relationships/oleObject" Target="../embeddings/oleObject7.bin"/><Relationship Id="rId14" Type="http://schemas.openxmlformats.org/officeDocument/2006/relationships/image" Target="../media/image28.wmf"/></Relationships>
</file>

<file path=ppt/slides/_rels/slide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7"/>
          <p:cNvPicPr>
            <a:picLocks noGrp="1" noChangeAspect="1"/>
          </p:cNvPicPr>
          <p:nvPr/>
        </p:nvPicPr>
        <p:blipFill>
          <a:blip r:embed="rId3">
            <a:extLst>
              <a:ext uri="{28A0092B-C50C-407E-A947-70E740481C1C}">
                <a14:useLocalDpi xmlns:a14="http://schemas.microsoft.com/office/drawing/2010/main" val="0"/>
              </a:ext>
            </a:extLst>
          </a:blip>
          <a:stretch>
            <a:fillRect/>
          </a:stretch>
        </p:blipFill>
        <p:spPr bwMode="gray">
          <a:xfrm>
            <a:off x="0" y="0"/>
            <a:ext cx="12190413" cy="4896679"/>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pic>
      <p:sp>
        <p:nvSpPr>
          <p:cNvPr id="3" name="Title 12"/>
          <p:cNvSpPr>
            <a:spLocks noGrp="1"/>
          </p:cNvSpPr>
          <p:nvPr>
            <p:ph type="ctrTitle"/>
          </p:nvPr>
        </p:nvSpPr>
        <p:spPr>
          <a:xfrm>
            <a:off x="118376" y="5014014"/>
            <a:ext cx="10945520" cy="1080150"/>
          </a:xfrm>
        </p:spPr>
        <p:txBody>
          <a:bodyPr/>
          <a:lstStyle/>
          <a:p>
            <a:r>
              <a:rPr lang="en-GB" b="1" dirty="0">
                <a:solidFill>
                  <a:schemeClr val="dk2"/>
                </a:solidFill>
              </a:rPr>
              <a:t>Compliance &amp; Testing </a:t>
            </a:r>
            <a:r>
              <a:rPr lang="en-GB" b="1" dirty="0" smtClean="0">
                <a:solidFill>
                  <a:schemeClr val="dk2"/>
                </a:solidFill>
              </a:rPr>
              <a:t>Services</a:t>
            </a:r>
            <a:br>
              <a:rPr lang="en-GB" b="1" dirty="0" smtClean="0">
                <a:solidFill>
                  <a:schemeClr val="dk2"/>
                </a:solidFill>
              </a:rPr>
            </a:br>
            <a:r>
              <a:rPr lang="en-GB" sz="2400" b="1" dirty="0" smtClean="0">
                <a:solidFill>
                  <a:schemeClr val="dk2"/>
                </a:solidFill>
              </a:rPr>
              <a:t>Leather, Leather Products &amp; footwear Supply chain</a:t>
            </a:r>
            <a:r>
              <a:rPr lang="en-GB" sz="2400" b="1" dirty="0" smtClean="0">
                <a:solidFill>
                  <a:schemeClr val="dk2"/>
                </a:solidFill>
              </a:rPr>
              <a:t/>
            </a:r>
            <a:br>
              <a:rPr lang="en-GB" sz="2400" b="1" dirty="0" smtClean="0">
                <a:solidFill>
                  <a:schemeClr val="dk2"/>
                </a:solidFill>
              </a:rPr>
            </a:br>
            <a:r>
              <a:rPr lang="en-GB" sz="2400" b="1" dirty="0" smtClean="0">
                <a:solidFill>
                  <a:schemeClr val="dk2"/>
                </a:solidFill>
              </a:rPr>
              <a:t>  </a:t>
            </a:r>
            <a:r>
              <a:rPr lang="en-GB" b="1" dirty="0" smtClean="0">
                <a:solidFill>
                  <a:schemeClr val="dk2"/>
                </a:solidFill>
              </a:rPr>
              <a:t>26</a:t>
            </a:r>
            <a:r>
              <a:rPr lang="en-GB" b="1" baseline="30000" dirty="0" smtClean="0">
                <a:solidFill>
                  <a:schemeClr val="dk2"/>
                </a:solidFill>
              </a:rPr>
              <a:t>th</a:t>
            </a:r>
            <a:r>
              <a:rPr lang="en-GB" b="1" dirty="0" smtClean="0">
                <a:solidFill>
                  <a:schemeClr val="dk2"/>
                </a:solidFill>
              </a:rPr>
              <a:t>  </a:t>
            </a:r>
            <a:r>
              <a:rPr lang="en-GB" b="1" dirty="0" smtClean="0">
                <a:solidFill>
                  <a:schemeClr val="dk2"/>
                </a:solidFill>
              </a:rPr>
              <a:t>August </a:t>
            </a:r>
            <a:r>
              <a:rPr lang="en-GB" dirty="0" smtClean="0">
                <a:solidFill>
                  <a:schemeClr val="dk2"/>
                </a:solidFill>
              </a:rPr>
              <a:t>, </a:t>
            </a:r>
            <a:r>
              <a:rPr lang="en-GB" b="1" dirty="0" smtClean="0">
                <a:solidFill>
                  <a:schemeClr val="dk2"/>
                </a:solidFill>
              </a:rPr>
              <a:t>2021</a:t>
            </a:r>
            <a:endParaRPr lang="en-US" b="1" dirty="0">
              <a:solidFill>
                <a:schemeClr val="dk2"/>
              </a:solidFill>
            </a:endParaRPr>
          </a:p>
        </p:txBody>
      </p:sp>
    </p:spTree>
    <p:extLst>
      <p:ext uri="{BB962C8B-B14F-4D97-AF65-F5344CB8AC3E}">
        <p14:creationId xmlns:p14="http://schemas.microsoft.com/office/powerpoint/2010/main" val="16190201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3175" y="0"/>
            <a:ext cx="12193588" cy="3359457"/>
          </a:xfrm>
        </p:spPr>
      </p:pic>
      <p:sp>
        <p:nvSpPr>
          <p:cNvPr id="7" name="Title 6"/>
          <p:cNvSpPr>
            <a:spLocks noGrp="1"/>
          </p:cNvSpPr>
          <p:nvPr>
            <p:ph type="ctrTitle"/>
          </p:nvPr>
        </p:nvSpPr>
        <p:spPr>
          <a:xfrm>
            <a:off x="406416" y="3659345"/>
            <a:ext cx="11088687" cy="1247489"/>
          </a:xfrm>
        </p:spPr>
        <p:txBody>
          <a:bodyPr/>
          <a:lstStyle/>
          <a:p>
            <a:r>
              <a:rPr lang="en-US" sz="4200" b="1" dirty="0">
                <a:ln w="12700">
                  <a:solidFill>
                    <a:schemeClr val="bg1">
                      <a:lumMod val="95000"/>
                    </a:schemeClr>
                  </a:solidFill>
                </a:ln>
                <a:solidFill>
                  <a:srgbClr val="0071B9"/>
                </a:solidFill>
              </a:rPr>
              <a:t>Technical Training – EU </a:t>
            </a:r>
            <a:r>
              <a:rPr lang="en-US" sz="4200" b="1" dirty="0" smtClean="0">
                <a:ln w="12700">
                  <a:solidFill>
                    <a:schemeClr val="bg1">
                      <a:lumMod val="95000"/>
                    </a:schemeClr>
                  </a:solidFill>
                </a:ln>
                <a:solidFill>
                  <a:srgbClr val="0071B9"/>
                </a:solidFill>
              </a:rPr>
              <a:t>REACH</a:t>
            </a:r>
            <a:br>
              <a:rPr lang="en-US" sz="4200" b="1" dirty="0" smtClean="0">
                <a:ln w="12700">
                  <a:solidFill>
                    <a:schemeClr val="bg1">
                      <a:lumMod val="95000"/>
                    </a:schemeClr>
                  </a:solidFill>
                </a:ln>
                <a:solidFill>
                  <a:srgbClr val="0071B9"/>
                </a:solidFill>
              </a:rPr>
            </a:br>
            <a:r>
              <a:rPr lang="en-US" b="1" dirty="0" smtClean="0">
                <a:ln w="12700">
                  <a:solidFill>
                    <a:schemeClr val="bg1">
                      <a:lumMod val="95000"/>
                    </a:schemeClr>
                  </a:solidFill>
                </a:ln>
                <a:solidFill>
                  <a:srgbClr val="0071B9"/>
                </a:solidFill>
              </a:rPr>
              <a:t>Regulation </a:t>
            </a:r>
            <a:r>
              <a:rPr lang="en-US" b="1" dirty="0">
                <a:ln w="12700">
                  <a:solidFill>
                    <a:schemeClr val="bg1">
                      <a:lumMod val="95000"/>
                    </a:schemeClr>
                  </a:solidFill>
                </a:ln>
                <a:solidFill>
                  <a:srgbClr val="0071B9"/>
                </a:solidFill>
              </a:rPr>
              <a:t>(EC) No 1907/2006</a:t>
            </a:r>
          </a:p>
        </p:txBody>
      </p:sp>
      <p:grpSp>
        <p:nvGrpSpPr>
          <p:cNvPr id="8" name="Group 7">
            <a:extLst>
              <a:ext uri="{FF2B5EF4-FFF2-40B4-BE49-F238E27FC236}">
                <a16:creationId xmlns:a16="http://schemas.microsoft.com/office/drawing/2014/main" id="{CA12C4E7-F3DB-3848-AD02-793DDC649D85}"/>
              </a:ext>
            </a:extLst>
          </p:cNvPr>
          <p:cNvGrpSpPr/>
          <p:nvPr/>
        </p:nvGrpSpPr>
        <p:grpSpPr>
          <a:xfrm>
            <a:off x="321916" y="3659345"/>
            <a:ext cx="457140" cy="457140"/>
            <a:chOff x="6324600" y="4114799"/>
            <a:chExt cx="685800" cy="685800"/>
          </a:xfrm>
        </p:grpSpPr>
        <p:cxnSp>
          <p:nvCxnSpPr>
            <p:cNvPr id="9" name="Straight Connector 8">
              <a:extLst>
                <a:ext uri="{FF2B5EF4-FFF2-40B4-BE49-F238E27FC236}">
                  <a16:creationId xmlns:a16="http://schemas.microsoft.com/office/drawing/2014/main" id="{979FE5C7-9DA7-6E48-8054-6DD4E54CE025}"/>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5E7422F-A53E-294C-9DFC-FBFDC987B287}"/>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8EE939A6-7A5B-5A46-9FA4-585496E429E0}"/>
              </a:ext>
            </a:extLst>
          </p:cNvPr>
          <p:cNvGrpSpPr/>
          <p:nvPr/>
        </p:nvGrpSpPr>
        <p:grpSpPr>
          <a:xfrm rot="10800000">
            <a:off x="6122038" y="4437380"/>
            <a:ext cx="457140" cy="457140"/>
            <a:chOff x="6324600" y="4114799"/>
            <a:chExt cx="685800" cy="685800"/>
          </a:xfrm>
        </p:grpSpPr>
        <p:cxnSp>
          <p:nvCxnSpPr>
            <p:cNvPr id="13" name="Straight Connector 12">
              <a:extLst>
                <a:ext uri="{FF2B5EF4-FFF2-40B4-BE49-F238E27FC236}">
                  <a16:creationId xmlns:a16="http://schemas.microsoft.com/office/drawing/2014/main" id="{4AEC0260-616B-E54B-82FE-15A118660D8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C18E9C-2780-2F4C-82DA-1666B220D238}"/>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064586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16" y="405374"/>
            <a:ext cx="11233560" cy="432000"/>
          </a:xfrm>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406416" y="1370609"/>
            <a:ext cx="11088000" cy="4248000"/>
          </a:xfrm>
        </p:spPr>
        <p:txBody>
          <a:bodyPr/>
          <a:lstStyle/>
          <a:p>
            <a:r>
              <a:rPr lang="en-US" sz="1800" dirty="0" smtClean="0"/>
              <a:t>REACH (EC) 1907/2006 is the European Regulation on </a:t>
            </a:r>
            <a:r>
              <a:rPr lang="en-US" sz="1800" b="1" dirty="0" smtClean="0"/>
              <a:t>R</a:t>
            </a:r>
            <a:r>
              <a:rPr lang="en-US" sz="1800" dirty="0" smtClean="0"/>
              <a:t>egistration, </a:t>
            </a:r>
            <a:r>
              <a:rPr lang="en-US" sz="1800" b="1" dirty="0" smtClean="0"/>
              <a:t>E</a:t>
            </a:r>
            <a:r>
              <a:rPr lang="en-US" sz="1800" dirty="0" smtClean="0"/>
              <a:t>valuation, </a:t>
            </a:r>
            <a:r>
              <a:rPr lang="en-US" sz="1800" b="1" dirty="0" smtClean="0"/>
              <a:t>A</a:t>
            </a:r>
            <a:r>
              <a:rPr lang="en-US" sz="1800" dirty="0" smtClean="0"/>
              <a:t>uthorisation and Restriction of </a:t>
            </a:r>
            <a:r>
              <a:rPr lang="en-US" sz="1800" b="1" dirty="0" smtClean="0"/>
              <a:t>Ch</a:t>
            </a:r>
            <a:r>
              <a:rPr lang="en-US" sz="1800" dirty="0" smtClean="0"/>
              <a:t>emicals. </a:t>
            </a:r>
          </a:p>
          <a:p>
            <a:r>
              <a:rPr lang="en-US" sz="1800" dirty="0" smtClean="0"/>
              <a:t>It entered into force in 2007, replacing the former legislative framework for chemicals in the EU.</a:t>
            </a:r>
          </a:p>
          <a:p>
            <a:r>
              <a:rPr lang="en-US" sz="1800" b="1" dirty="0" smtClean="0"/>
              <a:t>Goals:</a:t>
            </a:r>
          </a:p>
          <a:p>
            <a:pPr marL="342900" indent="-342900">
              <a:buFont typeface="+mj-lt"/>
              <a:buAutoNum type="arabicPeriod"/>
            </a:pPr>
            <a:r>
              <a:rPr lang="en-US" sz="1800" dirty="0" smtClean="0"/>
              <a:t>ensure a high level of protection for human health and the environment through the better and earlier identification of the intrinsic properties of chemical substances. </a:t>
            </a:r>
          </a:p>
          <a:p>
            <a:pPr marL="342900" indent="-342900">
              <a:buFont typeface="+mj-lt"/>
              <a:buAutoNum type="arabicPeriod"/>
            </a:pPr>
            <a:r>
              <a:rPr lang="en-US" sz="1800" dirty="0" smtClean="0"/>
              <a:t>Regulation sets rules for the EU, ensuring free circulation of substances on the internal market and the enhancement of competitiveness and innovation</a:t>
            </a:r>
          </a:p>
          <a:p>
            <a:pPr marL="342900" indent="-342900">
              <a:buFont typeface="+mj-lt"/>
              <a:buAutoNum type="arabicPeriod"/>
            </a:pPr>
            <a:r>
              <a:rPr lang="en-US" sz="1800" dirty="0" smtClean="0"/>
              <a:t>promotion of alternative test methods</a:t>
            </a:r>
          </a:p>
          <a:p>
            <a:endParaRPr lang="en-US" sz="1800" dirty="0" smtClean="0"/>
          </a:p>
          <a:p>
            <a:r>
              <a:rPr lang="en-US" sz="1800" dirty="0" smtClean="0"/>
              <a:t>The </a:t>
            </a:r>
            <a:r>
              <a:rPr lang="en-US" sz="1800" b="1" dirty="0" smtClean="0"/>
              <a:t>European Commission</a:t>
            </a:r>
            <a:r>
              <a:rPr lang="en-US" sz="1800" dirty="0" smtClean="0"/>
              <a:t> plays a key role in implementing REACH legislation </a:t>
            </a:r>
          </a:p>
          <a:p>
            <a:r>
              <a:rPr lang="en-US" sz="1800" dirty="0" smtClean="0"/>
              <a:t>The Commission works closely with the </a:t>
            </a:r>
            <a:r>
              <a:rPr lang="en-US" sz="1800" b="1" dirty="0" smtClean="0"/>
              <a:t>European Chemicals Agency (ECHA)</a:t>
            </a:r>
            <a:r>
              <a:rPr lang="en-US" sz="1800" dirty="0" smtClean="0"/>
              <a:t> in the implementation of the REACH Regulation.</a:t>
            </a:r>
          </a:p>
          <a:p>
            <a:endParaRPr lang="en-US" sz="1800" dirty="0" smtClean="0"/>
          </a:p>
          <a:p>
            <a:endParaRPr lang="en-US" dirty="0" smtClean="0"/>
          </a:p>
          <a:p>
            <a:endParaRPr lang="en-US" dirty="0"/>
          </a:p>
        </p:txBody>
      </p:sp>
      <p:sp>
        <p:nvSpPr>
          <p:cNvPr id="7" name="Text Placeholder 6"/>
          <p:cNvSpPr>
            <a:spLocks noGrp="1"/>
          </p:cNvSpPr>
          <p:nvPr>
            <p:ph type="body" sz="quarter" idx="14"/>
          </p:nvPr>
        </p:nvSpPr>
        <p:spPr/>
        <p:txBody>
          <a:bodyPr/>
          <a:lstStyle/>
          <a:p>
            <a:r>
              <a:rPr lang="en-US" dirty="0" smtClean="0"/>
              <a:t>REACH - Introduction</a:t>
            </a:r>
            <a:endParaRPr lang="en-US" dirty="0"/>
          </a:p>
        </p:txBody>
      </p:sp>
    </p:spTree>
    <p:extLst>
      <p:ext uri="{BB962C8B-B14F-4D97-AF65-F5344CB8AC3E}">
        <p14:creationId xmlns:p14="http://schemas.microsoft.com/office/powerpoint/2010/main" val="31916845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r>
              <a:rPr lang="en-US" sz="1800" dirty="0" smtClean="0"/>
              <a:t>The Agency (“ECHA”) acts as the central point in the REACH system: </a:t>
            </a:r>
          </a:p>
          <a:p>
            <a:pPr marL="342900" indent="-342900">
              <a:buFont typeface="+mj-lt"/>
              <a:buAutoNum type="alphaLcParenR"/>
            </a:pPr>
            <a:r>
              <a:rPr lang="en-US" sz="1800" dirty="0" smtClean="0"/>
              <a:t>it manages the databases necessary to operate the system, </a:t>
            </a:r>
          </a:p>
          <a:p>
            <a:pPr marL="342900" indent="-342900">
              <a:buFont typeface="+mj-lt"/>
              <a:buAutoNum type="alphaLcParenR"/>
            </a:pPr>
            <a:r>
              <a:rPr lang="en-US" sz="1800" dirty="0" smtClean="0"/>
              <a:t>co-ordinates the in-depth evaluation of suspicious chemicals and </a:t>
            </a:r>
          </a:p>
          <a:p>
            <a:pPr marL="342900" indent="-342900">
              <a:buFont typeface="+mj-lt"/>
              <a:buAutoNum type="alphaLcParenR"/>
            </a:pPr>
            <a:r>
              <a:rPr lang="en-US" sz="1800" dirty="0" smtClean="0"/>
              <a:t>is building up a public database in which consumers and professionals can find hazard information.</a:t>
            </a:r>
          </a:p>
          <a:p>
            <a:endParaRPr lang="en-US" sz="1800" dirty="0" smtClean="0"/>
          </a:p>
          <a:p>
            <a:r>
              <a:rPr lang="en-US" sz="1800" dirty="0" smtClean="0"/>
              <a:t>REACH not only has an impact on </a:t>
            </a:r>
            <a:r>
              <a:rPr lang="en-US" sz="1800" b="1" dirty="0" smtClean="0"/>
              <a:t>chemical industry</a:t>
            </a:r>
            <a:r>
              <a:rPr lang="en-US" sz="1800" dirty="0" smtClean="0"/>
              <a:t>, it requires good communication along the </a:t>
            </a:r>
            <a:r>
              <a:rPr lang="en-US" sz="1800" b="1" dirty="0" smtClean="0"/>
              <a:t>supply chain</a:t>
            </a:r>
            <a:r>
              <a:rPr lang="en-US" sz="1800" dirty="0" smtClean="0"/>
              <a:t>.</a:t>
            </a:r>
          </a:p>
          <a:p>
            <a:r>
              <a:rPr lang="en-US" sz="1800" dirty="0" smtClean="0"/>
              <a:t>The Regulation also calls for the progressive substitution of the most dangerous chemicals (Substances of very high concern) when suitable alternatives have been identified.</a:t>
            </a:r>
          </a:p>
          <a:p>
            <a:endParaRPr lang="en-US" sz="1800" dirty="0" smtClean="0"/>
          </a:p>
          <a:p>
            <a:endParaRPr lang="en-US" sz="1800" dirty="0" smtClean="0"/>
          </a:p>
          <a:p>
            <a:endParaRPr lang="en-US" sz="1800" dirty="0" smtClean="0"/>
          </a:p>
          <a:p>
            <a:endParaRPr lang="en-US" dirty="0"/>
          </a:p>
        </p:txBody>
      </p:sp>
      <p:sp>
        <p:nvSpPr>
          <p:cNvPr id="7" name="Text Placeholder 6"/>
          <p:cNvSpPr>
            <a:spLocks noGrp="1"/>
          </p:cNvSpPr>
          <p:nvPr>
            <p:ph type="body" sz="quarter" idx="14"/>
          </p:nvPr>
        </p:nvSpPr>
        <p:spPr/>
        <p:txBody>
          <a:bodyPr/>
          <a:lstStyle/>
          <a:p>
            <a:r>
              <a:rPr lang="en-US" dirty="0" smtClean="0"/>
              <a:t>REACH - introduction</a:t>
            </a:r>
            <a:endParaRPr lang="en-US" dirty="0"/>
          </a:p>
        </p:txBody>
      </p:sp>
    </p:spTree>
    <p:extLst>
      <p:ext uri="{BB962C8B-B14F-4D97-AF65-F5344CB8AC3E}">
        <p14:creationId xmlns:p14="http://schemas.microsoft.com/office/powerpoint/2010/main" val="288258652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r>
              <a:rPr lang="en-US" sz="1800" dirty="0" smtClean="0"/>
              <a:t>REACH (EC) 1907/2006</a:t>
            </a:r>
          </a:p>
          <a:p>
            <a:r>
              <a:rPr lang="en-US" sz="1800" dirty="0" smtClean="0"/>
              <a:t>Before REACH was adopted a large number of substances have been manufactured and placed on the market in Europe without having sufficient information on the hazards that they pose to human health and the environment. It has been agreed to that there is a need to fill these information gaps to ensure that industry is able to assess hazards and risks of the substances, and to identify and implement the risk management measures to protect humans and the environment.</a:t>
            </a:r>
          </a:p>
          <a:p>
            <a:r>
              <a:rPr lang="en-US" sz="1800" b="1" dirty="0" smtClean="0"/>
              <a:t>No data, no market</a:t>
            </a:r>
          </a:p>
          <a:p>
            <a:endParaRPr lang="en-US" sz="1800" b="1" dirty="0" smtClean="0"/>
          </a:p>
          <a:p>
            <a:r>
              <a:rPr lang="en-US" sz="1800" b="1" dirty="0" smtClean="0"/>
              <a:t>Article 5: No data, no market</a:t>
            </a:r>
          </a:p>
          <a:p>
            <a:r>
              <a:rPr lang="en-US" sz="1800" dirty="0" smtClean="0"/>
              <a:t>Subject to Articles 6, 7, 21 and 23, substances on their own, in mixtures or in articles shall not be manufactured in the Community or placed on the market unless they have been registered in accordance with the relevant provisions of this title where this is required</a:t>
            </a:r>
          </a:p>
          <a:p>
            <a:endParaRPr lang="en-US" sz="1800" b="1" dirty="0" smtClean="0"/>
          </a:p>
          <a:p>
            <a:endParaRPr lang="en-US" sz="1600" dirty="0" smtClean="0"/>
          </a:p>
          <a:p>
            <a:endParaRPr lang="en-US" sz="1600" dirty="0" smtClean="0"/>
          </a:p>
          <a:p>
            <a:endParaRPr lang="en-US" dirty="0"/>
          </a:p>
        </p:txBody>
      </p:sp>
      <p:sp>
        <p:nvSpPr>
          <p:cNvPr id="7" name="Text Placeholder 6"/>
          <p:cNvSpPr>
            <a:spLocks noGrp="1"/>
          </p:cNvSpPr>
          <p:nvPr>
            <p:ph type="body" sz="quarter" idx="14"/>
          </p:nvPr>
        </p:nvSpPr>
        <p:spPr/>
        <p:txBody>
          <a:bodyPr/>
          <a:lstStyle/>
          <a:p>
            <a:r>
              <a:rPr lang="en-US" dirty="0" smtClean="0"/>
              <a:t>REACH - Introduction</a:t>
            </a:r>
            <a:endParaRPr lang="en-US" dirty="0"/>
          </a:p>
        </p:txBody>
      </p:sp>
    </p:spTree>
    <p:extLst>
      <p:ext uri="{BB962C8B-B14F-4D97-AF65-F5344CB8AC3E}">
        <p14:creationId xmlns:p14="http://schemas.microsoft.com/office/powerpoint/2010/main" val="10211852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chnical training – REACH Regulation</a:t>
            </a:r>
            <a:endParaRPr lang="en-GB" dirty="0"/>
          </a:p>
        </p:txBody>
      </p:sp>
      <p:sp>
        <p:nvSpPr>
          <p:cNvPr id="6" name="Content Placeholder 5"/>
          <p:cNvSpPr>
            <a:spLocks noGrp="1"/>
          </p:cNvSpPr>
          <p:nvPr>
            <p:ph sz="quarter" idx="13"/>
          </p:nvPr>
        </p:nvSpPr>
        <p:spPr/>
        <p:txBody>
          <a:bodyPr/>
          <a:lstStyle/>
          <a:p>
            <a:r>
              <a:rPr lang="en-US" sz="1800" dirty="0"/>
              <a:t>REACH shifts the responsibility from public authorities to industry with regards to </a:t>
            </a:r>
          </a:p>
          <a:p>
            <a:pPr marL="342900" indent="-342900">
              <a:buFont typeface="+mj-lt"/>
              <a:buAutoNum type="arabicPeriod"/>
            </a:pPr>
            <a:r>
              <a:rPr lang="en-US" sz="1800" dirty="0"/>
              <a:t>Assessing and managing the risks posed by chemicals and </a:t>
            </a:r>
          </a:p>
          <a:p>
            <a:pPr marL="342900" indent="-342900">
              <a:buFont typeface="+mj-lt"/>
              <a:buAutoNum type="arabicPeriod"/>
            </a:pPr>
            <a:r>
              <a:rPr lang="en-US" sz="1800" dirty="0"/>
              <a:t>Providing appropriate safety information for their users </a:t>
            </a:r>
          </a:p>
          <a:p>
            <a:endParaRPr lang="en-US" sz="1800" dirty="0"/>
          </a:p>
          <a:p>
            <a:pPr marL="285750" indent="-285750">
              <a:buFont typeface="Wingdings" panose="05000000000000000000" pitchFamily="2" charset="2"/>
              <a:buChar char="§"/>
            </a:pPr>
            <a:r>
              <a:rPr lang="en-US" sz="1800" dirty="0"/>
              <a:t>EU wants to know more about substances that are imported and manufactured in the EU</a:t>
            </a:r>
          </a:p>
          <a:p>
            <a:pPr marL="285750" indent="-285750">
              <a:buFont typeface="Wingdings" panose="05000000000000000000" pitchFamily="2" charset="2"/>
              <a:buChar char="§"/>
            </a:pPr>
            <a:r>
              <a:rPr lang="en-US" sz="1800" dirty="0"/>
              <a:t>Companies manufacturing and importing chemicals in the EU/EEA are responsible for the safe use of their products</a:t>
            </a:r>
          </a:p>
          <a:p>
            <a:pPr marL="285750" indent="-285750">
              <a:buFont typeface="Wingdings" panose="05000000000000000000" pitchFamily="2" charset="2"/>
              <a:buChar char="§"/>
            </a:pPr>
            <a:r>
              <a:rPr lang="en-US" sz="1800" dirty="0"/>
              <a:t>Manufacturers and importers are required to gather information (“technical dossier”) on the properties of their chemical substances</a:t>
            </a:r>
          </a:p>
          <a:p>
            <a:pPr marL="285750" indent="-285750">
              <a:buFont typeface="Wingdings" panose="05000000000000000000" pitchFamily="2" charset="2"/>
              <a:buChar char="§"/>
            </a:pPr>
            <a:r>
              <a:rPr lang="en-US" sz="1800" dirty="0" err="1"/>
              <a:t>Manufactuers</a:t>
            </a:r>
            <a:r>
              <a:rPr lang="en-US" sz="1800" dirty="0"/>
              <a:t> and importers need to register the information in a central database run by the European Chemicals Agency (ECHA) in Helsinki. </a:t>
            </a:r>
          </a:p>
          <a:p>
            <a:pPr marL="285750" indent="-285750">
              <a:buFont typeface="Wingdings" panose="05000000000000000000" pitchFamily="2" charset="2"/>
              <a:buChar char="§"/>
            </a:pPr>
            <a:r>
              <a:rPr lang="en-US" sz="1800" dirty="0"/>
              <a:t>The Agency acts as the central point in the REACH system</a:t>
            </a:r>
          </a:p>
          <a:p>
            <a:pPr marL="285750" indent="-285750">
              <a:buFont typeface="Wingdings" panose="05000000000000000000" pitchFamily="2" charset="2"/>
              <a:buChar char="§"/>
            </a:pPr>
            <a:r>
              <a:rPr lang="en-US" sz="1800" dirty="0"/>
              <a:t>Importer has to be located in the EU (or select “only representative” in the EU)</a:t>
            </a:r>
          </a:p>
          <a:p>
            <a:endParaRPr lang="en-GB" dirty="0"/>
          </a:p>
        </p:txBody>
      </p:sp>
      <p:sp>
        <p:nvSpPr>
          <p:cNvPr id="7" name="Text Placeholder 6"/>
          <p:cNvSpPr>
            <a:spLocks noGrp="1"/>
          </p:cNvSpPr>
          <p:nvPr>
            <p:ph type="body" sz="quarter" idx="14"/>
          </p:nvPr>
        </p:nvSpPr>
        <p:spPr/>
        <p:txBody>
          <a:bodyPr/>
          <a:lstStyle/>
          <a:p>
            <a:r>
              <a:rPr lang="en-US" dirty="0"/>
              <a:t>REACH - Introduction</a:t>
            </a:r>
          </a:p>
          <a:p>
            <a:endParaRPr lang="en-GB" dirty="0"/>
          </a:p>
        </p:txBody>
      </p:sp>
    </p:spTree>
    <p:extLst>
      <p:ext uri="{BB962C8B-B14F-4D97-AF65-F5344CB8AC3E}">
        <p14:creationId xmlns:p14="http://schemas.microsoft.com/office/powerpoint/2010/main" val="38889482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118376" y="1701799"/>
            <a:ext cx="11953660" cy="4248000"/>
          </a:xfrm>
        </p:spPr>
        <p:txBody>
          <a:bodyPr/>
          <a:lstStyle/>
          <a:p>
            <a:r>
              <a:rPr lang="en-US" sz="1800" b="1" dirty="0" smtClean="0"/>
              <a:t>No data, no market – Article 5 of REACH Regulation</a:t>
            </a:r>
          </a:p>
          <a:p>
            <a:r>
              <a:rPr lang="en-US" sz="1800" dirty="0" smtClean="0"/>
              <a:t>Companies, importers and manufacturer must register chemicals with the ECHA (ECHA will put it into a central database) when substance is manufactured or imported in quantities of 1 ton per year ("</a:t>
            </a:r>
            <a:r>
              <a:rPr lang="en-US" sz="1800" b="1" dirty="0" smtClean="0"/>
              <a:t>No data, no market</a:t>
            </a:r>
            <a:r>
              <a:rPr lang="en-US" sz="1800" dirty="0" smtClean="0"/>
              <a:t>").</a:t>
            </a:r>
            <a:br>
              <a:rPr lang="en-US" sz="1800" dirty="0" smtClean="0"/>
            </a:br>
            <a:r>
              <a:rPr lang="en-US" sz="1800" dirty="0" smtClean="0"/>
              <a:t/>
            </a:r>
            <a:br>
              <a:rPr lang="en-US" sz="1800" dirty="0" smtClean="0"/>
            </a:br>
            <a:r>
              <a:rPr lang="en-US" sz="1800" dirty="0" smtClean="0"/>
              <a:t>This requirement is applicable to substances and to the mixtures containing them. Manufacturers and importers must collect and provide information related to </a:t>
            </a:r>
            <a:br>
              <a:rPr lang="en-US" sz="1800" dirty="0" smtClean="0"/>
            </a:br>
            <a:r>
              <a:rPr lang="en-US" sz="1800" dirty="0" smtClean="0"/>
              <a:t> - the identity of the substance,</a:t>
            </a:r>
            <a:br>
              <a:rPr lang="en-US" sz="1800" dirty="0" smtClean="0"/>
            </a:br>
            <a:r>
              <a:rPr lang="en-US" sz="1800" dirty="0" smtClean="0"/>
              <a:t> - its </a:t>
            </a:r>
            <a:r>
              <a:rPr lang="en-US" sz="1800" dirty="0" err="1" smtClean="0"/>
              <a:t>physico</a:t>
            </a:r>
            <a:r>
              <a:rPr lang="en-US" sz="1800" dirty="0" smtClean="0"/>
              <a:t>-chemical properties,</a:t>
            </a:r>
            <a:br>
              <a:rPr lang="en-US" sz="1800" dirty="0" smtClean="0"/>
            </a:br>
            <a:r>
              <a:rPr lang="en-US" sz="1800" dirty="0" smtClean="0"/>
              <a:t>-- its toxicity,</a:t>
            </a:r>
            <a:br>
              <a:rPr lang="en-US" sz="1800" dirty="0" smtClean="0"/>
            </a:br>
            <a:r>
              <a:rPr lang="en-US" sz="1800" dirty="0" smtClean="0"/>
              <a:t> - its </a:t>
            </a:r>
            <a:r>
              <a:rPr lang="en-US" sz="1800" dirty="0" err="1" smtClean="0"/>
              <a:t>ecotoxicity</a:t>
            </a:r>
            <a:r>
              <a:rPr lang="en-US" sz="1800" dirty="0" smtClean="0"/>
              <a:t> (i.e. its effect on the ecosystem)</a:t>
            </a:r>
            <a:br>
              <a:rPr lang="en-US" sz="1800" dirty="0" smtClean="0"/>
            </a:br>
            <a:r>
              <a:rPr lang="en-US" sz="1800" dirty="0" smtClean="0"/>
              <a:t> - its environmental characteristics (degradation etc.)</a:t>
            </a:r>
            <a:br>
              <a:rPr lang="en-US" sz="1800" dirty="0" smtClean="0"/>
            </a:br>
            <a:r>
              <a:rPr lang="en-US" sz="1800" dirty="0" smtClean="0"/>
              <a:t> - its use and its production.</a:t>
            </a:r>
          </a:p>
          <a:p>
            <a:endParaRPr lang="en-US" sz="1800" dirty="0" smtClean="0"/>
          </a:p>
          <a:p>
            <a:endParaRPr lang="en-US" dirty="0"/>
          </a:p>
        </p:txBody>
      </p:sp>
      <p:sp>
        <p:nvSpPr>
          <p:cNvPr id="7" name="Text Placeholder 6"/>
          <p:cNvSpPr>
            <a:spLocks noGrp="1"/>
          </p:cNvSpPr>
          <p:nvPr>
            <p:ph type="body" sz="quarter" idx="14"/>
          </p:nvPr>
        </p:nvSpPr>
        <p:spPr/>
        <p:txBody>
          <a:bodyPr/>
          <a:lstStyle/>
          <a:p>
            <a:r>
              <a:rPr lang="en-US" dirty="0" smtClean="0"/>
              <a:t>REACH Introduction – No data, no market</a:t>
            </a:r>
            <a:endParaRPr lang="en-US" dirty="0"/>
          </a:p>
        </p:txBody>
      </p:sp>
    </p:spTree>
    <p:extLst>
      <p:ext uri="{BB962C8B-B14F-4D97-AF65-F5344CB8AC3E}">
        <p14:creationId xmlns:p14="http://schemas.microsoft.com/office/powerpoint/2010/main" val="26959555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550800" y="1701799"/>
            <a:ext cx="6696566" cy="4248000"/>
          </a:xfrm>
        </p:spPr>
        <p:txBody>
          <a:bodyPr/>
          <a:lstStyle/>
          <a:p>
            <a:endParaRPr lang="en-US" dirty="0" smtClean="0">
              <a:solidFill>
                <a:schemeClr val="accent2"/>
              </a:solidFill>
              <a:latin typeface="Arial" panose="020B0604020202020204" pitchFamily="34" charset="0"/>
              <a:ea typeface="DengXian"/>
            </a:endParaRPr>
          </a:p>
          <a:p>
            <a:pPr marL="342900" indent="-342900">
              <a:buFont typeface="+mj-lt"/>
              <a:buAutoNum type="arabicPeriod"/>
            </a:pPr>
            <a:r>
              <a:rPr lang="en-US" sz="1800" b="1" dirty="0" smtClean="0">
                <a:latin typeface="Arial" panose="020B0604020202020204" pitchFamily="34" charset="0"/>
                <a:ea typeface="DengXian"/>
              </a:rPr>
              <a:t>Article</a:t>
            </a:r>
            <a:r>
              <a:rPr lang="en-US" sz="1800" dirty="0" smtClean="0">
                <a:latin typeface="Arial" panose="020B0604020202020204" pitchFamily="34" charset="0"/>
                <a:ea typeface="DengXian"/>
              </a:rPr>
              <a:t>:</a:t>
            </a:r>
            <a:br>
              <a:rPr lang="en-US" sz="1800" dirty="0" smtClean="0">
                <a:latin typeface="Arial" panose="020B0604020202020204" pitchFamily="34" charset="0"/>
                <a:ea typeface="DengXian"/>
              </a:rPr>
            </a:br>
            <a:r>
              <a:rPr lang="en-US" sz="1800" dirty="0" smtClean="0">
                <a:latin typeface="Arial" panose="020B0604020202020204" pitchFamily="34" charset="0"/>
                <a:ea typeface="DengXian"/>
              </a:rPr>
              <a:t>An object which during production is given a special shape, surface or design which determines its function to a greater degree than does its chemical composition.</a:t>
            </a:r>
            <a:br>
              <a:rPr lang="en-US" sz="1800" dirty="0" smtClean="0">
                <a:latin typeface="Arial" panose="020B0604020202020204" pitchFamily="34" charset="0"/>
                <a:ea typeface="DengXian"/>
              </a:rPr>
            </a:br>
            <a:r>
              <a:rPr lang="en-US" sz="1800" dirty="0" smtClean="0">
                <a:latin typeface="Arial" panose="020B0604020202020204" pitchFamily="34" charset="0"/>
                <a:ea typeface="DengXian"/>
              </a:rPr>
              <a:t>Example: Cup is used for drink liquids, regardless of material used. wheel for remote controlled car has to be round</a:t>
            </a:r>
          </a:p>
          <a:p>
            <a:pPr marL="342900" indent="-342900">
              <a:buFont typeface="+mj-lt"/>
              <a:buAutoNum type="arabicPeriod"/>
            </a:pPr>
            <a:r>
              <a:rPr lang="en-US" sz="1800" b="1" dirty="0" smtClean="0">
                <a:latin typeface="Arial" panose="020B0604020202020204" pitchFamily="34" charset="0"/>
                <a:ea typeface="DengXian"/>
              </a:rPr>
              <a:t>Substance </a:t>
            </a:r>
            <a:endParaRPr lang="en-US" sz="1800" dirty="0" smtClean="0">
              <a:latin typeface="Arial" panose="020B0604020202020204" pitchFamily="34" charset="0"/>
              <a:ea typeface="DengXian"/>
            </a:endParaRPr>
          </a:p>
          <a:p>
            <a:pPr marL="342900" indent="-342900">
              <a:buFont typeface="+mj-lt"/>
              <a:buAutoNum type="arabicPeriod"/>
            </a:pPr>
            <a:r>
              <a:rPr lang="en-US" sz="1800" b="1" dirty="0" smtClean="0">
                <a:latin typeface="Arial" panose="020B0604020202020204" pitchFamily="34" charset="0"/>
                <a:ea typeface="DengXian"/>
              </a:rPr>
              <a:t>Mixture</a:t>
            </a:r>
            <a:endParaRPr lang="en-US" sz="1800" dirty="0" smtClean="0">
              <a:latin typeface="Arial" panose="020B0604020202020204" pitchFamily="34" charset="0"/>
              <a:ea typeface="DengXian"/>
            </a:endParaRPr>
          </a:p>
          <a:p>
            <a:pPr lvl="1" indent="0">
              <a:buNone/>
            </a:pPr>
            <a:endParaRPr lang="en-US" sz="1600" dirty="0" smtClean="0">
              <a:latin typeface="Arial" panose="020B0604020202020204" pitchFamily="34" charset="0"/>
              <a:ea typeface="DengXian"/>
            </a:endParaRPr>
          </a:p>
          <a:p>
            <a:pPr marL="342900" indent="-342900">
              <a:buFont typeface="+mj-lt"/>
              <a:buAutoNum type="arabicPeriod"/>
            </a:pPr>
            <a:endParaRPr lang="en-US" sz="1600" dirty="0" smtClean="0">
              <a:latin typeface="Arial" panose="020B0604020202020204" pitchFamily="34" charset="0"/>
              <a:ea typeface="DengXian"/>
            </a:endParaRPr>
          </a:p>
          <a:p>
            <a:pPr marL="342900" indent="-342900">
              <a:buFont typeface="+mj-lt"/>
              <a:buAutoNum type="arabicPeriod"/>
            </a:pPr>
            <a:endParaRPr lang="en-US" dirty="0" smtClean="0"/>
          </a:p>
          <a:p>
            <a:pPr marL="342900" indent="-342900">
              <a:buFont typeface="+mj-lt"/>
              <a:buAutoNum type="arabicPeriod"/>
            </a:pPr>
            <a:endParaRPr lang="en-US" dirty="0"/>
          </a:p>
        </p:txBody>
      </p:sp>
      <p:sp>
        <p:nvSpPr>
          <p:cNvPr id="7" name="Text Placeholder 6"/>
          <p:cNvSpPr>
            <a:spLocks noGrp="1"/>
          </p:cNvSpPr>
          <p:nvPr>
            <p:ph type="body" sz="quarter" idx="14"/>
          </p:nvPr>
        </p:nvSpPr>
        <p:spPr/>
        <p:txBody>
          <a:bodyPr/>
          <a:lstStyle/>
          <a:p>
            <a:r>
              <a:rPr lang="en-US" dirty="0" smtClean="0"/>
              <a:t>What is REACH – terms and definition</a:t>
            </a:r>
            <a:endParaRPr lang="en-US" dirty="0"/>
          </a:p>
        </p:txBody>
      </p:sp>
      <p:pic>
        <p:nvPicPr>
          <p:cNvPr id="11266" name="Picture 2" descr="image00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7366" y="189344"/>
            <a:ext cx="4943047" cy="5760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3" descr="image00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3212312" y="2695668"/>
            <a:ext cx="2999333" cy="504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60129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endParaRPr lang="en-US" dirty="0" smtClean="0">
              <a:solidFill>
                <a:schemeClr val="accent2"/>
              </a:solidFill>
              <a:latin typeface="Arial" panose="020B0604020202020204" pitchFamily="34" charset="0"/>
              <a:ea typeface="DengXian"/>
            </a:endParaRPr>
          </a:p>
          <a:p>
            <a:pPr marL="342900" indent="-342900">
              <a:buFont typeface="+mj-lt"/>
              <a:buAutoNum type="arabicPeriod"/>
            </a:pPr>
            <a:r>
              <a:rPr lang="en-US" sz="1800" b="1" dirty="0" smtClean="0">
                <a:latin typeface="Arial" panose="020B0604020202020204" pitchFamily="34" charset="0"/>
                <a:ea typeface="DengXian"/>
              </a:rPr>
              <a:t>Article</a:t>
            </a:r>
            <a:r>
              <a:rPr lang="en-US" sz="1800" dirty="0" smtClean="0">
                <a:latin typeface="Arial" panose="020B0604020202020204" pitchFamily="34" charset="0"/>
                <a:ea typeface="DengXian"/>
              </a:rPr>
              <a:t>:</a:t>
            </a:r>
          </a:p>
          <a:p>
            <a:pPr marL="342900" indent="-342900">
              <a:buFont typeface="+mj-lt"/>
              <a:buAutoNum type="arabicPeriod"/>
            </a:pPr>
            <a:r>
              <a:rPr lang="en-US" sz="1800" b="1" dirty="0" smtClean="0">
                <a:latin typeface="Arial" panose="020B0604020202020204" pitchFamily="34" charset="0"/>
                <a:ea typeface="DengXian"/>
              </a:rPr>
              <a:t>Substance</a:t>
            </a:r>
            <a:r>
              <a:rPr lang="en-US" sz="1800" dirty="0" smtClean="0">
                <a:latin typeface="Arial" panose="020B0604020202020204" pitchFamily="34" charset="0"/>
                <a:ea typeface="DengXian"/>
              </a:rPr>
              <a:t>:</a:t>
            </a:r>
            <a:br>
              <a:rPr lang="en-US" sz="1800" dirty="0" smtClean="0">
                <a:latin typeface="Arial" panose="020B0604020202020204" pitchFamily="34" charset="0"/>
                <a:ea typeface="DengXian"/>
              </a:rPr>
            </a:br>
            <a:r>
              <a:rPr lang="en-US" sz="1800" dirty="0" smtClean="0">
                <a:latin typeface="Arial" panose="020B0604020202020204" pitchFamily="34" charset="0"/>
                <a:ea typeface="DengXian"/>
              </a:rPr>
              <a:t>A chemical element and its compounds in the natural state or obtained by any manufacturing process, Examples: metals (copper), dyes (azo dye), solvents (methanol)</a:t>
            </a:r>
          </a:p>
          <a:p>
            <a:pPr marL="342900" indent="-342900">
              <a:buFont typeface="+mj-lt"/>
              <a:buAutoNum type="arabicPeriod"/>
            </a:pPr>
            <a:r>
              <a:rPr lang="en-US" sz="1800" b="1" dirty="0" smtClean="0">
                <a:latin typeface="Arial" panose="020B0604020202020204" pitchFamily="34" charset="0"/>
                <a:ea typeface="DengXian"/>
              </a:rPr>
              <a:t>Mixture</a:t>
            </a:r>
            <a:endParaRPr lang="en-US" sz="1800" dirty="0" smtClean="0">
              <a:latin typeface="Arial" panose="020B0604020202020204" pitchFamily="34" charset="0"/>
              <a:ea typeface="DengXian"/>
            </a:endParaRPr>
          </a:p>
          <a:p>
            <a:pPr marL="342900" indent="-342900">
              <a:buFont typeface="+mj-lt"/>
              <a:buAutoNum type="arabicPeriod"/>
            </a:pPr>
            <a:endParaRPr lang="en-US" sz="1800" dirty="0" smtClean="0">
              <a:latin typeface="Arial" panose="020B0604020202020204" pitchFamily="34" charset="0"/>
              <a:ea typeface="DengXian"/>
            </a:endParaRPr>
          </a:p>
          <a:p>
            <a:pPr marL="342900" indent="-342900">
              <a:buFont typeface="+mj-lt"/>
              <a:buAutoNum type="arabicPeriod"/>
            </a:pPr>
            <a:endParaRPr lang="en-US" dirty="0" smtClean="0"/>
          </a:p>
          <a:p>
            <a:pPr marL="342900" indent="-342900">
              <a:buFont typeface="+mj-lt"/>
              <a:buAutoNum type="arabicPeriod"/>
            </a:pPr>
            <a:endParaRPr lang="en-US" dirty="0"/>
          </a:p>
        </p:txBody>
      </p:sp>
      <p:sp>
        <p:nvSpPr>
          <p:cNvPr id="7" name="Text Placeholder 6"/>
          <p:cNvSpPr>
            <a:spLocks noGrp="1"/>
          </p:cNvSpPr>
          <p:nvPr>
            <p:ph type="body" sz="quarter" idx="14"/>
          </p:nvPr>
        </p:nvSpPr>
        <p:spPr/>
        <p:txBody>
          <a:bodyPr/>
          <a:lstStyle/>
          <a:p>
            <a:r>
              <a:rPr lang="en-US" dirty="0" smtClean="0"/>
              <a:t>What is REACH – terms and definition</a:t>
            </a:r>
            <a:endParaRPr lang="en-US"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775" y="3688070"/>
            <a:ext cx="2515880" cy="2003798"/>
          </a:xfrm>
          <a:prstGeom prst="rect">
            <a:avLst/>
          </a:prstGeom>
        </p:spPr>
      </p:pic>
      <p:sp>
        <p:nvSpPr>
          <p:cNvPr id="11" name="AutoShape 2" descr="Image result for methanol"/>
          <p:cNvSpPr>
            <a:spLocks noChangeAspect="1" noChangeArrowheads="1"/>
          </p:cNvSpPr>
          <p:nvPr/>
        </p:nvSpPr>
        <p:spPr bwMode="auto">
          <a:xfrm>
            <a:off x="155575" y="-966788"/>
            <a:ext cx="1676400" cy="20193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52630" y="3664224"/>
            <a:ext cx="1584220" cy="2376330"/>
          </a:xfrm>
          <a:prstGeom prst="rect">
            <a:avLst/>
          </a:prstGeom>
        </p:spPr>
      </p:pic>
      <p:pic>
        <p:nvPicPr>
          <p:cNvPr id="4" name="Picture 3"/>
          <p:cNvPicPr>
            <a:picLocks noChangeAspect="1"/>
          </p:cNvPicPr>
          <p:nvPr/>
        </p:nvPicPr>
        <p:blipFill>
          <a:blip r:embed="rId5"/>
          <a:stretch>
            <a:fillRect/>
          </a:stretch>
        </p:blipFill>
        <p:spPr>
          <a:xfrm>
            <a:off x="8626014" y="3825799"/>
            <a:ext cx="2143125" cy="1628775"/>
          </a:xfrm>
          <a:prstGeom prst="rect">
            <a:avLst/>
          </a:prstGeom>
        </p:spPr>
      </p:pic>
      <p:pic>
        <p:nvPicPr>
          <p:cNvPr id="8" name="Picture 7"/>
          <p:cNvPicPr>
            <a:picLocks noChangeAspect="1"/>
          </p:cNvPicPr>
          <p:nvPr/>
        </p:nvPicPr>
        <p:blipFill>
          <a:blip r:embed="rId6"/>
          <a:stretch>
            <a:fillRect/>
          </a:stretch>
        </p:blipFill>
        <p:spPr>
          <a:xfrm>
            <a:off x="5968510" y="3909202"/>
            <a:ext cx="1885950" cy="1390650"/>
          </a:xfrm>
          <a:prstGeom prst="rect">
            <a:avLst/>
          </a:prstGeom>
        </p:spPr>
      </p:pic>
      <p:pic>
        <p:nvPicPr>
          <p:cNvPr id="12" name="Picture 11"/>
          <p:cNvPicPr>
            <a:picLocks noChangeAspect="1"/>
          </p:cNvPicPr>
          <p:nvPr/>
        </p:nvPicPr>
        <p:blipFill>
          <a:blip r:embed="rId7"/>
          <a:stretch>
            <a:fillRect/>
          </a:stretch>
        </p:blipFill>
        <p:spPr>
          <a:xfrm>
            <a:off x="8283114" y="631274"/>
            <a:ext cx="2486025" cy="1638300"/>
          </a:xfrm>
          <a:prstGeom prst="rect">
            <a:avLst/>
          </a:prstGeom>
        </p:spPr>
      </p:pic>
    </p:spTree>
    <p:extLst>
      <p:ext uri="{BB962C8B-B14F-4D97-AF65-F5344CB8AC3E}">
        <p14:creationId xmlns:p14="http://schemas.microsoft.com/office/powerpoint/2010/main" val="36825627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endParaRPr lang="en-US" dirty="0" smtClean="0">
              <a:solidFill>
                <a:schemeClr val="accent2"/>
              </a:solidFill>
              <a:latin typeface="Arial" panose="020B0604020202020204" pitchFamily="34" charset="0"/>
              <a:ea typeface="DengXian"/>
            </a:endParaRPr>
          </a:p>
          <a:p>
            <a:pPr marL="342900" indent="-342900">
              <a:buFont typeface="+mj-lt"/>
              <a:buAutoNum type="arabicPeriod"/>
            </a:pPr>
            <a:r>
              <a:rPr lang="en-US" sz="1800" b="1" dirty="0" smtClean="0">
                <a:latin typeface="Arial" panose="020B0604020202020204" pitchFamily="34" charset="0"/>
                <a:ea typeface="DengXian"/>
              </a:rPr>
              <a:t>Article</a:t>
            </a:r>
            <a:r>
              <a:rPr lang="en-US" sz="1800" dirty="0" smtClean="0">
                <a:latin typeface="Arial" panose="020B0604020202020204" pitchFamily="34" charset="0"/>
                <a:ea typeface="DengXian"/>
              </a:rPr>
              <a:t>:</a:t>
            </a:r>
          </a:p>
          <a:p>
            <a:pPr marL="342900" indent="-342900">
              <a:buFont typeface="+mj-lt"/>
              <a:buAutoNum type="arabicPeriod"/>
            </a:pPr>
            <a:r>
              <a:rPr lang="en-US" sz="1800" b="1" dirty="0" smtClean="0">
                <a:latin typeface="Arial" panose="020B0604020202020204" pitchFamily="34" charset="0"/>
                <a:ea typeface="DengXian"/>
              </a:rPr>
              <a:t>Substance</a:t>
            </a:r>
            <a:r>
              <a:rPr lang="en-US" sz="1800" dirty="0" smtClean="0">
                <a:latin typeface="Arial" panose="020B0604020202020204" pitchFamily="34" charset="0"/>
                <a:ea typeface="DengXian"/>
              </a:rPr>
              <a:t>:</a:t>
            </a:r>
          </a:p>
          <a:p>
            <a:pPr marL="342900" indent="-342900">
              <a:buFont typeface="+mj-lt"/>
              <a:buAutoNum type="arabicPeriod"/>
            </a:pPr>
            <a:r>
              <a:rPr lang="en-US" sz="1800" b="1" dirty="0" smtClean="0">
                <a:latin typeface="Arial" panose="020B0604020202020204" pitchFamily="34" charset="0"/>
                <a:ea typeface="DengXian"/>
              </a:rPr>
              <a:t>Mixture</a:t>
            </a:r>
            <a:r>
              <a:rPr lang="en-US" sz="1800" dirty="0" smtClean="0">
                <a:latin typeface="Arial" panose="020B0604020202020204" pitchFamily="34" charset="0"/>
                <a:ea typeface="DengXian"/>
              </a:rPr>
              <a:t>: A mixture or solution composed of two or more substances. </a:t>
            </a:r>
          </a:p>
          <a:p>
            <a:pPr lvl="1" indent="0">
              <a:buNone/>
            </a:pPr>
            <a:r>
              <a:rPr lang="en-US" sz="1800" dirty="0" smtClean="0">
                <a:latin typeface="Arial" panose="020B0604020202020204" pitchFamily="34" charset="0"/>
                <a:ea typeface="DengXian"/>
              </a:rPr>
              <a:t>   </a:t>
            </a:r>
            <a:endParaRPr lang="en-US" sz="1600" dirty="0" smtClean="0">
              <a:latin typeface="Arial" panose="020B0604020202020204" pitchFamily="34" charset="0"/>
              <a:ea typeface="DengXian"/>
            </a:endParaRPr>
          </a:p>
          <a:p>
            <a:pPr marL="342900" indent="-342900">
              <a:buFont typeface="+mj-lt"/>
              <a:buAutoNum type="arabicPeriod"/>
            </a:pPr>
            <a:endParaRPr lang="en-US" sz="1600" dirty="0" smtClean="0"/>
          </a:p>
          <a:p>
            <a:pPr marL="342900" indent="-342900">
              <a:buFont typeface="+mj-lt"/>
              <a:buAutoNum type="arabicPeriod"/>
            </a:pPr>
            <a:endParaRPr lang="en-US" dirty="0"/>
          </a:p>
        </p:txBody>
      </p:sp>
      <p:sp>
        <p:nvSpPr>
          <p:cNvPr id="7" name="Text Placeholder 6"/>
          <p:cNvSpPr>
            <a:spLocks noGrp="1"/>
          </p:cNvSpPr>
          <p:nvPr>
            <p:ph type="body" sz="quarter" idx="14"/>
          </p:nvPr>
        </p:nvSpPr>
        <p:spPr/>
        <p:txBody>
          <a:bodyPr/>
          <a:lstStyle/>
          <a:p>
            <a:r>
              <a:rPr lang="en-US" dirty="0" smtClean="0"/>
              <a:t>What is REACH – terms and definition</a:t>
            </a:r>
            <a:endParaRPr lang="en-US" dirty="0"/>
          </a:p>
        </p:txBody>
      </p:sp>
      <p:pic>
        <p:nvPicPr>
          <p:cNvPr id="4" name="Picture 3"/>
          <p:cNvPicPr>
            <a:picLocks noChangeAspect="1"/>
          </p:cNvPicPr>
          <p:nvPr/>
        </p:nvPicPr>
        <p:blipFill>
          <a:blip r:embed="rId3"/>
          <a:stretch>
            <a:fillRect/>
          </a:stretch>
        </p:blipFill>
        <p:spPr>
          <a:xfrm>
            <a:off x="3688998" y="3825799"/>
            <a:ext cx="2830850" cy="1939664"/>
          </a:xfrm>
          <a:prstGeom prst="rect">
            <a:avLst/>
          </a:prstGeom>
        </p:spPr>
      </p:pic>
      <p:pic>
        <p:nvPicPr>
          <p:cNvPr id="10" name="Picture 9"/>
          <p:cNvPicPr>
            <a:picLocks noChangeAspect="1"/>
          </p:cNvPicPr>
          <p:nvPr/>
        </p:nvPicPr>
        <p:blipFill>
          <a:blip r:embed="rId4"/>
          <a:stretch>
            <a:fillRect/>
          </a:stretch>
        </p:blipFill>
        <p:spPr>
          <a:xfrm>
            <a:off x="6922031" y="4070698"/>
            <a:ext cx="2438400" cy="1581150"/>
          </a:xfrm>
          <a:prstGeom prst="rect">
            <a:avLst/>
          </a:prstGeom>
        </p:spPr>
      </p:pic>
      <p:pic>
        <p:nvPicPr>
          <p:cNvPr id="11" name="Picture 10"/>
          <p:cNvPicPr>
            <a:picLocks noChangeAspect="1"/>
          </p:cNvPicPr>
          <p:nvPr/>
        </p:nvPicPr>
        <p:blipFill>
          <a:blip r:embed="rId5"/>
          <a:stretch>
            <a:fillRect/>
          </a:stretch>
        </p:blipFill>
        <p:spPr>
          <a:xfrm>
            <a:off x="1156700" y="3825799"/>
            <a:ext cx="1562100" cy="1438275"/>
          </a:xfrm>
          <a:prstGeom prst="rect">
            <a:avLst/>
          </a:prstGeom>
        </p:spPr>
      </p:pic>
    </p:spTree>
    <p:extLst>
      <p:ext uri="{BB962C8B-B14F-4D97-AF65-F5344CB8AC3E}">
        <p14:creationId xmlns:p14="http://schemas.microsoft.com/office/powerpoint/2010/main" val="2107403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r>
              <a:rPr lang="en-US" sz="1800" dirty="0" smtClean="0"/>
              <a:t>Under REACH companies may have one of these roles:</a:t>
            </a:r>
          </a:p>
          <a:p>
            <a:r>
              <a:rPr lang="en-US" sz="1800" b="1" dirty="0" smtClean="0"/>
              <a:t>Manufacturer</a:t>
            </a:r>
            <a:r>
              <a:rPr lang="en-US" sz="1800" dirty="0" smtClean="0"/>
              <a:t>: If you make chemicals, either to use yourself or to supply to other people (even if it is for export), then you will probably have some important responsibilities under REACH.</a:t>
            </a:r>
          </a:p>
          <a:p>
            <a:r>
              <a:rPr lang="en-US" sz="1800" b="1" dirty="0" smtClean="0"/>
              <a:t>Importer:</a:t>
            </a:r>
            <a:r>
              <a:rPr lang="en-US" sz="1800" dirty="0" smtClean="0"/>
              <a:t> If you buy anything from outside the EU/EEA, you are likely to have some responsibilities under REACH. It may be individual chemicals, mixtures for onwards sale or finished products, like clothes, furniture or plastic goods.</a:t>
            </a:r>
          </a:p>
          <a:p>
            <a:r>
              <a:rPr lang="en-US" sz="1800" b="1" dirty="0" smtClean="0"/>
              <a:t>Downstream users</a:t>
            </a:r>
            <a:r>
              <a:rPr lang="en-US" sz="1800" dirty="0" smtClean="0"/>
              <a:t>: Most companies use chemicals, sometimes even without realising it, therefore you need to check your obligations if you handle any chemicals in your industrial or professional activity. You might have some responsibilities under REACH.</a:t>
            </a:r>
          </a:p>
          <a:p>
            <a:r>
              <a:rPr lang="en-US" sz="1800" b="1" dirty="0" smtClean="0"/>
              <a:t>Companies established outside the EU:</a:t>
            </a:r>
            <a:r>
              <a:rPr lang="en-US" sz="1800" dirty="0" smtClean="0"/>
              <a:t> If you are a company established outside the EU, you are not bound by the obligations of REACH, even if you export theiR products into the customs territory of the European Union. The responsibility for fulfilling the requirements of REACH, such as registration lies with the importers established in the European Union, or with the only representative of a non-EU manufacturer established in the European Union.</a:t>
            </a:r>
          </a:p>
          <a:p>
            <a:endParaRPr lang="en-US" dirty="0"/>
          </a:p>
        </p:txBody>
      </p:sp>
      <p:sp>
        <p:nvSpPr>
          <p:cNvPr id="7" name="Text Placeholder 6"/>
          <p:cNvSpPr>
            <a:spLocks noGrp="1"/>
          </p:cNvSpPr>
          <p:nvPr>
            <p:ph type="body" sz="quarter" idx="14"/>
          </p:nvPr>
        </p:nvSpPr>
        <p:spPr/>
        <p:txBody>
          <a:bodyPr/>
          <a:lstStyle/>
          <a:p>
            <a:r>
              <a:rPr lang="en-US" b="1" dirty="0" smtClean="0"/>
              <a:t>REACH's effect on companies</a:t>
            </a:r>
          </a:p>
          <a:p>
            <a:endParaRPr lang="en-US" dirty="0"/>
          </a:p>
        </p:txBody>
      </p:sp>
    </p:spTree>
    <p:extLst>
      <p:ext uri="{BB962C8B-B14F-4D97-AF65-F5344CB8AC3E}">
        <p14:creationId xmlns:p14="http://schemas.microsoft.com/office/powerpoint/2010/main" val="26182454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bwMode="gray"/>
        <p:txBody>
          <a:bodyPr/>
          <a:lstStyle/>
          <a:p>
            <a:r>
              <a:rPr lang="en-US" dirty="0" smtClean="0"/>
              <a:t>Agenda</a:t>
            </a:r>
            <a:endParaRPr lang="en-US" dirty="0"/>
          </a:p>
        </p:txBody>
      </p:sp>
      <p:graphicFrame>
        <p:nvGraphicFramePr>
          <p:cNvPr id="8" name="Tabellenplatzhalter 19"/>
          <p:cNvGraphicFramePr>
            <a:graphicFrameLocks/>
          </p:cNvGraphicFramePr>
          <p:nvPr>
            <p:custDataLst>
              <p:tags r:id="rId2"/>
            </p:custDataLst>
            <p:extLst>
              <p:ext uri="{D42A27DB-BD31-4B8C-83A1-F6EECF244321}">
                <p14:modId xmlns:p14="http://schemas.microsoft.com/office/powerpoint/2010/main" val="1791063264"/>
              </p:ext>
            </p:extLst>
          </p:nvPr>
        </p:nvGraphicFramePr>
        <p:xfrm>
          <a:off x="550862" y="981454"/>
          <a:ext cx="10945094" cy="4823942"/>
        </p:xfrm>
        <a:graphic>
          <a:graphicData uri="http://schemas.openxmlformats.org/drawingml/2006/table">
            <a:tbl>
              <a:tblPr>
                <a:tableStyleId>{9D7B26C5-4107-4FEC-AEDC-1716B250A1EF}</a:tableStyleId>
              </a:tblPr>
              <a:tblGrid>
                <a:gridCol w="743255">
                  <a:extLst>
                    <a:ext uri="{9D8B030D-6E8A-4147-A177-3AD203B41FA5}">
                      <a16:colId xmlns:a16="http://schemas.microsoft.com/office/drawing/2014/main" val="20000"/>
                    </a:ext>
                  </a:extLst>
                </a:gridCol>
                <a:gridCol w="850146">
                  <a:extLst>
                    <a:ext uri="{9D8B030D-6E8A-4147-A177-3AD203B41FA5}">
                      <a16:colId xmlns:a16="http://schemas.microsoft.com/office/drawing/2014/main" val="20001"/>
                    </a:ext>
                  </a:extLst>
                </a:gridCol>
                <a:gridCol w="9351693">
                  <a:extLst>
                    <a:ext uri="{9D8B030D-6E8A-4147-A177-3AD203B41FA5}">
                      <a16:colId xmlns:a16="http://schemas.microsoft.com/office/drawing/2014/main" val="20002"/>
                    </a:ext>
                  </a:extLst>
                </a:gridCol>
              </a:tblGrid>
              <a:tr h="339469">
                <a:tc gridSpan="2">
                  <a:txBody>
                    <a:bodyPr/>
                    <a:lstStyle/>
                    <a:p>
                      <a:pPr>
                        <a:lnSpc>
                          <a:spcPct val="200000"/>
                        </a:lnSpc>
                      </a:pPr>
                      <a:r>
                        <a:rPr lang="en-US" sz="2000" b="1" dirty="0" smtClean="0">
                          <a:solidFill>
                            <a:schemeClr val="dk2"/>
                          </a:solidFill>
                        </a:rPr>
                        <a:t>Part</a:t>
                      </a:r>
                      <a:endParaRPr lang="en-US" sz="2000" b="1" dirty="0">
                        <a:solidFill>
                          <a:schemeClr val="dk2"/>
                        </a:solidFill>
                      </a:endParaRPr>
                    </a:p>
                  </a:txBody>
                  <a:tcPr marL="90375" marR="90375" marT="125971" marB="125971">
                    <a:lnT w="12700" cmpd="sng">
                      <a:noFill/>
                    </a:lnT>
                    <a:lnB w="19050" cap="flat" cmpd="sng" algn="ctr">
                      <a:solidFill>
                        <a:schemeClr val="tx2"/>
                      </a:solidFill>
                      <a:prstDash val="solid"/>
                      <a:round/>
                      <a:headEnd type="none" w="med" len="med"/>
                      <a:tailEnd type="none" w="med" len="med"/>
                    </a:lnB>
                  </a:tcPr>
                </a:tc>
                <a:tc hMerge="1">
                  <a:txBody>
                    <a:bodyPr/>
                    <a:lstStyle/>
                    <a:p>
                      <a:endParaRPr lang="de-DE" sz="1400" b="1" dirty="0">
                        <a:solidFill>
                          <a:schemeClr val="tx1"/>
                        </a:solidFill>
                      </a:endParaRPr>
                    </a:p>
                  </a:txBody>
                  <a:tcPr marL="90375" marR="90375" marT="125971" marB="125971">
                    <a:lnT w="12700" cmpd="sng">
                      <a:noFill/>
                    </a:lnT>
                    <a:lnB w="12700" cap="flat" cmpd="sng" algn="ctr">
                      <a:solidFill>
                        <a:schemeClr val="tx2"/>
                      </a:solidFill>
                      <a:prstDash val="solid"/>
                      <a:round/>
                      <a:headEnd type="none" w="med" len="med"/>
                      <a:tailEnd type="none" w="med" len="med"/>
                    </a:lnB>
                  </a:tcPr>
                </a:tc>
                <a:tc>
                  <a:txBody>
                    <a:bodyPr/>
                    <a:lstStyle/>
                    <a:p>
                      <a:pPr>
                        <a:lnSpc>
                          <a:spcPct val="200000"/>
                        </a:lnSpc>
                      </a:pPr>
                      <a:r>
                        <a:rPr lang="en-US" sz="2000" b="1" dirty="0" smtClean="0">
                          <a:solidFill>
                            <a:schemeClr val="dk2"/>
                          </a:solidFill>
                        </a:rPr>
                        <a:t>Topic</a:t>
                      </a:r>
                      <a:endParaRPr lang="en-US" sz="2000" b="1" dirty="0">
                        <a:solidFill>
                          <a:schemeClr val="dk2"/>
                        </a:solidFill>
                      </a:endParaRPr>
                    </a:p>
                  </a:txBody>
                  <a:tcPr marL="90375" marR="90375" marT="125971" marB="125971">
                    <a:lnT w="12700" cmpd="sng">
                      <a:noFill/>
                    </a:lnT>
                    <a:lnB w="190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339469">
                <a:tc>
                  <a:txBody>
                    <a:bodyPr/>
                    <a:lstStyle/>
                    <a:p>
                      <a:pPr>
                        <a:lnSpc>
                          <a:spcPct val="200000"/>
                        </a:lnSpc>
                      </a:pPr>
                      <a:r>
                        <a:rPr lang="en-US" sz="2000" u="none" dirty="0" smtClean="0">
                          <a:solidFill>
                            <a:schemeClr val="dk2"/>
                          </a:solidFill>
                        </a:rPr>
                        <a:t>1</a:t>
                      </a:r>
                      <a:endParaRPr lang="en-US" sz="2000" u="none" dirty="0">
                        <a:solidFill>
                          <a:schemeClr val="dk2"/>
                        </a:solidFill>
                      </a:endParaRPr>
                    </a:p>
                  </a:txBody>
                  <a:tcPr marL="90375" marR="90375" marT="91440" marB="91440">
                    <a:lnT w="19050" cap="flat" cmpd="sng" algn="ctr">
                      <a:solidFill>
                        <a:schemeClr val="tx2"/>
                      </a:solidFill>
                      <a:prstDash val="solid"/>
                      <a:round/>
                      <a:headEnd type="none" w="med" len="med"/>
                      <a:tailEnd type="none" w="med" len="med"/>
                    </a:lnT>
                    <a:lnB w="9525" cap="flat" cmpd="sng" algn="ctr">
                      <a:solidFill>
                        <a:schemeClr val="accent5"/>
                      </a:solidFill>
                      <a:prstDash val="solid"/>
                      <a:round/>
                      <a:headEnd type="none" w="med" len="med"/>
                      <a:tailEnd type="none" w="med" len="med"/>
                    </a:lnB>
                  </a:tcPr>
                </a:tc>
                <a:tc>
                  <a:txBody>
                    <a:bodyPr/>
                    <a:lstStyle/>
                    <a:p>
                      <a:pPr>
                        <a:lnSpc>
                          <a:spcPct val="200000"/>
                        </a:lnSpc>
                      </a:pPr>
                      <a:endParaRPr lang="en-US" sz="2000" u="sng" dirty="0">
                        <a:solidFill>
                          <a:schemeClr val="tx1"/>
                        </a:solidFill>
                      </a:endParaRPr>
                    </a:p>
                  </a:txBody>
                  <a:tcPr marL="90375" marR="90375" marT="91440" marB="91440">
                    <a:lnT w="19050" cap="flat" cmpd="sng" algn="ctr">
                      <a:solidFill>
                        <a:schemeClr val="tx2"/>
                      </a:solidFill>
                      <a:prstDash val="solid"/>
                      <a:round/>
                      <a:headEnd type="none" w="med" len="med"/>
                      <a:tailEnd type="none" w="med" len="med"/>
                    </a:lnT>
                    <a:lnB w="9525" cap="flat" cmpd="sng" algn="ctr">
                      <a:solidFill>
                        <a:schemeClr val="accent5"/>
                      </a:solidFill>
                      <a:prstDash val="solid"/>
                      <a:round/>
                      <a:headEnd type="none" w="med" len="med"/>
                      <a:tailEnd type="none" w="med" len="med"/>
                    </a:lnB>
                  </a:tcPr>
                </a:tc>
                <a:tc>
                  <a:txBody>
                    <a:bodyPr/>
                    <a:lstStyle/>
                    <a:p>
                      <a:pPr>
                        <a:lnSpc>
                          <a:spcPct val="200000"/>
                        </a:lnSpc>
                      </a:pPr>
                      <a:r>
                        <a:rPr lang="en-GB" sz="2000" dirty="0" smtClean="0">
                          <a:solidFill>
                            <a:schemeClr val="dk2"/>
                          </a:solidFill>
                        </a:rPr>
                        <a:t>TÜV Rheinland- International Existence &amp; Importance</a:t>
                      </a:r>
                      <a:endParaRPr lang="en-GB" sz="2000" b="1" cap="all" baseline="0" dirty="0" smtClean="0">
                        <a:solidFill>
                          <a:schemeClr val="dk2"/>
                        </a:solidFill>
                      </a:endParaRPr>
                    </a:p>
                  </a:txBody>
                  <a:tcPr marL="90375" marR="90375" marT="91440" marB="91440">
                    <a:lnT w="19050" cap="flat" cmpd="sng" algn="ctr">
                      <a:solidFill>
                        <a:schemeClr val="tx2"/>
                      </a:solidFill>
                      <a:prstDash val="solid"/>
                      <a:round/>
                      <a:headEnd type="none" w="med" len="med"/>
                      <a:tailEnd type="none" w="med" len="med"/>
                    </a:lnT>
                    <a:lnB w="9525" cap="flat" cmpd="sng" algn="ctr">
                      <a:solidFill>
                        <a:schemeClr val="accent5"/>
                      </a:solidFill>
                      <a:prstDash val="solid"/>
                      <a:round/>
                      <a:headEnd type="none" w="med" len="med"/>
                      <a:tailEnd type="none" w="med" len="med"/>
                    </a:lnB>
                  </a:tcPr>
                </a:tc>
                <a:extLst>
                  <a:ext uri="{0D108BD9-81ED-4DB2-BD59-A6C34878D82A}">
                    <a16:rowId xmlns:a16="http://schemas.microsoft.com/office/drawing/2014/main" val="10001"/>
                  </a:ext>
                </a:extLst>
              </a:tr>
              <a:tr h="324046">
                <a:tc>
                  <a:txBody>
                    <a:bodyPr/>
                    <a:lstStyle/>
                    <a:p>
                      <a:pPr>
                        <a:lnSpc>
                          <a:spcPct val="200000"/>
                        </a:lnSpc>
                      </a:pPr>
                      <a:r>
                        <a:rPr lang="en-US" sz="2000" cap="all" baseline="0" dirty="0" smtClean="0">
                          <a:solidFill>
                            <a:schemeClr val="dk2"/>
                          </a:solidFill>
                        </a:rPr>
                        <a:t>2</a:t>
                      </a:r>
                      <a:endParaRPr lang="en-US" sz="2000" cap="all" baseline="0" dirty="0">
                        <a:solidFill>
                          <a:schemeClr val="dk2"/>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endParaRPr lang="en-US" sz="2000" cap="all" baseline="0" dirty="0">
                        <a:solidFill>
                          <a:schemeClr val="tx1"/>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r>
                        <a:rPr lang="en-GB" sz="2000" dirty="0" smtClean="0">
                          <a:solidFill>
                            <a:schemeClr val="dk2"/>
                          </a:solidFill>
                        </a:rPr>
                        <a:t> EU REACH REGULATION</a:t>
                      </a:r>
                      <a:endParaRPr lang="en-US" sz="2000" b="1" kern="1200" cap="all" baseline="0" dirty="0" smtClean="0">
                        <a:solidFill>
                          <a:schemeClr val="dk2"/>
                        </a:solidFill>
                        <a:latin typeface="+mn-lt"/>
                        <a:ea typeface="+mn-ea"/>
                        <a:cs typeface="+mn-cs"/>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10002"/>
                  </a:ext>
                </a:extLst>
              </a:tr>
              <a:tr h="324046">
                <a:tc>
                  <a:txBody>
                    <a:bodyPr/>
                    <a:lstStyle/>
                    <a:p>
                      <a:pPr>
                        <a:lnSpc>
                          <a:spcPct val="200000"/>
                        </a:lnSpc>
                      </a:pPr>
                      <a:r>
                        <a:rPr lang="en-US" sz="2000" dirty="0" smtClean="0">
                          <a:solidFill>
                            <a:schemeClr val="dk2"/>
                          </a:solidFill>
                        </a:rPr>
                        <a:t>3</a:t>
                      </a:r>
                      <a:endParaRPr lang="en-US" sz="2000" dirty="0">
                        <a:solidFill>
                          <a:schemeClr val="dk2"/>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endParaRPr lang="en-US" sz="2000" dirty="0">
                        <a:solidFill>
                          <a:schemeClr val="tx1"/>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r>
                        <a:rPr lang="en-GB" sz="2000" dirty="0" smtClean="0">
                          <a:solidFill>
                            <a:schemeClr val="dk2"/>
                          </a:solidFill>
                        </a:rPr>
                        <a:t>Chemical &amp; Waste Water Management</a:t>
                      </a:r>
                      <a:endParaRPr lang="en-US" sz="2000" b="1" kern="1200" cap="all" baseline="0" dirty="0" smtClean="0">
                        <a:solidFill>
                          <a:schemeClr val="dk2"/>
                        </a:solidFill>
                        <a:latin typeface="+mn-lt"/>
                        <a:ea typeface="+mn-ea"/>
                        <a:cs typeface="+mn-cs"/>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988351754"/>
                  </a:ext>
                </a:extLst>
              </a:tr>
              <a:tr h="324046">
                <a:tc>
                  <a:txBody>
                    <a:bodyPr/>
                    <a:lstStyle/>
                    <a:p>
                      <a:pPr>
                        <a:lnSpc>
                          <a:spcPct val="200000"/>
                        </a:lnSpc>
                      </a:pPr>
                      <a:r>
                        <a:rPr lang="en-US" sz="2000" dirty="0" smtClean="0">
                          <a:solidFill>
                            <a:schemeClr val="dk2"/>
                          </a:solidFill>
                        </a:rPr>
                        <a:t>4</a:t>
                      </a:r>
                      <a:endParaRPr lang="en-US" sz="2000" dirty="0">
                        <a:solidFill>
                          <a:schemeClr val="dk2"/>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endParaRPr lang="en-US" sz="2000" dirty="0">
                        <a:solidFill>
                          <a:schemeClr val="tx1"/>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marL="0" marR="0" lvl="0" indent="0" algn="l" defTabSz="1219170" rtl="0" eaLnBrk="1" fontAlgn="auto" latinLnBrk="0" hangingPunct="1">
                        <a:lnSpc>
                          <a:spcPct val="200000"/>
                        </a:lnSpc>
                        <a:spcBef>
                          <a:spcPts val="0"/>
                        </a:spcBef>
                        <a:spcAft>
                          <a:spcPts val="0"/>
                        </a:spcAft>
                        <a:buClrTx/>
                        <a:buSzTx/>
                        <a:buFontTx/>
                        <a:buNone/>
                        <a:tabLst/>
                        <a:defRPr/>
                      </a:pPr>
                      <a:r>
                        <a:rPr lang="en-GB" sz="2000" dirty="0" smtClean="0">
                          <a:solidFill>
                            <a:schemeClr val="dk2"/>
                          </a:solidFill>
                        </a:rPr>
                        <a:t>BIS – Footwear, Toys; New Era of Product Certification in India</a:t>
                      </a:r>
                      <a:endParaRPr lang="en-US" sz="2000" b="1" kern="1200" cap="all" baseline="0" dirty="0" smtClean="0">
                        <a:solidFill>
                          <a:schemeClr val="dk2"/>
                        </a:solidFill>
                        <a:latin typeface="+mn-lt"/>
                        <a:ea typeface="+mn-ea"/>
                        <a:cs typeface="+mn-cs"/>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4066227273"/>
                  </a:ext>
                </a:extLst>
              </a:tr>
              <a:tr h="324046">
                <a:tc>
                  <a:txBody>
                    <a:bodyPr/>
                    <a:lstStyle/>
                    <a:p>
                      <a:pPr>
                        <a:lnSpc>
                          <a:spcPct val="200000"/>
                        </a:lnSpc>
                      </a:pPr>
                      <a:r>
                        <a:rPr lang="en-US" sz="2000" dirty="0" smtClean="0">
                          <a:solidFill>
                            <a:schemeClr val="dk2"/>
                          </a:solidFill>
                        </a:rPr>
                        <a:t>5</a:t>
                      </a:r>
                      <a:endParaRPr lang="en-US" sz="2000" dirty="0">
                        <a:solidFill>
                          <a:schemeClr val="dk2"/>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a:lnSpc>
                          <a:spcPct val="200000"/>
                        </a:lnSpc>
                      </a:pPr>
                      <a:endParaRPr lang="en-US" sz="2000" dirty="0">
                        <a:solidFill>
                          <a:schemeClr val="tx1"/>
                        </a:solidFill>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tc>
                  <a:txBody>
                    <a:bodyPr/>
                    <a:lstStyle/>
                    <a:p>
                      <a:pPr marL="0" marR="0" lvl="0" indent="0" algn="l" defTabSz="1219170" rtl="0" eaLnBrk="1" fontAlgn="auto" latinLnBrk="0" hangingPunct="1">
                        <a:lnSpc>
                          <a:spcPct val="200000"/>
                        </a:lnSpc>
                        <a:spcBef>
                          <a:spcPts val="0"/>
                        </a:spcBef>
                        <a:spcAft>
                          <a:spcPts val="0"/>
                        </a:spcAft>
                        <a:buClrTx/>
                        <a:buSzTx/>
                        <a:buFontTx/>
                        <a:buNone/>
                        <a:tabLst/>
                        <a:defRPr/>
                      </a:pPr>
                      <a:r>
                        <a:rPr lang="en-GB" sz="2000" dirty="0" smtClean="0">
                          <a:solidFill>
                            <a:schemeClr val="dk2"/>
                          </a:solidFill>
                        </a:rPr>
                        <a:t>Q&amp;A</a:t>
                      </a:r>
                      <a:endParaRPr lang="en-US" sz="2000" b="1" kern="1200" cap="all" baseline="0" dirty="0" smtClean="0">
                        <a:solidFill>
                          <a:schemeClr val="dk2"/>
                        </a:solidFill>
                        <a:latin typeface="+mn-lt"/>
                        <a:ea typeface="+mn-ea"/>
                        <a:cs typeface="+mn-cs"/>
                      </a:endParaRPr>
                    </a:p>
                  </a:txBody>
                  <a:tcPr marL="90375" marR="90375" marT="91440" marB="91440">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1186593476"/>
                  </a:ext>
                </a:extLst>
              </a:tr>
            </a:tbl>
          </a:graphicData>
        </a:graphic>
      </p:graphicFrame>
    </p:spTree>
    <p:custDataLst>
      <p:tags r:id="rId1"/>
    </p:custDataLst>
    <p:extLst>
      <p:ext uri="{BB962C8B-B14F-4D97-AF65-F5344CB8AC3E}">
        <p14:creationId xmlns:p14="http://schemas.microsoft.com/office/powerpoint/2010/main" val="3729046978"/>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dirty="0" smtClean="0"/>
              <a:t>Technical training – REACH Regulation</a:t>
            </a:r>
          </a:p>
        </p:txBody>
      </p:sp>
      <p:sp>
        <p:nvSpPr>
          <p:cNvPr id="49156" name="Oval 5"/>
          <p:cNvSpPr>
            <a:spLocks noChangeArrowheads="1"/>
          </p:cNvSpPr>
          <p:nvPr/>
        </p:nvSpPr>
        <p:spPr bwMode="auto">
          <a:xfrm>
            <a:off x="2206519" y="2061052"/>
            <a:ext cx="6051362" cy="2592988"/>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57" name="Oval 6"/>
          <p:cNvSpPr>
            <a:spLocks noChangeArrowheads="1"/>
          </p:cNvSpPr>
          <p:nvPr/>
        </p:nvSpPr>
        <p:spPr bwMode="auto">
          <a:xfrm>
            <a:off x="2277973" y="1341749"/>
            <a:ext cx="6626171" cy="4249133"/>
          </a:xfrm>
          <a:prstGeom prst="ellipse">
            <a:avLst/>
          </a:prstGeom>
          <a:solidFill>
            <a:srgbClr val="FFCC99"/>
          </a:solidFill>
          <a:ln w="38100">
            <a:solidFill>
              <a:schemeClr val="accent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58" name="Text Box 7"/>
          <p:cNvSpPr txBox="1">
            <a:spLocks noChangeArrowheads="1"/>
          </p:cNvSpPr>
          <p:nvPr/>
        </p:nvSpPr>
        <p:spPr bwMode="auto">
          <a:xfrm>
            <a:off x="4726464" y="1197253"/>
            <a:ext cx="3318216" cy="369332"/>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dirty="0" smtClean="0">
                <a:solidFill>
                  <a:schemeClr val="bg1"/>
                </a:solidFill>
              </a:rPr>
              <a:t>Border of the EU market</a:t>
            </a:r>
            <a:endParaRPr lang="en-US" altLang="de-DE" dirty="0">
              <a:solidFill>
                <a:schemeClr val="bg1"/>
              </a:solidFill>
            </a:endParaRPr>
          </a:p>
        </p:txBody>
      </p:sp>
      <p:sp>
        <p:nvSpPr>
          <p:cNvPr id="49159" name="AutoShape 8"/>
          <p:cNvSpPr>
            <a:spLocks noChangeArrowheads="1"/>
          </p:cNvSpPr>
          <p:nvPr/>
        </p:nvSpPr>
        <p:spPr bwMode="auto">
          <a:xfrm>
            <a:off x="4696295" y="3490133"/>
            <a:ext cx="215950" cy="288992"/>
          </a:xfrm>
          <a:prstGeom prst="plus">
            <a:avLst>
              <a:gd name="adj" fmla="val 25000"/>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pic>
        <p:nvPicPr>
          <p:cNvPr id="49160" name="Picture 10" descr="Piktogramm">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0094" y="1845102"/>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1" name="Text Box 11"/>
          <p:cNvSpPr txBox="1">
            <a:spLocks noChangeArrowheads="1"/>
          </p:cNvSpPr>
          <p:nvPr/>
        </p:nvSpPr>
        <p:spPr bwMode="auto">
          <a:xfrm>
            <a:off x="8980362" y="2459608"/>
            <a:ext cx="232916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pPr algn="l"/>
            <a:r>
              <a:rPr lang="en-US" altLang="de-DE" sz="1600" dirty="0" err="1" smtClean="0"/>
              <a:t>Manufactuerer</a:t>
            </a:r>
            <a:r>
              <a:rPr lang="en-US" altLang="de-DE" sz="1600" dirty="0" smtClean="0"/>
              <a:t> / Producer</a:t>
            </a:r>
          </a:p>
          <a:p>
            <a:pPr algn="l"/>
            <a:endParaRPr lang="en-US" altLang="de-DE" sz="1600" dirty="0"/>
          </a:p>
        </p:txBody>
      </p:sp>
      <p:pic>
        <p:nvPicPr>
          <p:cNvPr id="49162" name="Picture 14" descr="Piktogramm">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75064" y="1649795"/>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3" name="Picture 17" descr="Piktogramm">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02861" y="3286886"/>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4" name="Text Box 18"/>
          <p:cNvSpPr txBox="1">
            <a:spLocks noChangeArrowheads="1"/>
          </p:cNvSpPr>
          <p:nvPr/>
        </p:nvSpPr>
        <p:spPr bwMode="auto">
          <a:xfrm>
            <a:off x="5275867" y="3863282"/>
            <a:ext cx="627208" cy="21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sz="1400" dirty="0" err="1" smtClean="0">
                <a:solidFill>
                  <a:schemeClr val="accent2"/>
                </a:solidFill>
              </a:rPr>
              <a:t>Händler</a:t>
            </a:r>
            <a:endParaRPr lang="en-US" altLang="de-DE" sz="1400" dirty="0">
              <a:solidFill>
                <a:schemeClr val="accent2"/>
              </a:solidFill>
            </a:endParaRPr>
          </a:p>
        </p:txBody>
      </p:sp>
      <p:pic>
        <p:nvPicPr>
          <p:cNvPr id="49165" name="Picture 20" descr="Piktogramm">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2861" y="4727082"/>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66" name="Text Box 21"/>
          <p:cNvSpPr txBox="1">
            <a:spLocks noChangeArrowheads="1"/>
          </p:cNvSpPr>
          <p:nvPr/>
        </p:nvSpPr>
        <p:spPr bwMode="auto">
          <a:xfrm>
            <a:off x="5112317" y="5301890"/>
            <a:ext cx="88485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sz="1400" dirty="0" err="1" smtClean="0">
                <a:solidFill>
                  <a:schemeClr val="accent2"/>
                </a:solidFill>
              </a:rPr>
              <a:t>Consumerr</a:t>
            </a:r>
            <a:endParaRPr lang="en-US" altLang="de-DE" sz="1400" dirty="0">
              <a:solidFill>
                <a:schemeClr val="accent2"/>
              </a:solidFill>
            </a:endParaRPr>
          </a:p>
        </p:txBody>
      </p:sp>
      <p:sp>
        <p:nvSpPr>
          <p:cNvPr id="49167" name="Line 22"/>
          <p:cNvSpPr>
            <a:spLocks noChangeShapeType="1"/>
          </p:cNvSpPr>
          <p:nvPr/>
        </p:nvSpPr>
        <p:spPr bwMode="auto">
          <a:xfrm>
            <a:off x="5591853" y="4222140"/>
            <a:ext cx="1587" cy="431900"/>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pic>
        <p:nvPicPr>
          <p:cNvPr id="49168" name="Picture 23" descr="Piktogramm">
            <a:hlinkClick r:id="rId5"/>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34761" y="4366636"/>
            <a:ext cx="288992" cy="28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69" name="Picture 24" descr="Piktogramm">
            <a:hlinkClick r:id="rId5"/>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79257" y="4149099"/>
            <a:ext cx="360446" cy="36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70" name="Text Box 26"/>
          <p:cNvSpPr txBox="1">
            <a:spLocks noChangeArrowheads="1"/>
          </p:cNvSpPr>
          <p:nvPr/>
        </p:nvSpPr>
        <p:spPr bwMode="auto">
          <a:xfrm>
            <a:off x="2914707" y="3671403"/>
            <a:ext cx="157596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sz="1400" b="1" dirty="0" smtClean="0">
                <a:solidFill>
                  <a:schemeClr val="accent2"/>
                </a:solidFill>
              </a:rPr>
              <a:t>D</a:t>
            </a:r>
            <a:r>
              <a:rPr lang="en-US" altLang="de-DE" sz="1400" dirty="0" smtClean="0">
                <a:solidFill>
                  <a:schemeClr val="accent2"/>
                </a:solidFill>
              </a:rPr>
              <a:t>ownstream </a:t>
            </a:r>
            <a:r>
              <a:rPr lang="en-US" altLang="de-DE" sz="1400" b="1" dirty="0" smtClean="0">
                <a:solidFill>
                  <a:schemeClr val="accent2"/>
                </a:solidFill>
              </a:rPr>
              <a:t>U</a:t>
            </a:r>
            <a:r>
              <a:rPr lang="en-US" altLang="de-DE" sz="1400" dirty="0" smtClean="0">
                <a:solidFill>
                  <a:schemeClr val="accent2"/>
                </a:solidFill>
              </a:rPr>
              <a:t>ser</a:t>
            </a:r>
            <a:endParaRPr lang="en-US" altLang="de-DE" sz="1400" dirty="0">
              <a:solidFill>
                <a:schemeClr val="accent2"/>
              </a:solidFill>
            </a:endParaRPr>
          </a:p>
        </p:txBody>
      </p:sp>
      <p:pic>
        <p:nvPicPr>
          <p:cNvPr id="49171" name="Picture 30" descr="Piktogramm">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2665" y="3142391"/>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72" name="Picture 31" descr="Piktogramm">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86269" y="1989599"/>
            <a:ext cx="533523" cy="533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73" name="Text Box 32"/>
          <p:cNvSpPr txBox="1">
            <a:spLocks noChangeArrowheads="1"/>
          </p:cNvSpPr>
          <p:nvPr/>
        </p:nvSpPr>
        <p:spPr bwMode="auto">
          <a:xfrm>
            <a:off x="3862665" y="2134094"/>
            <a:ext cx="192841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sz="1400" dirty="0" smtClean="0">
                <a:solidFill>
                  <a:schemeClr val="accent2"/>
                </a:solidFill>
              </a:rPr>
              <a:t>Manufacture / Producer</a:t>
            </a:r>
            <a:endParaRPr lang="en-US" altLang="de-DE" sz="1400" dirty="0">
              <a:solidFill>
                <a:schemeClr val="accent2"/>
              </a:solidFill>
            </a:endParaRPr>
          </a:p>
        </p:txBody>
      </p:sp>
      <p:sp>
        <p:nvSpPr>
          <p:cNvPr id="49174" name="Line 33"/>
          <p:cNvSpPr>
            <a:spLocks noChangeShapeType="1"/>
          </p:cNvSpPr>
          <p:nvPr/>
        </p:nvSpPr>
        <p:spPr bwMode="auto">
          <a:xfrm>
            <a:off x="3718169" y="2637449"/>
            <a:ext cx="288992" cy="433487"/>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49175" name="Rectangle 34"/>
          <p:cNvSpPr>
            <a:spLocks noChangeArrowheads="1"/>
          </p:cNvSpPr>
          <p:nvPr/>
        </p:nvSpPr>
        <p:spPr bwMode="auto">
          <a:xfrm>
            <a:off x="5728409" y="2316700"/>
            <a:ext cx="195307" cy="142908"/>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76" name="Rectangle 35"/>
          <p:cNvSpPr>
            <a:spLocks noChangeArrowheads="1"/>
          </p:cNvSpPr>
          <p:nvPr/>
        </p:nvSpPr>
        <p:spPr bwMode="auto">
          <a:xfrm>
            <a:off x="3935707" y="2581873"/>
            <a:ext cx="142908" cy="28740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77" name="Line 39"/>
          <p:cNvSpPr>
            <a:spLocks noChangeShapeType="1"/>
          </p:cNvSpPr>
          <p:nvPr/>
        </p:nvSpPr>
        <p:spPr bwMode="auto">
          <a:xfrm>
            <a:off x="4458116" y="3358340"/>
            <a:ext cx="752649" cy="107975"/>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49178" name="Line 43"/>
          <p:cNvSpPr>
            <a:spLocks noChangeShapeType="1"/>
          </p:cNvSpPr>
          <p:nvPr/>
        </p:nvSpPr>
        <p:spPr bwMode="auto">
          <a:xfrm flipH="1">
            <a:off x="5679185" y="2205549"/>
            <a:ext cx="1729188" cy="1017823"/>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49179" name="Line 44"/>
          <p:cNvSpPr>
            <a:spLocks noChangeShapeType="1"/>
          </p:cNvSpPr>
          <p:nvPr/>
        </p:nvSpPr>
        <p:spPr bwMode="auto">
          <a:xfrm flipH="1">
            <a:off x="4223111" y="2097574"/>
            <a:ext cx="3166208" cy="97336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49180" name="Rectangle 45"/>
          <p:cNvSpPr>
            <a:spLocks noChangeArrowheads="1"/>
          </p:cNvSpPr>
          <p:nvPr/>
        </p:nvSpPr>
        <p:spPr bwMode="auto">
          <a:xfrm>
            <a:off x="8667552" y="1641855"/>
            <a:ext cx="142908" cy="287405"/>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81" name="AutoShape 46"/>
          <p:cNvSpPr>
            <a:spLocks noChangeArrowheads="1"/>
          </p:cNvSpPr>
          <p:nvPr/>
        </p:nvSpPr>
        <p:spPr bwMode="auto">
          <a:xfrm>
            <a:off x="4942414" y="4365049"/>
            <a:ext cx="215950" cy="288992"/>
          </a:xfrm>
          <a:prstGeom prst="plus">
            <a:avLst>
              <a:gd name="adj" fmla="val 25000"/>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901167" name="AutoShape 47"/>
          <p:cNvSpPr>
            <a:spLocks noChangeArrowheads="1"/>
          </p:cNvSpPr>
          <p:nvPr/>
        </p:nvSpPr>
        <p:spPr bwMode="auto">
          <a:xfrm>
            <a:off x="8264233" y="1627565"/>
            <a:ext cx="287405" cy="28899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901168" name="AutoShape 48"/>
          <p:cNvSpPr>
            <a:spLocks noChangeArrowheads="1"/>
          </p:cNvSpPr>
          <p:nvPr/>
        </p:nvSpPr>
        <p:spPr bwMode="auto">
          <a:xfrm>
            <a:off x="5231406" y="4222141"/>
            <a:ext cx="287405" cy="28899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901169" name="AutoShape 49"/>
          <p:cNvSpPr>
            <a:spLocks noChangeArrowheads="1"/>
          </p:cNvSpPr>
          <p:nvPr/>
        </p:nvSpPr>
        <p:spPr bwMode="auto">
          <a:xfrm>
            <a:off x="5930068" y="2594576"/>
            <a:ext cx="287405" cy="28899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49185" name="Line 51"/>
          <p:cNvSpPr>
            <a:spLocks noChangeShapeType="1"/>
          </p:cNvSpPr>
          <p:nvPr/>
        </p:nvSpPr>
        <p:spPr bwMode="auto">
          <a:xfrm flipH="1" flipV="1">
            <a:off x="8054635" y="1943551"/>
            <a:ext cx="994005" cy="117502"/>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pic>
        <p:nvPicPr>
          <p:cNvPr id="49186" name="Picture 55" descr="Piktogramm">
            <a:hlinkClick r:id="rId5"/>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238470" y="4050651"/>
            <a:ext cx="369974" cy="369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87" name="Text Box 56"/>
          <p:cNvSpPr txBox="1">
            <a:spLocks noChangeArrowheads="1"/>
          </p:cNvSpPr>
          <p:nvPr/>
        </p:nvSpPr>
        <p:spPr bwMode="auto">
          <a:xfrm>
            <a:off x="6652548" y="4403158"/>
            <a:ext cx="1511650" cy="369332"/>
          </a:xfrm>
          <a:prstGeom prst="rect">
            <a:avLst/>
          </a:prstGeom>
          <a:noFill/>
          <a:ln>
            <a:noFill/>
          </a:ln>
          <a:effectLst/>
          <a:extLst>
            <a:ext uri="{909E8E84-426E-40DD-AFC4-6F175D3DCCD1}">
              <a14:hiddenFill xmlns:a14="http://schemas.microsoft.com/office/drawing/2010/main">
                <a:solidFill>
                  <a:srgbClr val="DE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pPr algn="ctr"/>
            <a:r>
              <a:rPr lang="en-US" altLang="de-DE" sz="1200" b="1" dirty="0" smtClean="0">
                <a:solidFill>
                  <a:schemeClr val="accent2"/>
                </a:solidFill>
              </a:rPr>
              <a:t>O</a:t>
            </a:r>
            <a:r>
              <a:rPr lang="en-US" altLang="de-DE" sz="1200" dirty="0" smtClean="0">
                <a:solidFill>
                  <a:schemeClr val="accent2"/>
                </a:solidFill>
              </a:rPr>
              <a:t>nly </a:t>
            </a:r>
          </a:p>
          <a:p>
            <a:pPr algn="ctr"/>
            <a:r>
              <a:rPr lang="en-US" altLang="de-DE" sz="1200" b="1" dirty="0" smtClean="0">
                <a:solidFill>
                  <a:schemeClr val="accent2"/>
                </a:solidFill>
              </a:rPr>
              <a:t>R</a:t>
            </a:r>
            <a:r>
              <a:rPr lang="en-US" altLang="de-DE" sz="1200" dirty="0" smtClean="0">
                <a:solidFill>
                  <a:schemeClr val="accent2"/>
                </a:solidFill>
              </a:rPr>
              <a:t>epresentative</a:t>
            </a:r>
            <a:endParaRPr lang="en-US" altLang="de-DE" sz="1200" dirty="0">
              <a:solidFill>
                <a:schemeClr val="accent2"/>
              </a:solidFill>
            </a:endParaRPr>
          </a:p>
        </p:txBody>
      </p:sp>
      <p:sp>
        <p:nvSpPr>
          <p:cNvPr id="49188" name="Text Box 15"/>
          <p:cNvSpPr txBox="1">
            <a:spLocks noChangeArrowheads="1"/>
          </p:cNvSpPr>
          <p:nvPr/>
        </p:nvSpPr>
        <p:spPr bwMode="auto">
          <a:xfrm>
            <a:off x="6623967" y="1821285"/>
            <a:ext cx="665247" cy="215444"/>
          </a:xfrm>
          <a:prstGeom prst="rect">
            <a:avLst/>
          </a:prstGeom>
          <a:noFill/>
          <a:ln>
            <a:noFill/>
          </a:ln>
          <a:effectLst/>
          <a:extLst>
            <a:ext uri="{909E8E84-426E-40DD-AFC4-6F175D3DCCD1}">
              <a14:hiddenFill xmlns:a14="http://schemas.microsoft.com/office/drawing/2010/main">
                <a:solidFill>
                  <a:srgbClr val="DEEDF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r>
              <a:rPr lang="en-US" altLang="de-DE" sz="1400" dirty="0" smtClean="0">
                <a:solidFill>
                  <a:schemeClr val="accent2"/>
                </a:solidFill>
              </a:rPr>
              <a:t>Importer</a:t>
            </a:r>
            <a:endParaRPr lang="en-US" altLang="de-DE" sz="1400" dirty="0">
              <a:solidFill>
                <a:schemeClr val="accent2"/>
              </a:solidFill>
            </a:endParaRPr>
          </a:p>
        </p:txBody>
      </p:sp>
      <p:sp>
        <p:nvSpPr>
          <p:cNvPr id="49189" name="Line 60"/>
          <p:cNvSpPr>
            <a:spLocks noChangeShapeType="1"/>
          </p:cNvSpPr>
          <p:nvPr/>
        </p:nvSpPr>
        <p:spPr bwMode="auto">
          <a:xfrm flipV="1">
            <a:off x="7425839" y="3717199"/>
            <a:ext cx="0" cy="273113"/>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49190" name="Rectangle 63"/>
          <p:cNvSpPr>
            <a:spLocks noChangeArrowheads="1"/>
          </p:cNvSpPr>
          <p:nvPr/>
        </p:nvSpPr>
        <p:spPr bwMode="auto">
          <a:xfrm>
            <a:off x="8759647" y="5014486"/>
            <a:ext cx="71455" cy="95272"/>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91" name="Rectangle 64"/>
          <p:cNvSpPr>
            <a:spLocks noChangeArrowheads="1"/>
          </p:cNvSpPr>
          <p:nvPr/>
        </p:nvSpPr>
        <p:spPr bwMode="auto">
          <a:xfrm>
            <a:off x="8975598" y="5038305"/>
            <a:ext cx="144496" cy="71454"/>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92" name="AutoShape 65"/>
          <p:cNvSpPr>
            <a:spLocks noChangeArrowheads="1"/>
          </p:cNvSpPr>
          <p:nvPr/>
        </p:nvSpPr>
        <p:spPr bwMode="auto">
          <a:xfrm>
            <a:off x="8904144" y="5230436"/>
            <a:ext cx="107975" cy="95272"/>
          </a:xfrm>
          <a:prstGeom prst="plus">
            <a:avLst>
              <a:gd name="adj" fmla="val 25000"/>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901186" name="AutoShape 66"/>
          <p:cNvSpPr>
            <a:spLocks noChangeArrowheads="1"/>
          </p:cNvSpPr>
          <p:nvPr/>
        </p:nvSpPr>
        <p:spPr bwMode="auto">
          <a:xfrm>
            <a:off x="8904145" y="5517840"/>
            <a:ext cx="142908" cy="9527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49194" name="Text Box 67"/>
          <p:cNvSpPr txBox="1">
            <a:spLocks noChangeArrowheads="1"/>
          </p:cNvSpPr>
          <p:nvPr/>
        </p:nvSpPr>
        <p:spPr bwMode="auto">
          <a:xfrm>
            <a:off x="8543698" y="4943033"/>
            <a:ext cx="2952258" cy="76944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714375" indent="-714375">
              <a:defRPr>
                <a:solidFill>
                  <a:schemeClr val="tx1"/>
                </a:solidFill>
                <a:latin typeface="Arial" charset="0"/>
              </a:defRPr>
            </a:lvl1pPr>
            <a:lvl2pPr marL="893763" indent="-188913">
              <a:defRPr>
                <a:solidFill>
                  <a:schemeClr val="tx1"/>
                </a:solidFill>
                <a:latin typeface="Arial" charset="0"/>
              </a:defRPr>
            </a:lvl2pPr>
            <a:lvl3pPr marL="1073150" indent="-187325">
              <a:defRPr>
                <a:solidFill>
                  <a:schemeClr val="tx1"/>
                </a:solidFill>
                <a:latin typeface="Arial" charset="0"/>
              </a:defRPr>
            </a:lvl3pPr>
            <a:lvl4pPr marL="1325563" indent="-182563">
              <a:defRPr>
                <a:solidFill>
                  <a:schemeClr val="tx1"/>
                </a:solidFill>
                <a:latin typeface="Arial" charset="0"/>
              </a:defRPr>
            </a:lvl4pPr>
            <a:lvl5pPr marL="1698625" indent="-182563">
              <a:defRPr>
                <a:solidFill>
                  <a:schemeClr val="tx1"/>
                </a:solidFill>
                <a:latin typeface="Arial" charset="0"/>
              </a:defRPr>
            </a:lvl5pPr>
            <a:lvl6pPr marL="2155825" indent="-182563" algn="r" eaLnBrk="0" fontAlgn="base" hangingPunct="0">
              <a:spcBef>
                <a:spcPct val="0"/>
              </a:spcBef>
              <a:spcAft>
                <a:spcPct val="0"/>
              </a:spcAft>
              <a:defRPr>
                <a:solidFill>
                  <a:schemeClr val="tx1"/>
                </a:solidFill>
                <a:latin typeface="Arial" charset="0"/>
              </a:defRPr>
            </a:lvl6pPr>
            <a:lvl7pPr marL="2613025" indent="-182563" algn="r" eaLnBrk="0" fontAlgn="base" hangingPunct="0">
              <a:spcBef>
                <a:spcPct val="0"/>
              </a:spcBef>
              <a:spcAft>
                <a:spcPct val="0"/>
              </a:spcAft>
              <a:defRPr>
                <a:solidFill>
                  <a:schemeClr val="tx1"/>
                </a:solidFill>
                <a:latin typeface="Arial" charset="0"/>
              </a:defRPr>
            </a:lvl7pPr>
            <a:lvl8pPr marL="3070225" indent="-182563" algn="r" eaLnBrk="0" fontAlgn="base" hangingPunct="0">
              <a:spcBef>
                <a:spcPct val="0"/>
              </a:spcBef>
              <a:spcAft>
                <a:spcPct val="0"/>
              </a:spcAft>
              <a:defRPr>
                <a:solidFill>
                  <a:schemeClr val="tx1"/>
                </a:solidFill>
                <a:latin typeface="Arial" charset="0"/>
              </a:defRPr>
            </a:lvl8pPr>
            <a:lvl9pPr marL="3527425" indent="-182563" algn="r" eaLnBrk="0" fontAlgn="base" hangingPunct="0">
              <a:spcBef>
                <a:spcPct val="0"/>
              </a:spcBef>
              <a:spcAft>
                <a:spcPct val="0"/>
              </a:spcAft>
              <a:defRPr>
                <a:solidFill>
                  <a:schemeClr val="tx1"/>
                </a:solidFill>
                <a:latin typeface="Arial" charset="0"/>
              </a:defRPr>
            </a:lvl9pPr>
          </a:lstStyle>
          <a:p>
            <a:pPr algn="l">
              <a:spcBef>
                <a:spcPct val="100000"/>
              </a:spcBef>
            </a:pPr>
            <a:r>
              <a:rPr lang="en-US" altLang="de-DE" sz="1400" dirty="0" smtClean="0">
                <a:solidFill>
                  <a:srgbClr val="DEEDFA"/>
                </a:solidFill>
              </a:rPr>
              <a:t>…</a:t>
            </a:r>
            <a:r>
              <a:rPr lang="en-US" altLang="de-DE" sz="1400" dirty="0" smtClean="0"/>
              <a:t>         	</a:t>
            </a:r>
            <a:r>
              <a:rPr lang="en-US" altLang="de-DE" sz="1200" b="1" dirty="0" smtClean="0"/>
              <a:t>Substance </a:t>
            </a:r>
          </a:p>
          <a:p>
            <a:pPr algn="l">
              <a:spcBef>
                <a:spcPct val="50000"/>
              </a:spcBef>
            </a:pPr>
            <a:r>
              <a:rPr lang="en-US" altLang="de-DE" sz="1200" b="1" dirty="0" smtClean="0"/>
              <a:t>                 Preparation / mixture   </a:t>
            </a:r>
          </a:p>
          <a:p>
            <a:pPr algn="l">
              <a:spcBef>
                <a:spcPct val="50000"/>
              </a:spcBef>
            </a:pPr>
            <a:r>
              <a:rPr lang="en-US" altLang="de-DE" sz="1200" b="1" dirty="0" smtClean="0"/>
              <a:t>                 Article</a:t>
            </a:r>
            <a:endParaRPr lang="en-US" altLang="de-DE" sz="1200" b="1" dirty="0"/>
          </a:p>
        </p:txBody>
      </p:sp>
      <p:sp>
        <p:nvSpPr>
          <p:cNvPr id="49195" name="Rectangle 34"/>
          <p:cNvSpPr>
            <a:spLocks noChangeArrowheads="1"/>
          </p:cNvSpPr>
          <p:nvPr/>
        </p:nvSpPr>
        <p:spPr bwMode="auto">
          <a:xfrm>
            <a:off x="5709355" y="2807351"/>
            <a:ext cx="195307" cy="144496"/>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96" name="Rectangle 34"/>
          <p:cNvSpPr>
            <a:spLocks noChangeArrowheads="1"/>
          </p:cNvSpPr>
          <p:nvPr/>
        </p:nvSpPr>
        <p:spPr bwMode="auto">
          <a:xfrm>
            <a:off x="5015457" y="4150686"/>
            <a:ext cx="195308" cy="142908"/>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97" name="Rectangle 35"/>
          <p:cNvSpPr>
            <a:spLocks noChangeArrowheads="1"/>
          </p:cNvSpPr>
          <p:nvPr/>
        </p:nvSpPr>
        <p:spPr bwMode="auto">
          <a:xfrm>
            <a:off x="4804271" y="4041124"/>
            <a:ext cx="142908" cy="288992"/>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198" name="Line 57"/>
          <p:cNvSpPr>
            <a:spLocks noChangeShapeType="1"/>
          </p:cNvSpPr>
          <p:nvPr/>
        </p:nvSpPr>
        <p:spPr bwMode="auto">
          <a:xfrm flipH="1">
            <a:off x="7617972" y="2316700"/>
            <a:ext cx="1430668" cy="1733951"/>
          </a:xfrm>
          <a:custGeom>
            <a:avLst/>
            <a:gdLst>
              <a:gd name="T0" fmla="*/ 0 w 1353712"/>
              <a:gd name="T1" fmla="*/ 0 h 955676"/>
              <a:gd name="T2" fmla="*/ 3267629 w 1353712"/>
              <a:gd name="T3" fmla="*/ 2147483647 h 955676"/>
              <a:gd name="T4" fmla="*/ 0 60000 65536"/>
              <a:gd name="T5" fmla="*/ 0 60000 65536"/>
            </a:gdLst>
            <a:ahLst/>
            <a:cxnLst>
              <a:cxn ang="T4">
                <a:pos x="T0" y="T1"/>
              </a:cxn>
              <a:cxn ang="T5">
                <a:pos x="T2" y="T3"/>
              </a:cxn>
            </a:cxnLst>
            <a:rect l="0" t="0" r="r" b="b"/>
            <a:pathLst>
              <a:path w="1353712" h="955676">
                <a:moveTo>
                  <a:pt x="0" y="0"/>
                </a:moveTo>
                <a:cubicBezTo>
                  <a:pt x="432187" y="312209"/>
                  <a:pt x="921525" y="643467"/>
                  <a:pt x="1353712" y="955676"/>
                </a:cubicBezTo>
              </a:path>
            </a:pathLst>
          </a:custGeom>
          <a:noFill/>
          <a:ln w="19050">
            <a:solidFill>
              <a:schemeClr val="tx1"/>
            </a:solidFill>
            <a:round/>
            <a:headEn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pic>
        <p:nvPicPr>
          <p:cNvPr id="49199" name="Picture 14" descr="Piktogramm">
            <a:hlinkClick r:id="rId5"/>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54349" y="2889919"/>
            <a:ext cx="363622" cy="362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200" name="Text Box 26"/>
          <p:cNvSpPr txBox="1">
            <a:spLocks noChangeArrowheads="1"/>
          </p:cNvSpPr>
          <p:nvPr/>
        </p:nvSpPr>
        <p:spPr bwMode="auto">
          <a:xfrm>
            <a:off x="6722142" y="3286886"/>
            <a:ext cx="140262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pPr algn="ctr"/>
            <a:r>
              <a:rPr lang="en-US" altLang="de-DE" sz="1400" dirty="0" smtClean="0">
                <a:solidFill>
                  <a:schemeClr val="accent2"/>
                </a:solidFill>
              </a:rPr>
              <a:t>Downstream user</a:t>
            </a:r>
            <a:endParaRPr lang="en-US" altLang="de-DE" sz="1400" dirty="0">
              <a:solidFill>
                <a:schemeClr val="accent2"/>
              </a:solidFill>
            </a:endParaRPr>
          </a:p>
        </p:txBody>
      </p:sp>
      <p:sp>
        <p:nvSpPr>
          <p:cNvPr id="49201" name="Line 51"/>
          <p:cNvSpPr>
            <a:spLocks noChangeShapeType="1"/>
          </p:cNvSpPr>
          <p:nvPr/>
        </p:nvSpPr>
        <p:spPr bwMode="auto">
          <a:xfrm flipH="1">
            <a:off x="7617972" y="2183319"/>
            <a:ext cx="1394148" cy="887617"/>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51" name="AutoShape 47"/>
          <p:cNvSpPr>
            <a:spLocks noChangeArrowheads="1"/>
          </p:cNvSpPr>
          <p:nvPr/>
        </p:nvSpPr>
        <p:spPr bwMode="auto">
          <a:xfrm>
            <a:off x="7592566" y="2589813"/>
            <a:ext cx="287404" cy="28899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49203" name="Rectangle 45"/>
          <p:cNvSpPr>
            <a:spLocks noChangeArrowheads="1"/>
          </p:cNvSpPr>
          <p:nvPr/>
        </p:nvSpPr>
        <p:spPr bwMode="auto">
          <a:xfrm>
            <a:off x="6639846" y="2951847"/>
            <a:ext cx="142908" cy="287404"/>
          </a:xfrm>
          <a:prstGeom prst="rect">
            <a:avLst/>
          </a:prstGeom>
          <a:solidFill>
            <a:srgbClr val="FF9933"/>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algn="r" eaLnBrk="0" fontAlgn="base" hangingPunct="0">
              <a:spcBef>
                <a:spcPct val="0"/>
              </a:spcBef>
              <a:spcAft>
                <a:spcPct val="0"/>
              </a:spcAft>
              <a:defRPr>
                <a:solidFill>
                  <a:schemeClr val="tx1"/>
                </a:solidFill>
                <a:latin typeface="Arial" charset="0"/>
              </a:defRPr>
            </a:lvl6pPr>
            <a:lvl7pPr marL="2971800" indent="-228600" algn="r" eaLnBrk="0" fontAlgn="base" hangingPunct="0">
              <a:spcBef>
                <a:spcPct val="0"/>
              </a:spcBef>
              <a:spcAft>
                <a:spcPct val="0"/>
              </a:spcAft>
              <a:defRPr>
                <a:solidFill>
                  <a:schemeClr val="tx1"/>
                </a:solidFill>
                <a:latin typeface="Arial" charset="0"/>
              </a:defRPr>
            </a:lvl7pPr>
            <a:lvl8pPr marL="3429000" indent="-228600" algn="r" eaLnBrk="0" fontAlgn="base" hangingPunct="0">
              <a:spcBef>
                <a:spcPct val="0"/>
              </a:spcBef>
              <a:spcAft>
                <a:spcPct val="0"/>
              </a:spcAft>
              <a:defRPr>
                <a:solidFill>
                  <a:schemeClr val="tx1"/>
                </a:solidFill>
                <a:latin typeface="Arial" charset="0"/>
              </a:defRPr>
            </a:lvl8pPr>
            <a:lvl9pPr marL="3886200" indent="-228600" algn="r" eaLnBrk="0" fontAlgn="base" hangingPunct="0">
              <a:spcBef>
                <a:spcPct val="0"/>
              </a:spcBef>
              <a:spcAft>
                <a:spcPct val="0"/>
              </a:spcAft>
              <a:defRPr>
                <a:solidFill>
                  <a:schemeClr val="tx1"/>
                </a:solidFill>
                <a:latin typeface="Arial" charset="0"/>
              </a:defRPr>
            </a:lvl9pPr>
          </a:lstStyle>
          <a:p>
            <a:endParaRPr lang="en-US" altLang="de-DE" dirty="0"/>
          </a:p>
        </p:txBody>
      </p:sp>
      <p:sp>
        <p:nvSpPr>
          <p:cNvPr id="49204" name="Line 51"/>
          <p:cNvSpPr>
            <a:spLocks noChangeShapeType="1"/>
          </p:cNvSpPr>
          <p:nvPr/>
        </p:nvSpPr>
        <p:spPr bwMode="auto">
          <a:xfrm flipH="1">
            <a:off x="5879257" y="3142391"/>
            <a:ext cx="1375093" cy="411257"/>
          </a:xfrm>
          <a:prstGeom prst="line">
            <a:avLst/>
          </a:prstGeom>
          <a:noFill/>
          <a:ln w="190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endParaRPr lang="en-US" dirty="0"/>
          </a:p>
        </p:txBody>
      </p:sp>
      <p:sp>
        <p:nvSpPr>
          <p:cNvPr id="54" name="AutoShape 47"/>
          <p:cNvSpPr>
            <a:spLocks noChangeArrowheads="1"/>
          </p:cNvSpPr>
          <p:nvPr/>
        </p:nvSpPr>
        <p:spPr bwMode="auto">
          <a:xfrm>
            <a:off x="6277812" y="3009010"/>
            <a:ext cx="287404" cy="288992"/>
          </a:xfrm>
          <a:prstGeom prst="star5">
            <a:avLst/>
          </a:prstGeom>
          <a:solidFill>
            <a:srgbClr val="FFFF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dirty="0"/>
          </a:p>
        </p:txBody>
      </p:sp>
      <p:sp>
        <p:nvSpPr>
          <p:cNvPr id="55" name="Text Placeholder 6"/>
          <p:cNvSpPr txBox="1">
            <a:spLocks/>
          </p:cNvSpPr>
          <p:nvPr/>
        </p:nvSpPr>
        <p:spPr>
          <a:xfrm>
            <a:off x="694456" y="1439804"/>
            <a:ext cx="10944344" cy="45719"/>
          </a:xfrm>
          <a:prstGeom prst="rect">
            <a:avLst/>
          </a:prstGeom>
        </p:spPr>
        <p:txBody>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r>
              <a:rPr lang="en-US" sz="1800" dirty="0" smtClean="0">
                <a:solidFill>
                  <a:schemeClr val="accent1">
                    <a:lumMod val="75000"/>
                    <a:lumOff val="25000"/>
                  </a:schemeClr>
                </a:solidFill>
              </a:rPr>
              <a:t>Duties according to your role</a:t>
            </a:r>
            <a:endParaRPr lang="en-US" sz="1800" dirty="0">
              <a:solidFill>
                <a:schemeClr val="accent1">
                  <a:lumMod val="75000"/>
                  <a:lumOff val="25000"/>
                </a:schemeClr>
              </a:solidFill>
            </a:endParaRPr>
          </a:p>
        </p:txBody>
      </p:sp>
    </p:spTree>
    <p:extLst>
      <p:ext uri="{BB962C8B-B14F-4D97-AF65-F5344CB8AC3E}">
        <p14:creationId xmlns:p14="http://schemas.microsoft.com/office/powerpoint/2010/main" val="21490700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p:txBody>
          <a:bodyPr/>
          <a:lstStyle/>
          <a:p>
            <a:pPr marL="342900" indent="-342900">
              <a:buFont typeface="+mj-lt"/>
              <a:buAutoNum type="arabicPeriod"/>
            </a:pPr>
            <a:r>
              <a:rPr lang="en-US" sz="1800" dirty="0" smtClean="0"/>
              <a:t>REACH requires all companies manufacturing or placing a substance on the EU market in quantities greater than 1t/year to register that substance with the European Chemicals Agency (ECHA).</a:t>
            </a:r>
          </a:p>
          <a:p>
            <a:pPr marL="342900" indent="-342900">
              <a:buFont typeface="+mj-lt"/>
              <a:buAutoNum type="arabicPeriod"/>
            </a:pPr>
            <a:r>
              <a:rPr lang="en-US" sz="1800" dirty="0" smtClean="0"/>
              <a:t>Deadlines for registration depend on tonnage of substance</a:t>
            </a:r>
          </a:p>
          <a:p>
            <a:pPr marL="342900" indent="-342900">
              <a:buFont typeface="+mj-lt"/>
              <a:buAutoNum type="arabicPeriod"/>
            </a:pPr>
            <a:r>
              <a:rPr lang="en-US" sz="1800" dirty="0" smtClean="0"/>
              <a:t>Registration dossier has to be in IUCLID format</a:t>
            </a:r>
          </a:p>
          <a:p>
            <a:pPr marL="342900" indent="-342900">
              <a:buFont typeface="+mj-lt"/>
              <a:buAutoNum type="arabicPeriod"/>
            </a:pPr>
            <a:r>
              <a:rPr lang="en-US" sz="1800" dirty="0" smtClean="0"/>
              <a:t>IUCLID: Software to record, store, maintain and exchange data on intrinsic and hazard properties of chemical substances</a:t>
            </a:r>
          </a:p>
          <a:p>
            <a:pPr marL="342900" indent="-342900">
              <a:buFont typeface="+mj-lt"/>
              <a:buAutoNum type="arabicPeriod"/>
            </a:pPr>
            <a:r>
              <a:rPr lang="en-US" sz="1800" dirty="0" smtClean="0"/>
              <a:t>ECHA and OECD developed this software, use is free of charge </a:t>
            </a:r>
          </a:p>
          <a:p>
            <a:pPr marL="342900" indent="-342900">
              <a:buFont typeface="+mj-lt"/>
              <a:buAutoNum type="arabicPeriod"/>
            </a:pPr>
            <a:endParaRPr lang="en-US" sz="1600" dirty="0" smtClean="0"/>
          </a:p>
          <a:p>
            <a:endParaRPr lang="en-US" dirty="0"/>
          </a:p>
        </p:txBody>
      </p:sp>
      <p:sp>
        <p:nvSpPr>
          <p:cNvPr id="7" name="Text Placeholder 6"/>
          <p:cNvSpPr>
            <a:spLocks noGrp="1"/>
          </p:cNvSpPr>
          <p:nvPr>
            <p:ph type="body" sz="quarter" idx="14"/>
          </p:nvPr>
        </p:nvSpPr>
        <p:spPr/>
        <p:txBody>
          <a:bodyPr/>
          <a:lstStyle/>
          <a:p>
            <a:r>
              <a:rPr lang="en-US" dirty="0" smtClean="0"/>
              <a:t>Duties according to your role</a:t>
            </a:r>
            <a:endParaRPr lang="en-US" dirty="0"/>
          </a:p>
        </p:txBody>
      </p:sp>
      <p:pic>
        <p:nvPicPr>
          <p:cNvPr id="8" name="Picture 7"/>
          <p:cNvPicPr>
            <a:picLocks noChangeAspect="1"/>
          </p:cNvPicPr>
          <p:nvPr/>
        </p:nvPicPr>
        <p:blipFill>
          <a:blip r:embed="rId3"/>
          <a:stretch>
            <a:fillRect/>
          </a:stretch>
        </p:blipFill>
        <p:spPr>
          <a:xfrm>
            <a:off x="2350686" y="3975790"/>
            <a:ext cx="4149855" cy="2883798"/>
          </a:xfrm>
          <a:prstGeom prst="rect">
            <a:avLst/>
          </a:prstGeom>
        </p:spPr>
      </p:pic>
    </p:spTree>
    <p:extLst>
      <p:ext uri="{BB962C8B-B14F-4D97-AF65-F5344CB8AC3E}">
        <p14:creationId xmlns:p14="http://schemas.microsoft.com/office/powerpoint/2010/main" val="394043110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t> Legal requirement according to</a:t>
            </a:r>
            <a:r>
              <a:rPr lang="en-US" dirty="0" smtClean="0"/>
              <a:t> REACH Regulation</a:t>
            </a:r>
            <a:endParaRPr lang="en-US" dirty="0"/>
          </a:p>
        </p:txBody>
      </p:sp>
      <p:sp>
        <p:nvSpPr>
          <p:cNvPr id="3" name="Date Placeholder 2"/>
          <p:cNvSpPr>
            <a:spLocks noGrp="1"/>
          </p:cNvSpPr>
          <p:nvPr>
            <p:ph type="dt" sz="half" idx="4294967295"/>
          </p:nvPr>
        </p:nvSpPr>
        <p:spPr/>
        <p:txBody>
          <a:bodyPr/>
          <a:lstStyle/>
          <a:p>
            <a:endParaRPr lang="en-US" dirty="0"/>
          </a:p>
        </p:txBody>
      </p:sp>
      <p:sp>
        <p:nvSpPr>
          <p:cNvPr id="6" name="Text Placeholder 5"/>
          <p:cNvSpPr>
            <a:spLocks noGrp="1"/>
          </p:cNvSpPr>
          <p:nvPr>
            <p:ph type="body" sz="quarter" idx="13"/>
          </p:nvPr>
        </p:nvSpPr>
        <p:spPr/>
        <p:txBody>
          <a:bodyPr/>
          <a:lstStyle/>
          <a:p>
            <a:r>
              <a:rPr lang="en-US" dirty="0" smtClean="0"/>
              <a:t>The obligation of producer / importer</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2050424519"/>
              </p:ext>
            </p:extLst>
          </p:nvPr>
        </p:nvGraphicFramePr>
        <p:xfrm>
          <a:off x="550486" y="1700210"/>
          <a:ext cx="11089062" cy="4289095"/>
        </p:xfrm>
        <a:graphic>
          <a:graphicData uri="http://schemas.openxmlformats.org/drawingml/2006/table">
            <a:tbl>
              <a:tblPr firstRow="1" bandRow="1"/>
              <a:tblGrid>
                <a:gridCol w="1848177">
                  <a:extLst>
                    <a:ext uri="{9D8B030D-6E8A-4147-A177-3AD203B41FA5}">
                      <a16:colId xmlns:a16="http://schemas.microsoft.com/office/drawing/2014/main" val="3486833340"/>
                    </a:ext>
                  </a:extLst>
                </a:gridCol>
                <a:gridCol w="1848177">
                  <a:extLst>
                    <a:ext uri="{9D8B030D-6E8A-4147-A177-3AD203B41FA5}">
                      <a16:colId xmlns:a16="http://schemas.microsoft.com/office/drawing/2014/main" val="2269427355"/>
                    </a:ext>
                  </a:extLst>
                </a:gridCol>
                <a:gridCol w="1848177">
                  <a:extLst>
                    <a:ext uri="{9D8B030D-6E8A-4147-A177-3AD203B41FA5}">
                      <a16:colId xmlns:a16="http://schemas.microsoft.com/office/drawing/2014/main" val="247779742"/>
                    </a:ext>
                  </a:extLst>
                </a:gridCol>
                <a:gridCol w="1848177">
                  <a:extLst>
                    <a:ext uri="{9D8B030D-6E8A-4147-A177-3AD203B41FA5}">
                      <a16:colId xmlns:a16="http://schemas.microsoft.com/office/drawing/2014/main" val="3521667829"/>
                    </a:ext>
                  </a:extLst>
                </a:gridCol>
                <a:gridCol w="1848177">
                  <a:extLst>
                    <a:ext uri="{9D8B030D-6E8A-4147-A177-3AD203B41FA5}">
                      <a16:colId xmlns:a16="http://schemas.microsoft.com/office/drawing/2014/main" val="157405591"/>
                    </a:ext>
                  </a:extLst>
                </a:gridCol>
                <a:gridCol w="1848177">
                  <a:extLst>
                    <a:ext uri="{9D8B030D-6E8A-4147-A177-3AD203B41FA5}">
                      <a16:colId xmlns:a16="http://schemas.microsoft.com/office/drawing/2014/main" val="1618780251"/>
                    </a:ext>
                  </a:extLst>
                </a:gridCol>
              </a:tblGrid>
              <a:tr h="565211">
                <a:tc>
                  <a:txBody>
                    <a:bodyPr/>
                    <a:lstStyle/>
                    <a:p>
                      <a:pPr algn="ctr"/>
                      <a:r>
                        <a:rPr lang="en-US" sz="1400" b="1" dirty="0" smtClean="0">
                          <a:solidFill>
                            <a:schemeClr val="tx2"/>
                          </a:solidFill>
                        </a:rPr>
                        <a:t>Case</a:t>
                      </a:r>
                      <a:endParaRPr lang="en-GB" sz="1400" b="1" dirty="0">
                        <a:solidFill>
                          <a:schemeClr val="tx2"/>
                        </a:solidFill>
                      </a:endParaRPr>
                    </a:p>
                  </a:txBody>
                  <a:tcPr anchor="ctr"/>
                </a:tc>
                <a:tc>
                  <a:txBody>
                    <a:bodyPr/>
                    <a:lstStyle/>
                    <a:p>
                      <a:pPr algn="ctr"/>
                      <a:r>
                        <a:rPr lang="en-US" sz="1400" b="1" dirty="0" smtClean="0">
                          <a:solidFill>
                            <a:schemeClr val="tx2"/>
                          </a:solidFill>
                        </a:rPr>
                        <a:t>SVHC concentration</a:t>
                      </a:r>
                      <a:endParaRPr lang="en-GB" sz="1400" b="1" dirty="0">
                        <a:solidFill>
                          <a:schemeClr val="tx2"/>
                        </a:solidFill>
                      </a:endParaRPr>
                    </a:p>
                  </a:txBody>
                  <a:tcPr anchor="ctr"/>
                </a:tc>
                <a:tc>
                  <a:txBody>
                    <a:bodyPr/>
                    <a:lstStyle/>
                    <a:p>
                      <a:pPr algn="ctr"/>
                      <a:r>
                        <a:rPr lang="en-US" sz="1400" b="1" dirty="0" smtClean="0">
                          <a:solidFill>
                            <a:schemeClr val="tx2"/>
                          </a:solidFill>
                        </a:rPr>
                        <a:t>Quantity per </a:t>
                      </a:r>
                      <a:r>
                        <a:rPr lang="en-US" sz="1400" b="1" baseline="0" dirty="0" smtClean="0">
                          <a:solidFill>
                            <a:schemeClr val="tx2"/>
                          </a:solidFill>
                        </a:rPr>
                        <a:t>year</a:t>
                      </a:r>
                      <a:endParaRPr lang="en-GB" sz="1400" b="1" dirty="0">
                        <a:solidFill>
                          <a:schemeClr val="tx2"/>
                        </a:solidFill>
                      </a:endParaRPr>
                    </a:p>
                  </a:txBody>
                  <a:tcPr anchor="ctr"/>
                </a:tc>
                <a:tc>
                  <a:txBody>
                    <a:bodyPr/>
                    <a:lstStyle/>
                    <a:p>
                      <a:pPr algn="ctr"/>
                      <a:r>
                        <a:rPr lang="en-US" sz="1400" b="1" dirty="0" smtClean="0">
                          <a:solidFill>
                            <a:schemeClr val="tx2"/>
                          </a:solidFill>
                        </a:rPr>
                        <a:t>obligation</a:t>
                      </a:r>
                      <a:endParaRPr lang="en-GB" sz="1400" b="1" dirty="0">
                        <a:solidFill>
                          <a:schemeClr val="tx2"/>
                        </a:solidFill>
                      </a:endParaRPr>
                    </a:p>
                  </a:txBody>
                  <a:tcPr anchor="ctr"/>
                </a:tc>
                <a:tc>
                  <a:txBody>
                    <a:bodyPr/>
                    <a:lstStyle/>
                    <a:p>
                      <a:pPr algn="ctr"/>
                      <a:r>
                        <a:rPr lang="en-US" sz="1400" b="1" dirty="0" smtClean="0">
                          <a:solidFill>
                            <a:schemeClr val="tx2"/>
                          </a:solidFill>
                        </a:rPr>
                        <a:t>To</a:t>
                      </a:r>
                      <a:endParaRPr lang="en-GB" sz="1400" b="1" dirty="0">
                        <a:solidFill>
                          <a:schemeClr val="tx2"/>
                        </a:solidFill>
                      </a:endParaRPr>
                    </a:p>
                  </a:txBody>
                  <a:tcPr anchor="ctr"/>
                </a:tc>
                <a:tc>
                  <a:txBody>
                    <a:bodyPr/>
                    <a:lstStyle/>
                    <a:p>
                      <a:pPr algn="ctr"/>
                      <a:r>
                        <a:rPr lang="en-US" sz="1400" b="1" dirty="0" smtClean="0">
                          <a:solidFill>
                            <a:schemeClr val="tx2"/>
                          </a:solidFill>
                        </a:rPr>
                        <a:t>Regulation</a:t>
                      </a:r>
                      <a:endParaRPr lang="en-GB" sz="1400" b="1" dirty="0">
                        <a:solidFill>
                          <a:schemeClr val="tx2"/>
                        </a:solidFill>
                      </a:endParaRPr>
                    </a:p>
                  </a:txBody>
                  <a:tcPr anchor="ctr"/>
                </a:tc>
                <a:extLst>
                  <a:ext uri="{0D108BD9-81ED-4DB2-BD59-A6C34878D82A}">
                    <a16:rowId xmlns:a16="http://schemas.microsoft.com/office/drawing/2014/main" val="2579342607"/>
                  </a:ext>
                </a:extLst>
              </a:tr>
              <a:tr h="565211">
                <a:tc rowSpan="5">
                  <a:txBody>
                    <a:bodyPr/>
                    <a:lstStyle/>
                    <a:p>
                      <a:pPr algn="ctr"/>
                      <a:r>
                        <a:rPr lang="en-US" sz="1400" b="1" dirty="0" smtClean="0">
                          <a:solidFill>
                            <a:schemeClr val="tx2"/>
                          </a:solidFill>
                        </a:rPr>
                        <a:t>Article contains SVHC</a:t>
                      </a:r>
                      <a:endParaRPr lang="en-GB" sz="1400" b="1" dirty="0">
                        <a:solidFill>
                          <a:schemeClr val="tx2"/>
                        </a:solidFill>
                      </a:endParaRPr>
                    </a:p>
                  </a:txBody>
                  <a:tcPr anchor="ctr"/>
                </a:tc>
                <a:tc rowSpan="4">
                  <a:txBody>
                    <a:bodyPr/>
                    <a:lstStyle/>
                    <a:p>
                      <a:pPr algn="ctr"/>
                      <a:r>
                        <a:rPr lang="en-US" sz="1400" b="1" dirty="0" smtClean="0">
                          <a:solidFill>
                            <a:schemeClr val="tx2"/>
                          </a:solidFill>
                        </a:rPr>
                        <a:t>&gt; 0.1%</a:t>
                      </a:r>
                      <a:r>
                        <a:rPr lang="en-US" sz="1400" b="1" baseline="0" dirty="0" smtClean="0">
                          <a:solidFill>
                            <a:schemeClr val="tx2"/>
                          </a:solidFill>
                        </a:rPr>
                        <a:t> (w/w)</a:t>
                      </a:r>
                      <a:endParaRPr lang="en-GB" sz="1400" b="1" dirty="0">
                        <a:solidFill>
                          <a:schemeClr val="tx2"/>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2"/>
                          </a:solidFill>
                        </a:rPr>
                        <a:t>&gt; 1 t</a:t>
                      </a:r>
                      <a:endParaRPr lang="en-GB" sz="1400" b="1" dirty="0" smtClean="0">
                        <a:solidFill>
                          <a:schemeClr val="tx2"/>
                        </a:solidFill>
                      </a:endParaRPr>
                    </a:p>
                  </a:txBody>
                  <a:tcPr anchor="ctr"/>
                </a:tc>
                <a:tc>
                  <a:txBody>
                    <a:bodyPr/>
                    <a:lstStyle/>
                    <a:p>
                      <a:pPr algn="ctr"/>
                      <a:r>
                        <a:rPr lang="en-US" sz="1400" b="1" dirty="0" smtClean="0">
                          <a:solidFill>
                            <a:schemeClr val="tx2"/>
                          </a:solidFill>
                        </a:rPr>
                        <a:t>Notification</a:t>
                      </a:r>
                      <a:endParaRPr lang="en-GB" sz="1400" b="1" dirty="0">
                        <a:solidFill>
                          <a:schemeClr val="tx2"/>
                        </a:solidFill>
                      </a:endParaRPr>
                    </a:p>
                  </a:txBody>
                  <a:tcPr anchor="ctr"/>
                </a:tc>
                <a:tc>
                  <a:txBody>
                    <a:bodyPr/>
                    <a:lstStyle/>
                    <a:p>
                      <a:pPr algn="ctr"/>
                      <a:r>
                        <a:rPr lang="en-US" sz="1400" b="1" dirty="0" smtClean="0">
                          <a:solidFill>
                            <a:schemeClr val="tx2"/>
                          </a:solidFill>
                        </a:rPr>
                        <a:t>ECHA</a:t>
                      </a:r>
                      <a:endParaRPr lang="en-GB" sz="1400" b="1" dirty="0">
                        <a:solidFill>
                          <a:schemeClr val="tx2"/>
                        </a:solidFill>
                      </a:endParaRPr>
                    </a:p>
                  </a:txBody>
                  <a:tcPr anchor="ctr"/>
                </a:tc>
                <a:tc>
                  <a:txBody>
                    <a:bodyPr/>
                    <a:lstStyle/>
                    <a:p>
                      <a:pPr algn="ctr"/>
                      <a:r>
                        <a:rPr lang="en-US" sz="1400" b="1" dirty="0" smtClean="0">
                          <a:solidFill>
                            <a:schemeClr val="tx2"/>
                          </a:solidFill>
                        </a:rPr>
                        <a:t>Article 7 (2)</a:t>
                      </a:r>
                      <a:endParaRPr lang="en-GB" sz="1400" b="1" dirty="0">
                        <a:solidFill>
                          <a:schemeClr val="tx2"/>
                        </a:solidFill>
                      </a:endParaRPr>
                    </a:p>
                  </a:txBody>
                  <a:tcPr anchor="ctr"/>
                </a:tc>
                <a:extLst>
                  <a:ext uri="{0D108BD9-81ED-4DB2-BD59-A6C34878D82A}">
                    <a16:rowId xmlns:a16="http://schemas.microsoft.com/office/drawing/2014/main" val="2341814496"/>
                  </a:ext>
                </a:extLst>
              </a:tr>
              <a:tr h="565211">
                <a:tc vMerge="1">
                  <a:txBody>
                    <a:bodyPr/>
                    <a:lstStyle/>
                    <a:p>
                      <a:endParaRPr lang="en-GB" dirty="0"/>
                    </a:p>
                  </a:txBody>
                  <a:tcPr/>
                </a:tc>
                <a:tc vMerge="1">
                  <a:txBody>
                    <a:bodyPr/>
                    <a:lstStyle/>
                    <a:p>
                      <a:endParaRPr lang="en-GB" dirty="0"/>
                    </a:p>
                  </a:txBody>
                  <a:tcPr/>
                </a:tc>
                <a:tc>
                  <a:txBody>
                    <a:bodyPr/>
                    <a:lstStyle/>
                    <a:p>
                      <a:pPr algn="ctr"/>
                      <a:r>
                        <a:rPr lang="en-US" sz="1400" b="1" dirty="0" smtClean="0">
                          <a:solidFill>
                            <a:schemeClr val="tx2"/>
                          </a:solidFill>
                        </a:rPr>
                        <a:t>-</a:t>
                      </a:r>
                      <a:endParaRPr lang="en-GB" sz="1400" b="1" dirty="0">
                        <a:solidFill>
                          <a:schemeClr val="tx2"/>
                        </a:solidFill>
                      </a:endParaRPr>
                    </a:p>
                  </a:txBody>
                  <a:tcPr anchor="ctr">
                    <a:solidFill>
                      <a:schemeClr val="bg1">
                        <a:lumMod val="95000"/>
                      </a:schemeClr>
                    </a:solidFill>
                  </a:tcP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2"/>
                          </a:solidFill>
                        </a:rPr>
                        <a:t>Communication for safe use</a:t>
                      </a:r>
                    </a:p>
                  </a:txBody>
                  <a:tcPr anchor="ctr">
                    <a:solidFill>
                      <a:schemeClr val="bg1">
                        <a:lumMod val="95000"/>
                      </a:schemeClr>
                    </a:solidFill>
                  </a:tcPr>
                </a:tc>
                <a:tc>
                  <a:txBody>
                    <a:bodyPr/>
                    <a:lstStyle/>
                    <a:p>
                      <a:pPr algn="ctr"/>
                      <a:r>
                        <a:rPr lang="en-US" sz="1400" b="1" dirty="0" smtClean="0">
                          <a:solidFill>
                            <a:schemeClr val="tx2"/>
                          </a:solidFill>
                        </a:rPr>
                        <a:t>Buyer</a:t>
                      </a:r>
                      <a:r>
                        <a:rPr lang="en-US" sz="1400" b="1" baseline="0" dirty="0" smtClean="0">
                          <a:solidFill>
                            <a:schemeClr val="tx2"/>
                          </a:solidFill>
                        </a:rPr>
                        <a:t> (in the supply chain)</a:t>
                      </a:r>
                      <a:endParaRPr lang="en-GB" sz="1400" b="1" dirty="0">
                        <a:solidFill>
                          <a:schemeClr val="tx2"/>
                        </a:solidFill>
                      </a:endParaRPr>
                    </a:p>
                  </a:txBody>
                  <a:tcPr anchor="ctr">
                    <a:solidFill>
                      <a:schemeClr val="bg1">
                        <a:lumMod val="95000"/>
                      </a:schemeClr>
                    </a:solidFill>
                  </a:tcPr>
                </a:tc>
                <a:tc>
                  <a:txBody>
                    <a:bodyPr/>
                    <a:lstStyle/>
                    <a:p>
                      <a:pPr algn="ctr"/>
                      <a:r>
                        <a:rPr lang="en-US" sz="1400" b="1" dirty="0" smtClean="0">
                          <a:solidFill>
                            <a:schemeClr val="tx2"/>
                          </a:solidFill>
                        </a:rPr>
                        <a:t>Article 33</a:t>
                      </a:r>
                      <a:endParaRPr lang="en-GB" sz="1400" b="1" dirty="0">
                        <a:solidFill>
                          <a:schemeClr val="tx2"/>
                        </a:solidFill>
                      </a:endParaRPr>
                    </a:p>
                  </a:txBody>
                  <a:tcPr anchor="ctr">
                    <a:solidFill>
                      <a:schemeClr val="bg1">
                        <a:lumMod val="95000"/>
                      </a:schemeClr>
                    </a:solidFill>
                  </a:tcPr>
                </a:tc>
                <a:extLst>
                  <a:ext uri="{0D108BD9-81ED-4DB2-BD59-A6C34878D82A}">
                    <a16:rowId xmlns:a16="http://schemas.microsoft.com/office/drawing/2014/main" val="3567167297"/>
                  </a:ext>
                </a:extLst>
              </a:tr>
              <a:tr h="603924">
                <a:tc vMerge="1">
                  <a:txBody>
                    <a:bodyPr/>
                    <a:lstStyle/>
                    <a:p>
                      <a:endParaRPr lang="en-GB"/>
                    </a:p>
                  </a:txBody>
                  <a:tcPr/>
                </a:tc>
                <a:tc vMerge="1">
                  <a:txBody>
                    <a:bodyPr/>
                    <a:lstStyle/>
                    <a:p>
                      <a:endParaRPr lang="en-GB"/>
                    </a:p>
                  </a:txBody>
                  <a:tcPr/>
                </a:tc>
                <a:tc>
                  <a:txBody>
                    <a:bodyPr/>
                    <a:lstStyle/>
                    <a:p>
                      <a:pPr algn="ctr"/>
                      <a:r>
                        <a:rPr lang="en-US" sz="1400" b="1" dirty="0" smtClean="0">
                          <a:solidFill>
                            <a:schemeClr val="tx2"/>
                          </a:solidFill>
                        </a:rPr>
                        <a:t>-</a:t>
                      </a:r>
                      <a:endParaRPr lang="en-GB" sz="1400" b="1" dirty="0">
                        <a:solidFill>
                          <a:schemeClr val="tx2"/>
                        </a:solidFill>
                      </a:endParaRPr>
                    </a:p>
                  </a:txBody>
                  <a:tcPr anchor="ctr">
                    <a:solidFill>
                      <a:schemeClr val="bg1">
                        <a:lumMod val="95000"/>
                      </a:schemeClr>
                    </a:solidFill>
                  </a:tcPr>
                </a:tc>
                <a:tc>
                  <a:txBody>
                    <a:bodyPr/>
                    <a:lstStyle/>
                    <a:p>
                      <a:pPr algn="ctr"/>
                      <a:r>
                        <a:rPr lang="en-US" sz="1400" b="1" dirty="0" smtClean="0">
                          <a:solidFill>
                            <a:schemeClr val="tx2"/>
                          </a:solidFill>
                        </a:rPr>
                        <a:t>Provide SVHC</a:t>
                      </a:r>
                      <a:r>
                        <a:rPr lang="en-US" sz="1400" b="1" baseline="0" dirty="0" smtClean="0">
                          <a:solidFill>
                            <a:schemeClr val="tx2"/>
                          </a:solidFill>
                        </a:rPr>
                        <a:t> information</a:t>
                      </a:r>
                      <a:endParaRPr lang="en-GB" sz="1400" b="1" dirty="0">
                        <a:solidFill>
                          <a:schemeClr val="tx2"/>
                        </a:solidFill>
                      </a:endParaRPr>
                    </a:p>
                  </a:txBody>
                  <a:tcPr anchor="ctr">
                    <a:solidFill>
                      <a:schemeClr val="bg1">
                        <a:lumMod val="95000"/>
                      </a:schemeClr>
                    </a:solidFill>
                  </a:tcPr>
                </a:tc>
                <a:tc>
                  <a:txBody>
                    <a:bodyPr/>
                    <a:lstStyle/>
                    <a:p>
                      <a:pPr algn="ctr"/>
                      <a:r>
                        <a:rPr lang="en-US" sz="1400" b="1" dirty="0" smtClean="0">
                          <a:solidFill>
                            <a:schemeClr val="tx2"/>
                          </a:solidFill>
                        </a:rPr>
                        <a:t>Consumer</a:t>
                      </a:r>
                      <a:r>
                        <a:rPr lang="en-US" sz="1400" b="1" baseline="0" dirty="0" smtClean="0">
                          <a:solidFill>
                            <a:schemeClr val="tx2"/>
                          </a:solidFill>
                        </a:rPr>
                        <a:t> (respond i</a:t>
                      </a:r>
                      <a:r>
                        <a:rPr lang="en-US" sz="1400" b="1" dirty="0" smtClean="0">
                          <a:solidFill>
                            <a:schemeClr val="tx2"/>
                          </a:solidFill>
                        </a:rPr>
                        <a:t>n 45 days when</a:t>
                      </a:r>
                      <a:r>
                        <a:rPr lang="en-US" sz="1400" b="1" baseline="0" dirty="0" smtClean="0">
                          <a:solidFill>
                            <a:schemeClr val="tx2"/>
                          </a:solidFill>
                        </a:rPr>
                        <a:t> requested</a:t>
                      </a:r>
                      <a:r>
                        <a:rPr lang="en-US" sz="1400" b="1" dirty="0" smtClean="0">
                          <a:solidFill>
                            <a:schemeClr val="tx2"/>
                          </a:solidFill>
                        </a:rPr>
                        <a:t>)</a:t>
                      </a:r>
                      <a:endParaRPr lang="en-GB" sz="1400" b="1" dirty="0">
                        <a:solidFill>
                          <a:schemeClr val="tx2"/>
                        </a:solidFill>
                      </a:endParaRPr>
                    </a:p>
                  </a:txBody>
                  <a:tcPr anchor="ctr">
                    <a:solidFill>
                      <a:schemeClr val="bg1">
                        <a:lumMod val="95000"/>
                      </a:schemeClr>
                    </a:solidFill>
                  </a:tcPr>
                </a:tc>
                <a:tc>
                  <a:txBody>
                    <a:bodyPr/>
                    <a:lstStyle/>
                    <a:p>
                      <a:pPr algn="ctr"/>
                      <a:r>
                        <a:rPr lang="en-US" sz="1400" b="1" dirty="0" smtClean="0">
                          <a:solidFill>
                            <a:schemeClr val="tx2"/>
                          </a:solidFill>
                        </a:rPr>
                        <a:t>Article 33</a:t>
                      </a:r>
                      <a:endParaRPr lang="en-GB" sz="1400" b="1" dirty="0">
                        <a:solidFill>
                          <a:schemeClr val="tx2"/>
                        </a:solidFill>
                      </a:endParaRPr>
                    </a:p>
                  </a:txBody>
                  <a:tcPr anchor="ctr">
                    <a:solidFill>
                      <a:schemeClr val="bg1">
                        <a:lumMod val="95000"/>
                      </a:schemeClr>
                    </a:solidFill>
                  </a:tcPr>
                </a:tc>
                <a:extLst>
                  <a:ext uri="{0D108BD9-81ED-4DB2-BD59-A6C34878D82A}">
                    <a16:rowId xmlns:a16="http://schemas.microsoft.com/office/drawing/2014/main" val="1239766312"/>
                  </a:ext>
                </a:extLst>
              </a:tr>
              <a:tr h="565211">
                <a:tc vMerge="1">
                  <a:txBody>
                    <a:bodyPr/>
                    <a:lstStyle/>
                    <a:p>
                      <a:endParaRPr lang="en-GB" dirty="0"/>
                    </a:p>
                  </a:txBody>
                  <a:tcPr/>
                </a:tc>
                <a:tc vMerge="1">
                  <a:txBody>
                    <a:bodyPr/>
                    <a:lstStyle/>
                    <a:p>
                      <a:endParaRPr lang="en-GB" dirty="0"/>
                    </a:p>
                  </a:txBody>
                  <a:tcPr/>
                </a:tc>
                <a:tc>
                  <a:txBody>
                    <a:bodyPr/>
                    <a:lstStyle/>
                    <a:p>
                      <a:pPr algn="ctr"/>
                      <a:r>
                        <a:rPr lang="en-US" sz="1400" b="1" dirty="0" smtClean="0">
                          <a:solidFill>
                            <a:schemeClr val="tx2"/>
                          </a:solidFill>
                        </a:rPr>
                        <a:t>-</a:t>
                      </a:r>
                      <a:endParaRPr lang="en-GB" sz="1400" b="1" dirty="0">
                        <a:solidFill>
                          <a:schemeClr val="tx2"/>
                        </a:solidFill>
                      </a:endParaRPr>
                    </a:p>
                  </a:txBody>
                  <a:tcPr anchor="ctr"/>
                </a:tc>
                <a:tc>
                  <a:txBody>
                    <a:bodyPr/>
                    <a:lstStyle/>
                    <a:p>
                      <a:pPr algn="ctr"/>
                      <a:r>
                        <a:rPr lang="en-US" sz="1400" b="1" dirty="0" smtClean="0">
                          <a:solidFill>
                            <a:schemeClr val="tx2"/>
                          </a:solidFill>
                        </a:rPr>
                        <a:t>Notify</a:t>
                      </a:r>
                      <a:r>
                        <a:rPr lang="en-US" sz="1400" b="1" baseline="0" dirty="0" smtClean="0">
                          <a:solidFill>
                            <a:schemeClr val="tx2"/>
                          </a:solidFill>
                        </a:rPr>
                        <a:t> in SCIP database</a:t>
                      </a:r>
                      <a:endParaRPr lang="en-GB" sz="1400" b="1" dirty="0">
                        <a:solidFill>
                          <a:schemeClr val="tx2"/>
                        </a:solidFill>
                      </a:endParaRPr>
                    </a:p>
                  </a:txBody>
                  <a:tcPr anchor="ctr"/>
                </a:tc>
                <a:tc>
                  <a:txBody>
                    <a:bodyPr/>
                    <a:lstStyle/>
                    <a:p>
                      <a:pPr algn="ctr"/>
                      <a:r>
                        <a:rPr lang="en-US" sz="1400" b="1" dirty="0" smtClean="0">
                          <a:solidFill>
                            <a:schemeClr val="tx2"/>
                          </a:solidFill>
                        </a:rPr>
                        <a:t>ECHA</a:t>
                      </a:r>
                      <a:endParaRPr lang="en-GB" sz="1400" b="1" dirty="0">
                        <a:solidFill>
                          <a:schemeClr val="tx2"/>
                        </a:solidFill>
                      </a:endParaRPr>
                    </a:p>
                  </a:txBody>
                  <a:tcPr anchor="ctr"/>
                </a:tc>
                <a:tc>
                  <a:txBody>
                    <a:bodyPr/>
                    <a:lstStyle/>
                    <a:p>
                      <a:pPr algn="ctr"/>
                      <a:r>
                        <a:rPr lang="en-US" sz="1400" b="1" dirty="0" smtClean="0">
                          <a:solidFill>
                            <a:schemeClr val="tx2"/>
                          </a:solidFill>
                        </a:rPr>
                        <a:t>Waste</a:t>
                      </a:r>
                      <a:r>
                        <a:rPr lang="en-US" sz="1400" b="1" baseline="0" dirty="0" smtClean="0">
                          <a:solidFill>
                            <a:schemeClr val="tx2"/>
                          </a:solidFill>
                        </a:rPr>
                        <a:t> Framework Directive</a:t>
                      </a:r>
                      <a:endParaRPr lang="en-GB" sz="1400" b="1" dirty="0">
                        <a:solidFill>
                          <a:schemeClr val="tx2"/>
                        </a:solidFill>
                      </a:endParaRPr>
                    </a:p>
                  </a:txBody>
                  <a:tcPr anchor="ctr"/>
                </a:tc>
                <a:extLst>
                  <a:ext uri="{0D108BD9-81ED-4DB2-BD59-A6C34878D82A}">
                    <a16:rowId xmlns:a16="http://schemas.microsoft.com/office/drawing/2014/main" val="1241820488"/>
                  </a:ext>
                </a:extLst>
              </a:tr>
              <a:tr h="565211">
                <a:tc vMerge="1">
                  <a:txBody>
                    <a:bodyPr/>
                    <a:lstStyle/>
                    <a:p>
                      <a:endParaRPr lang="en-GB" dirty="0"/>
                    </a:p>
                  </a:txBody>
                  <a:tcPr/>
                </a:tc>
                <a:tc>
                  <a:txBody>
                    <a:bodyPr/>
                    <a:lstStyle/>
                    <a:p>
                      <a:pPr algn="ctr"/>
                      <a:r>
                        <a:rPr lang="en-US" sz="1400" b="1" dirty="0" smtClean="0">
                          <a:solidFill>
                            <a:schemeClr val="tx2"/>
                          </a:solidFill>
                        </a:rPr>
                        <a:t>&lt; 0.1% (w/w)</a:t>
                      </a:r>
                      <a:endParaRPr lang="en-GB" sz="1400" b="1" dirty="0">
                        <a:solidFill>
                          <a:schemeClr val="tx2"/>
                        </a:solidFill>
                      </a:endParaRPr>
                    </a:p>
                  </a:txBody>
                  <a:tcPr anchor="ctr"/>
                </a:tc>
                <a:tc>
                  <a:txBody>
                    <a:bodyPr/>
                    <a:lstStyle/>
                    <a:p>
                      <a:pPr algn="ctr"/>
                      <a:r>
                        <a:rPr lang="en-US" sz="1400" b="1" dirty="0" smtClean="0">
                          <a:solidFill>
                            <a:schemeClr val="tx2"/>
                          </a:solidFill>
                        </a:rPr>
                        <a:t>-</a:t>
                      </a:r>
                      <a:endParaRPr lang="en-GB" sz="1400" b="1" dirty="0">
                        <a:solidFill>
                          <a:schemeClr val="tx2"/>
                        </a:solidFill>
                      </a:endParaRPr>
                    </a:p>
                  </a:txBody>
                  <a:tcPr anchor="ctr"/>
                </a:tc>
                <a:tc>
                  <a:txBody>
                    <a:bodyPr/>
                    <a:lstStyle/>
                    <a:p>
                      <a:pPr algn="ctr"/>
                      <a:r>
                        <a:rPr lang="en-US" sz="1400" b="1" dirty="0" smtClean="0">
                          <a:solidFill>
                            <a:schemeClr val="tx2"/>
                          </a:solidFill>
                        </a:rPr>
                        <a:t>No</a:t>
                      </a:r>
                      <a:endParaRPr lang="en-GB" sz="1400" b="1" dirty="0">
                        <a:solidFill>
                          <a:schemeClr val="tx2"/>
                        </a:solidFill>
                      </a:endParaRPr>
                    </a:p>
                  </a:txBody>
                  <a:tcPr anchor="ctr"/>
                </a:tc>
                <a:tc>
                  <a:txBody>
                    <a:bodyPr/>
                    <a:lstStyle/>
                    <a:p>
                      <a:pPr algn="ctr"/>
                      <a:r>
                        <a:rPr lang="en-US" sz="1400" b="1" dirty="0" smtClean="0">
                          <a:solidFill>
                            <a:schemeClr val="tx2"/>
                          </a:solidFill>
                        </a:rPr>
                        <a:t>-</a:t>
                      </a:r>
                      <a:endParaRPr lang="en-GB" sz="1400" b="1" dirty="0">
                        <a:solidFill>
                          <a:schemeClr val="tx2"/>
                        </a:solidFill>
                      </a:endParaRPr>
                    </a:p>
                  </a:txBody>
                  <a:tcPr anchor="ctr"/>
                </a:tc>
                <a:tc>
                  <a:txBody>
                    <a:bodyPr/>
                    <a:lstStyle/>
                    <a:p>
                      <a:pPr algn="ctr"/>
                      <a:r>
                        <a:rPr lang="en-US" sz="1400" b="1" dirty="0" smtClean="0">
                          <a:solidFill>
                            <a:schemeClr val="tx2"/>
                          </a:solidFill>
                        </a:rPr>
                        <a:t>-</a:t>
                      </a:r>
                      <a:endParaRPr lang="en-GB" sz="1400" b="1" dirty="0">
                        <a:solidFill>
                          <a:schemeClr val="tx2"/>
                        </a:solidFill>
                      </a:endParaRPr>
                    </a:p>
                  </a:txBody>
                  <a:tcPr anchor="ctr"/>
                </a:tc>
                <a:extLst>
                  <a:ext uri="{0D108BD9-81ED-4DB2-BD59-A6C34878D82A}">
                    <a16:rowId xmlns:a16="http://schemas.microsoft.com/office/drawing/2014/main" val="3803368648"/>
                  </a:ext>
                </a:extLst>
              </a:tr>
              <a:tr h="603924">
                <a:tc>
                  <a:txBody>
                    <a:bodyPr/>
                    <a:lstStyle/>
                    <a:p>
                      <a:pPr algn="ctr"/>
                      <a:r>
                        <a:rPr lang="en-US" sz="1400" b="1" dirty="0" smtClean="0">
                          <a:solidFill>
                            <a:schemeClr val="tx2"/>
                          </a:solidFill>
                        </a:rPr>
                        <a:t>Mixture</a:t>
                      </a:r>
                      <a:r>
                        <a:rPr lang="en-US" sz="1400" b="1" baseline="0" dirty="0" smtClean="0">
                          <a:solidFill>
                            <a:schemeClr val="tx2"/>
                          </a:solidFill>
                        </a:rPr>
                        <a:t> contains SVHC</a:t>
                      </a:r>
                    </a:p>
                    <a:p>
                      <a:pPr algn="ctr"/>
                      <a:r>
                        <a:rPr lang="en-US" sz="1400" b="1" baseline="0" dirty="0" smtClean="0">
                          <a:solidFill>
                            <a:schemeClr val="tx2"/>
                          </a:solidFill>
                        </a:rPr>
                        <a:t>Non-gaseous</a:t>
                      </a:r>
                      <a:endParaRPr lang="en-GB" sz="1400" b="1" dirty="0">
                        <a:solidFill>
                          <a:schemeClr val="tx2"/>
                        </a:solidFill>
                      </a:endParaRPr>
                    </a:p>
                  </a:txBody>
                  <a:tcPr anchor="ctr"/>
                </a:tc>
                <a:tc>
                  <a:txBody>
                    <a:bodyPr/>
                    <a:lstStyle/>
                    <a:p>
                      <a:pPr algn="ctr"/>
                      <a:r>
                        <a:rPr lang="en-US" sz="1400" b="1" dirty="0" smtClean="0">
                          <a:solidFill>
                            <a:schemeClr val="tx2"/>
                          </a:solidFill>
                        </a:rPr>
                        <a:t>&gt;</a:t>
                      </a:r>
                      <a:r>
                        <a:rPr lang="en-US" sz="1400" b="1" baseline="0" dirty="0" smtClean="0">
                          <a:solidFill>
                            <a:schemeClr val="tx2"/>
                          </a:solidFill>
                        </a:rPr>
                        <a:t> 0.1% (w/w)</a:t>
                      </a:r>
                      <a:endParaRPr lang="en-GB" sz="1400" b="1" dirty="0">
                        <a:solidFill>
                          <a:schemeClr val="tx2"/>
                        </a:solidFill>
                      </a:endParaRPr>
                    </a:p>
                  </a:txBody>
                  <a:tcPr anchor="ctr"/>
                </a:tc>
                <a:tc>
                  <a:txBody>
                    <a:bodyPr/>
                    <a:lstStyle/>
                    <a:p>
                      <a:pPr algn="ctr"/>
                      <a:r>
                        <a:rPr lang="en-US" sz="1400" b="1" dirty="0" smtClean="0">
                          <a:solidFill>
                            <a:schemeClr val="tx2"/>
                          </a:solidFill>
                        </a:rPr>
                        <a:t>-</a:t>
                      </a:r>
                      <a:endParaRPr lang="en-GB" sz="1400" b="1" dirty="0">
                        <a:solidFill>
                          <a:schemeClr val="tx2"/>
                        </a:solidFill>
                      </a:endParaRPr>
                    </a:p>
                  </a:txBody>
                  <a:tcPr anchor="ctr"/>
                </a:tc>
                <a:tc>
                  <a:txBody>
                    <a:bodyPr/>
                    <a:lstStyle/>
                    <a:p>
                      <a:pPr algn="ctr"/>
                      <a:r>
                        <a:rPr lang="en-US" sz="1400" b="1" dirty="0" smtClean="0">
                          <a:solidFill>
                            <a:schemeClr val="tx2"/>
                          </a:solidFill>
                        </a:rPr>
                        <a:t>Reflect the SVHC information in SDS</a:t>
                      </a:r>
                      <a:endParaRPr lang="en-GB" sz="1400" b="1" dirty="0">
                        <a:solidFill>
                          <a:schemeClr val="tx2"/>
                        </a:solidFill>
                      </a:endParaRPr>
                    </a:p>
                  </a:txBody>
                  <a:tcPr anchor="ctr"/>
                </a:tc>
                <a:tc>
                  <a:txBody>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400" b="1" dirty="0" smtClean="0">
                          <a:solidFill>
                            <a:schemeClr val="tx2"/>
                          </a:solidFill>
                        </a:rPr>
                        <a:t>Buyer </a:t>
                      </a:r>
                      <a:r>
                        <a:rPr lang="en-US" sz="1400" b="1" baseline="0" dirty="0" smtClean="0">
                          <a:solidFill>
                            <a:schemeClr val="tx2"/>
                          </a:solidFill>
                        </a:rPr>
                        <a:t>(in the supply chain)</a:t>
                      </a:r>
                      <a:endParaRPr lang="en-GB" sz="1400" b="1" dirty="0" smtClean="0">
                        <a:solidFill>
                          <a:schemeClr val="tx2"/>
                        </a:solidFill>
                      </a:endParaRPr>
                    </a:p>
                  </a:txBody>
                  <a:tcPr anchor="ctr"/>
                </a:tc>
                <a:tc>
                  <a:txBody>
                    <a:bodyPr/>
                    <a:lstStyle/>
                    <a:p>
                      <a:pPr algn="ctr"/>
                      <a:r>
                        <a:rPr lang="en-US" sz="1400" b="1" dirty="0" smtClean="0">
                          <a:solidFill>
                            <a:schemeClr val="tx2"/>
                          </a:solidFill>
                        </a:rPr>
                        <a:t>Article 31</a:t>
                      </a:r>
                      <a:endParaRPr lang="en-GB" sz="1400" b="1" dirty="0">
                        <a:solidFill>
                          <a:schemeClr val="tx2"/>
                        </a:solidFill>
                      </a:endParaRPr>
                    </a:p>
                  </a:txBody>
                  <a:tcPr anchor="ctr"/>
                </a:tc>
                <a:extLst>
                  <a:ext uri="{0D108BD9-81ED-4DB2-BD59-A6C34878D82A}">
                    <a16:rowId xmlns:a16="http://schemas.microsoft.com/office/drawing/2014/main" val="3229466105"/>
                  </a:ext>
                </a:extLst>
              </a:tr>
            </a:tbl>
          </a:graphicData>
        </a:graphic>
      </p:graphicFrame>
    </p:spTree>
    <p:extLst>
      <p:ext uri="{BB962C8B-B14F-4D97-AF65-F5344CB8AC3E}">
        <p14:creationId xmlns:p14="http://schemas.microsoft.com/office/powerpoint/2010/main" val="34647968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0862" y="405374"/>
            <a:ext cx="11088688" cy="432000"/>
          </a:xfrm>
        </p:spPr>
        <p:txBody>
          <a:bodyPr lIns="0" tIns="0" rIns="0" bIns="0" anchor="t"/>
          <a:lstStyle/>
          <a:p>
            <a:r>
              <a:rPr lang="en-US" dirty="0" smtClean="0">
                <a:solidFill>
                  <a:srgbClr val="0071B9"/>
                </a:solidFill>
                <a:latin typeface="Arial" panose="020B0604020202020204" pitchFamily="34" charset="0"/>
              </a:rPr>
              <a:t>REACH Obligations Overview at Different Object Levels</a:t>
            </a:r>
            <a:endParaRPr lang="en-US" dirty="0">
              <a:solidFill>
                <a:srgbClr val="0071B9"/>
              </a:solidFill>
              <a:latin typeface="Arial" panose="020B0604020202020204" pitchFamily="34" charset="0"/>
            </a:endParaRPr>
          </a:p>
        </p:txBody>
      </p:sp>
      <p:grpSp>
        <p:nvGrpSpPr>
          <p:cNvPr id="216" name="群組 215"/>
          <p:cNvGrpSpPr/>
          <p:nvPr/>
        </p:nvGrpSpPr>
        <p:grpSpPr>
          <a:xfrm>
            <a:off x="2098701" y="957486"/>
            <a:ext cx="8417129" cy="2136567"/>
            <a:chOff x="576419" y="957264"/>
            <a:chExt cx="8415181" cy="2136073"/>
          </a:xfrm>
        </p:grpSpPr>
        <p:sp>
          <p:nvSpPr>
            <p:cNvPr id="217" name="Text Box 35"/>
            <p:cNvSpPr txBox="1">
              <a:spLocks noChangeArrowheads="1"/>
            </p:cNvSpPr>
            <p:nvPr/>
          </p:nvSpPr>
          <p:spPr bwMode="auto">
            <a:xfrm>
              <a:off x="6556697" y="957264"/>
              <a:ext cx="2419350" cy="569255"/>
            </a:xfrm>
            <a:prstGeom prst="rect">
              <a:avLst/>
            </a:prstGeom>
            <a:noFill/>
            <a:ln w="9525" algn="ctr">
              <a:solidFill>
                <a:schemeClr val="bg1"/>
              </a:solidFill>
              <a:miter lim="800000"/>
              <a:headEnd/>
              <a:tailEnd/>
            </a:ln>
            <a:effectLst/>
            <a:extLst/>
          </p:spPr>
          <p:txBody>
            <a:bodyPr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pPr algn="ctr"/>
              <a:r>
                <a:rPr lang="en-US" altLang="zh-CN" sz="1200" dirty="0"/>
                <a:t>Is it comply EU </a:t>
              </a:r>
              <a:r>
                <a:rPr lang="en-US" altLang="zh-CN" sz="1200" dirty="0">
                  <a:solidFill>
                    <a:srgbClr val="D20033"/>
                  </a:solidFill>
                </a:rPr>
                <a:t>Mandatory Chemical</a:t>
              </a:r>
              <a:r>
                <a:rPr lang="en-US" altLang="zh-CN" sz="1200" dirty="0"/>
                <a:t> requirements ?? (</a:t>
              </a:r>
              <a:r>
                <a:rPr lang="en-US" altLang="zh-CN" sz="1200" dirty="0">
                  <a:solidFill>
                    <a:srgbClr val="D20033"/>
                  </a:solidFill>
                </a:rPr>
                <a:t>Annex XVII </a:t>
              </a:r>
              <a:r>
                <a:rPr lang="en-US" altLang="zh-CN" sz="1200" dirty="0"/>
                <a:t>of REACH)</a:t>
              </a:r>
            </a:p>
          </p:txBody>
        </p:sp>
        <p:sp>
          <p:nvSpPr>
            <p:cNvPr id="218" name="Line 36"/>
            <p:cNvSpPr>
              <a:spLocks noChangeShapeType="1"/>
            </p:cNvSpPr>
            <p:nvPr/>
          </p:nvSpPr>
          <p:spPr bwMode="auto">
            <a:xfrm flipH="1">
              <a:off x="7815377" y="1577915"/>
              <a:ext cx="0" cy="479485"/>
            </a:xfrm>
            <a:prstGeom prst="line">
              <a:avLst/>
            </a:prstGeom>
            <a:noFill/>
            <a:ln w="19050">
              <a:solidFill>
                <a:srgbClr val="6600FF"/>
              </a:solidFill>
              <a:prstDash val="sys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p>
          </p:txBody>
        </p:sp>
        <p:sp>
          <p:nvSpPr>
            <p:cNvPr id="219" name="Line 37"/>
            <p:cNvSpPr>
              <a:spLocks noChangeShapeType="1"/>
            </p:cNvSpPr>
            <p:nvPr/>
          </p:nvSpPr>
          <p:spPr bwMode="auto">
            <a:xfrm>
              <a:off x="8534400" y="1600200"/>
              <a:ext cx="0" cy="1143000"/>
            </a:xfrm>
            <a:prstGeom prst="line">
              <a:avLst/>
            </a:prstGeom>
            <a:noFill/>
            <a:ln w="19050">
              <a:solidFill>
                <a:srgbClr val="6600FF"/>
              </a:solidFill>
              <a:prstDash val="sysDash"/>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US" dirty="0"/>
            </a:p>
          </p:txBody>
        </p:sp>
        <p:sp>
          <p:nvSpPr>
            <p:cNvPr id="220" name="Text Box 38"/>
            <p:cNvSpPr txBox="1">
              <a:spLocks noChangeArrowheads="1"/>
            </p:cNvSpPr>
            <p:nvPr/>
          </p:nvSpPr>
          <p:spPr bwMode="auto">
            <a:xfrm>
              <a:off x="7456488" y="1692275"/>
              <a:ext cx="312330"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rgbClr val="6600FF"/>
                  </a:solidFill>
                </a:rPr>
                <a:t>Yes</a:t>
              </a:r>
            </a:p>
          </p:txBody>
        </p:sp>
        <p:sp>
          <p:nvSpPr>
            <p:cNvPr id="221" name="Text Box 39"/>
            <p:cNvSpPr txBox="1">
              <a:spLocks noChangeArrowheads="1"/>
            </p:cNvSpPr>
            <p:nvPr/>
          </p:nvSpPr>
          <p:spPr bwMode="auto">
            <a:xfrm>
              <a:off x="8596312" y="1920875"/>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rgbClr val="6600FF"/>
                  </a:solidFill>
                </a:rPr>
                <a:t>No</a:t>
              </a:r>
            </a:p>
          </p:txBody>
        </p:sp>
        <p:sp>
          <p:nvSpPr>
            <p:cNvPr id="222" name="Text Box 40"/>
            <p:cNvSpPr txBox="1">
              <a:spLocks noChangeArrowheads="1"/>
            </p:cNvSpPr>
            <p:nvPr/>
          </p:nvSpPr>
          <p:spPr bwMode="auto">
            <a:xfrm>
              <a:off x="7388448" y="2038290"/>
              <a:ext cx="993552" cy="369246"/>
            </a:xfrm>
            <a:prstGeom prst="rect">
              <a:avLst/>
            </a:prstGeom>
            <a:solidFill>
              <a:schemeClr val="accent3"/>
            </a:solidFill>
            <a:ln w="9525" cap="flat" cmpd="sng" algn="ctr">
              <a:solidFill>
                <a:schemeClr val="accent3"/>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pPr algn="ctr"/>
              <a:r>
                <a:rPr lang="en-US" altLang="zh-CN" sz="1200" dirty="0"/>
                <a:t>Restriction:</a:t>
              </a:r>
            </a:p>
            <a:p>
              <a:pPr algn="ctr"/>
              <a:r>
                <a:rPr lang="en-US" altLang="zh-CN" sz="1200" b="1" dirty="0"/>
                <a:t>PASS</a:t>
              </a:r>
            </a:p>
          </p:txBody>
        </p:sp>
        <p:sp>
          <p:nvSpPr>
            <p:cNvPr id="223" name="Text Box 41"/>
            <p:cNvSpPr txBox="1">
              <a:spLocks noChangeArrowheads="1"/>
            </p:cNvSpPr>
            <p:nvPr/>
          </p:nvSpPr>
          <p:spPr bwMode="auto">
            <a:xfrm>
              <a:off x="8039616" y="2724090"/>
              <a:ext cx="951984" cy="369247"/>
            </a:xfrm>
            <a:prstGeom prst="rect">
              <a:avLst/>
            </a:prstGeom>
            <a:solidFill>
              <a:schemeClr val="accent3"/>
            </a:solidFill>
            <a:ln w="9525" cap="flat" cmpd="sng" algn="ctr">
              <a:solidFill>
                <a:schemeClr val="accent3"/>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pPr algn="ctr"/>
              <a:r>
                <a:rPr lang="en-US" altLang="zh-CN" sz="1200" dirty="0"/>
                <a:t>Restriction:</a:t>
              </a:r>
            </a:p>
            <a:p>
              <a:pPr algn="ctr"/>
              <a:r>
                <a:rPr lang="en-US" altLang="zh-CN" sz="1200" b="1" dirty="0">
                  <a:solidFill>
                    <a:srgbClr val="D20033"/>
                  </a:solidFill>
                </a:rPr>
                <a:t>FAIL</a:t>
              </a:r>
            </a:p>
          </p:txBody>
        </p:sp>
        <p:cxnSp>
          <p:nvCxnSpPr>
            <p:cNvPr id="224" name="肘形接點 223"/>
            <p:cNvCxnSpPr>
              <a:stCxn id="226" idx="3"/>
              <a:endCxn id="217" idx="1"/>
            </p:cNvCxnSpPr>
            <p:nvPr/>
          </p:nvCxnSpPr>
          <p:spPr bwMode="auto">
            <a:xfrm flipV="1">
              <a:off x="5105400" y="1241892"/>
              <a:ext cx="1451297" cy="109133"/>
            </a:xfrm>
            <a:prstGeom prst="bentConnector3">
              <a:avLst>
                <a:gd name="adj1" fmla="val 50000"/>
              </a:avLst>
            </a:prstGeom>
            <a:solidFill>
              <a:srgbClr val="F3FC84">
                <a:alpha val="34000"/>
              </a:srgbClr>
            </a:solidFill>
            <a:ln w="9525" cap="flat" cmpd="sng" algn="ctr">
              <a:solidFill>
                <a:srgbClr val="D20033"/>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5" name="直線單箭頭接點 224"/>
            <p:cNvCxnSpPr>
              <a:stCxn id="227" idx="3"/>
            </p:cNvCxnSpPr>
            <p:nvPr/>
          </p:nvCxnSpPr>
          <p:spPr bwMode="auto">
            <a:xfrm flipV="1">
              <a:off x="2786219" y="1096302"/>
              <a:ext cx="3581400" cy="26122"/>
            </a:xfrm>
            <a:prstGeom prst="straightConnector1">
              <a:avLst/>
            </a:prstGeom>
            <a:solidFill>
              <a:srgbClr val="F3FC84">
                <a:alpha val="34000"/>
              </a:srgbClr>
            </a:solidFill>
            <a:ln w="9525" cap="flat" cmpd="sng" algn="ctr">
              <a:solidFill>
                <a:srgbClr val="D20033"/>
              </a:solidFill>
              <a:prstDash val="dash"/>
              <a:round/>
              <a:headEnd type="none" w="med" len="med"/>
              <a:tailEnd type="arrow"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6" name="AutoShape 4"/>
            <p:cNvSpPr>
              <a:spLocks noChangeArrowheads="1"/>
            </p:cNvSpPr>
            <p:nvPr/>
          </p:nvSpPr>
          <p:spPr bwMode="auto">
            <a:xfrm>
              <a:off x="4038600" y="1198624"/>
              <a:ext cx="1066800" cy="304800"/>
            </a:xfrm>
            <a:prstGeom prst="roundRect">
              <a:avLst/>
            </a:prstGeom>
            <a:solidFill>
              <a:srgbClr val="FF33CC"/>
            </a:solidFill>
            <a:ln w="9525" algn="ctr">
              <a:solidFill>
                <a:srgbClr val="FF6699"/>
              </a:solidFill>
              <a:miter lim="800000"/>
              <a:headEnd/>
              <a:tailEnd/>
            </a:ln>
            <a:effectLst/>
            <a:extLst/>
          </p:spPr>
          <p:txBody>
            <a:bodyPr wrap="none" lIns="0" tIns="0" rIns="0" bIns="0" anchor="ctr"/>
            <a:lstStyle/>
            <a:p>
              <a:r>
                <a:rPr lang="en-US" sz="1400" b="1" dirty="0" smtClean="0"/>
                <a:t>     Article</a:t>
              </a:r>
              <a:endParaRPr lang="en-US" sz="1400" b="1" dirty="0"/>
            </a:p>
          </p:txBody>
        </p:sp>
        <p:sp>
          <p:nvSpPr>
            <p:cNvPr id="227" name="AutoShape 4"/>
            <p:cNvSpPr>
              <a:spLocks noChangeArrowheads="1"/>
            </p:cNvSpPr>
            <p:nvPr/>
          </p:nvSpPr>
          <p:spPr bwMode="auto">
            <a:xfrm>
              <a:off x="576419" y="970024"/>
              <a:ext cx="2209800" cy="304800"/>
            </a:xfrm>
            <a:prstGeom prst="roundRect">
              <a:avLst/>
            </a:prstGeom>
            <a:solidFill>
              <a:srgbClr val="FFC600"/>
            </a:solidFill>
            <a:ln w="9525" cap="flat" cmpd="sng" algn="ctr">
              <a:solidFill>
                <a:srgbClr val="FFC600"/>
              </a:solidFill>
              <a:prstDash val="solid"/>
              <a:miter lim="800000"/>
              <a:headEnd type="none" w="med" len="med"/>
              <a:tailEnd type="none" w="med" len="med"/>
            </a:ln>
            <a:effectLst/>
            <a:extLst/>
          </p:spPr>
          <p:txBody>
            <a:bodyPr wrap="none" lIns="0" tIns="0" rIns="0" bIns="0" anchor="ctr"/>
            <a:lstStyle/>
            <a:p>
              <a:r>
                <a:rPr lang="en-US" sz="1400" b="1" dirty="0" smtClean="0"/>
                <a:t>Substance, Preparation</a:t>
              </a:r>
              <a:endParaRPr lang="en-US" sz="1400" b="1" dirty="0"/>
            </a:p>
          </p:txBody>
        </p:sp>
      </p:grpSp>
      <p:grpSp>
        <p:nvGrpSpPr>
          <p:cNvPr id="231" name="群組 230"/>
          <p:cNvGrpSpPr/>
          <p:nvPr/>
        </p:nvGrpSpPr>
        <p:grpSpPr>
          <a:xfrm>
            <a:off x="1565176" y="1275119"/>
            <a:ext cx="5182800" cy="4669857"/>
            <a:chOff x="43018" y="1274824"/>
            <a:chExt cx="5181601" cy="4668776"/>
          </a:xfrm>
        </p:grpSpPr>
        <p:cxnSp>
          <p:nvCxnSpPr>
            <p:cNvPr id="232" name="直線單箭頭接點 231"/>
            <p:cNvCxnSpPr>
              <a:endCxn id="233" idx="0"/>
            </p:cNvCxnSpPr>
            <p:nvPr/>
          </p:nvCxnSpPr>
          <p:spPr bwMode="auto">
            <a:xfrm rot="5400000">
              <a:off x="718531" y="2237612"/>
              <a:ext cx="1925576" cy="1588"/>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3" name="矩形 232"/>
            <p:cNvSpPr/>
            <p:nvPr/>
          </p:nvSpPr>
          <p:spPr bwMode="auto">
            <a:xfrm>
              <a:off x="843119" y="3200400"/>
              <a:ext cx="1676400" cy="685800"/>
            </a:xfrm>
            <a:prstGeom prst="rect">
              <a:avLst/>
            </a:prstGeom>
            <a:solidFill>
              <a:srgbClr val="CC66FF"/>
            </a:solidFill>
            <a:ln w="9525" cap="flat" cmpd="sng" algn="ctr">
              <a:solidFill>
                <a:srgbClr val="CC66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In the </a:t>
              </a:r>
              <a:r>
                <a:rPr lang="en-US" sz="1400" b="1" dirty="0">
                  <a:latin typeface="Arial" charset="0"/>
                </a:rPr>
                <a:t>substance / </a:t>
              </a:r>
            </a:p>
            <a:p>
              <a:pPr algn="ctr" defTabSz="914583" eaLnBrk="0" fontAlgn="base" hangingPunct="0">
                <a:spcBef>
                  <a:spcPct val="0"/>
                </a:spcBef>
                <a:spcAft>
                  <a:spcPct val="0"/>
                </a:spcAft>
              </a:pPr>
              <a:r>
                <a:rPr lang="en-US" sz="1400" b="1" dirty="0"/>
                <a:t>p</a:t>
              </a:r>
              <a:r>
                <a:rPr lang="en-US" sz="1400" b="1" dirty="0">
                  <a:latin typeface="Arial" charset="0"/>
                </a:rPr>
                <a:t>reparation,</a:t>
              </a:r>
            </a:p>
            <a:p>
              <a:pPr algn="ctr" defTabSz="914583" eaLnBrk="0" fontAlgn="base" hangingPunct="0">
                <a:spcBef>
                  <a:spcPct val="0"/>
                </a:spcBef>
                <a:spcAft>
                  <a:spcPct val="0"/>
                </a:spcAft>
              </a:pPr>
              <a:r>
                <a:rPr lang="en-US" sz="1400" dirty="0">
                  <a:latin typeface="Arial" charset="0"/>
                </a:rPr>
                <a:t>Any SVHC?</a:t>
              </a:r>
            </a:p>
          </p:txBody>
        </p:sp>
        <p:sp>
          <p:nvSpPr>
            <p:cNvPr id="234" name="矩形 233"/>
            <p:cNvSpPr/>
            <p:nvPr/>
          </p:nvSpPr>
          <p:spPr bwMode="auto">
            <a:xfrm>
              <a:off x="195419" y="4343400"/>
              <a:ext cx="1447800" cy="533400"/>
            </a:xfrm>
            <a:prstGeom prst="rect">
              <a:avLst/>
            </a:prstGeom>
            <a:solidFill>
              <a:srgbClr val="FFC600"/>
            </a:solidFill>
            <a:ln w="9525" cap="flat" cmpd="sng" algn="ctr">
              <a:solidFill>
                <a:srgbClr val="FFC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b="1" dirty="0">
                  <a:latin typeface="Arial" charset="0"/>
                </a:rPr>
                <a:t>Provide Safety</a:t>
              </a:r>
            </a:p>
            <a:p>
              <a:pPr algn="ctr" defTabSz="914583" eaLnBrk="0" fontAlgn="base" hangingPunct="0">
                <a:spcBef>
                  <a:spcPct val="0"/>
                </a:spcBef>
                <a:spcAft>
                  <a:spcPct val="0"/>
                </a:spcAft>
              </a:pPr>
              <a:r>
                <a:rPr lang="en-US" sz="1400" b="1" dirty="0"/>
                <a:t>Data Sheet</a:t>
              </a:r>
              <a:endParaRPr lang="en-US" sz="1400" b="1" dirty="0">
                <a:latin typeface="Arial" charset="0"/>
              </a:endParaRPr>
            </a:p>
          </p:txBody>
        </p:sp>
        <p:sp>
          <p:nvSpPr>
            <p:cNvPr id="235" name="文字方塊 234"/>
            <p:cNvSpPr txBox="1"/>
            <p:nvPr/>
          </p:nvSpPr>
          <p:spPr>
            <a:xfrm>
              <a:off x="1643219" y="4353580"/>
              <a:ext cx="1099981" cy="523220"/>
            </a:xfrm>
            <a:prstGeom prst="rect">
              <a:avLst/>
            </a:prstGeom>
            <a:noFill/>
          </p:spPr>
          <p:txBody>
            <a:bodyPr wrap="none" rtlCol="0">
              <a:spAutoFit/>
            </a:bodyPr>
            <a:lstStyle/>
            <a:p>
              <a:r>
                <a:rPr lang="en-US" sz="1400" b="1" dirty="0"/>
                <a:t>No Further</a:t>
              </a:r>
            </a:p>
            <a:p>
              <a:r>
                <a:rPr lang="en-US" sz="1400" b="1" dirty="0"/>
                <a:t>Action</a:t>
              </a:r>
            </a:p>
          </p:txBody>
        </p:sp>
        <p:sp>
          <p:nvSpPr>
            <p:cNvPr id="236" name="矩形 235"/>
            <p:cNvSpPr/>
            <p:nvPr/>
          </p:nvSpPr>
          <p:spPr bwMode="auto">
            <a:xfrm>
              <a:off x="2786219" y="4114800"/>
              <a:ext cx="2438400" cy="457200"/>
            </a:xfrm>
            <a:prstGeom prst="rect">
              <a:avLst/>
            </a:prstGeom>
            <a:solidFill>
              <a:srgbClr val="CC66FF"/>
            </a:solidFill>
            <a:ln w="9525" cap="flat" cmpd="sng" algn="ctr">
              <a:solidFill>
                <a:srgbClr val="CC66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Each substance Import to EU</a:t>
              </a:r>
            </a:p>
            <a:p>
              <a:pPr algn="ctr" defTabSz="914583" eaLnBrk="0" fontAlgn="base" hangingPunct="0">
                <a:spcBef>
                  <a:spcPct val="0"/>
                </a:spcBef>
                <a:spcAft>
                  <a:spcPct val="0"/>
                </a:spcAft>
              </a:pPr>
              <a:r>
                <a:rPr lang="en-US" sz="1400" b="1" dirty="0">
                  <a:solidFill>
                    <a:srgbClr val="D20033"/>
                  </a:solidFill>
                </a:rPr>
                <a:t>&gt;1 ton p.a. </a:t>
              </a:r>
              <a:r>
                <a:rPr lang="en-US" sz="1400" dirty="0"/>
                <a:t>?</a:t>
              </a:r>
              <a:endParaRPr lang="en-US" sz="1400" dirty="0">
                <a:latin typeface="Arial" charset="0"/>
              </a:endParaRPr>
            </a:p>
          </p:txBody>
        </p:sp>
        <p:sp>
          <p:nvSpPr>
            <p:cNvPr id="237" name="矩形 236"/>
            <p:cNvSpPr/>
            <p:nvPr/>
          </p:nvSpPr>
          <p:spPr bwMode="auto">
            <a:xfrm>
              <a:off x="2286000" y="5181600"/>
              <a:ext cx="1371600" cy="762000"/>
            </a:xfrm>
            <a:prstGeom prst="rect">
              <a:avLst/>
            </a:prstGeom>
            <a:solidFill>
              <a:srgbClr val="FFC600"/>
            </a:solidFill>
            <a:ln w="9525" cap="flat" cmpd="sng" algn="ctr">
              <a:solidFill>
                <a:srgbClr val="FFC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Substance</a:t>
              </a:r>
            </a:p>
            <a:p>
              <a:pPr algn="ctr" defTabSz="914583" eaLnBrk="0" fontAlgn="base" hangingPunct="0">
                <a:spcBef>
                  <a:spcPct val="0"/>
                </a:spcBef>
                <a:spcAft>
                  <a:spcPct val="0"/>
                </a:spcAft>
              </a:pPr>
              <a:r>
                <a:rPr lang="en-US" sz="1400" b="1" dirty="0">
                  <a:solidFill>
                    <a:srgbClr val="D20033"/>
                  </a:solidFill>
                </a:rPr>
                <a:t>Registration</a:t>
              </a:r>
              <a:r>
                <a:rPr lang="en-US" sz="1400" dirty="0"/>
                <a:t> is</a:t>
              </a:r>
            </a:p>
            <a:p>
              <a:pPr algn="ctr" defTabSz="914583" eaLnBrk="0" fontAlgn="base" hangingPunct="0">
                <a:spcBef>
                  <a:spcPct val="0"/>
                </a:spcBef>
                <a:spcAft>
                  <a:spcPct val="0"/>
                </a:spcAft>
              </a:pPr>
              <a:r>
                <a:rPr lang="en-US" sz="1400" dirty="0"/>
                <a:t>required</a:t>
              </a:r>
            </a:p>
          </p:txBody>
        </p:sp>
        <p:sp>
          <p:nvSpPr>
            <p:cNvPr id="238" name="文字方塊 237"/>
            <p:cNvSpPr txBox="1"/>
            <p:nvPr/>
          </p:nvSpPr>
          <p:spPr>
            <a:xfrm>
              <a:off x="3724117" y="5181600"/>
              <a:ext cx="1099981" cy="523220"/>
            </a:xfrm>
            <a:prstGeom prst="rect">
              <a:avLst/>
            </a:prstGeom>
            <a:noFill/>
          </p:spPr>
          <p:txBody>
            <a:bodyPr wrap="none" rtlCol="0">
              <a:spAutoFit/>
            </a:bodyPr>
            <a:lstStyle/>
            <a:p>
              <a:r>
                <a:rPr lang="en-US" sz="1400" b="1" dirty="0"/>
                <a:t>No Further</a:t>
              </a:r>
            </a:p>
            <a:p>
              <a:r>
                <a:rPr lang="en-US" sz="1400" b="1" dirty="0"/>
                <a:t>Action</a:t>
              </a:r>
            </a:p>
          </p:txBody>
        </p:sp>
        <p:cxnSp>
          <p:nvCxnSpPr>
            <p:cNvPr id="239" name="肘形接點 238"/>
            <p:cNvCxnSpPr>
              <a:endCxn id="236" idx="0"/>
            </p:cNvCxnSpPr>
            <p:nvPr/>
          </p:nvCxnSpPr>
          <p:spPr bwMode="auto">
            <a:xfrm rot="16200000" flipH="1">
              <a:off x="1423381" y="1532762"/>
              <a:ext cx="2839976" cy="2324100"/>
            </a:xfrm>
            <a:prstGeom prst="bentConnector3">
              <a:avLst>
                <a:gd name="adj1" fmla="val 62577"/>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0" name="直線單箭頭接點 239"/>
            <p:cNvCxnSpPr>
              <a:stCxn id="233" idx="2"/>
              <a:endCxn id="234" idx="0"/>
            </p:cNvCxnSpPr>
            <p:nvPr/>
          </p:nvCxnSpPr>
          <p:spPr bwMode="auto">
            <a:xfrm rot="5400000">
              <a:off x="1071719" y="3733800"/>
              <a:ext cx="457200" cy="762000"/>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1" name="直線單箭頭接點 240"/>
            <p:cNvCxnSpPr>
              <a:stCxn id="233" idx="2"/>
              <a:endCxn id="235" idx="0"/>
            </p:cNvCxnSpPr>
            <p:nvPr/>
          </p:nvCxnSpPr>
          <p:spPr bwMode="auto">
            <a:xfrm rot="16200000" flipH="1">
              <a:off x="1703574" y="3863944"/>
              <a:ext cx="467380" cy="511891"/>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2" name="直線單箭頭接點 241"/>
            <p:cNvCxnSpPr>
              <a:stCxn id="236" idx="2"/>
              <a:endCxn id="237" idx="0"/>
            </p:cNvCxnSpPr>
            <p:nvPr/>
          </p:nvCxnSpPr>
          <p:spPr bwMode="auto">
            <a:xfrm rot="5400000">
              <a:off x="3183810" y="4359991"/>
              <a:ext cx="609600" cy="1033619"/>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3" name="直線單箭頭接點 242"/>
            <p:cNvCxnSpPr>
              <a:stCxn id="236" idx="2"/>
              <a:endCxn id="238" idx="0"/>
            </p:cNvCxnSpPr>
            <p:nvPr/>
          </p:nvCxnSpPr>
          <p:spPr bwMode="auto">
            <a:xfrm rot="16200000" flipH="1">
              <a:off x="3834963" y="4742455"/>
              <a:ext cx="609600" cy="268689"/>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4" name="矩形 243"/>
            <p:cNvSpPr/>
            <p:nvPr/>
          </p:nvSpPr>
          <p:spPr bwMode="auto">
            <a:xfrm>
              <a:off x="43018" y="5181600"/>
              <a:ext cx="1942941" cy="762000"/>
            </a:xfrm>
            <a:prstGeom prst="rect">
              <a:avLst/>
            </a:prstGeom>
            <a:solidFill>
              <a:srgbClr val="FFC600"/>
            </a:solidFill>
            <a:ln w="9525" cap="flat" cmpd="sng" algn="ctr">
              <a:solidFill>
                <a:srgbClr val="FFC6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r>
                <a:rPr lang="en-US" sz="1400" dirty="0"/>
                <a:t>Apply </a:t>
              </a:r>
              <a:r>
                <a:rPr lang="en-US" sz="1400" b="1" dirty="0">
                  <a:solidFill>
                    <a:srgbClr val="D20033"/>
                  </a:solidFill>
                </a:rPr>
                <a:t>Authorisation</a:t>
              </a:r>
              <a:r>
                <a:rPr lang="en-US" sz="1400" dirty="0"/>
                <a:t>,</a:t>
              </a:r>
            </a:p>
            <a:p>
              <a:r>
                <a:rPr lang="en-US" sz="1400" dirty="0"/>
                <a:t>if presence of SVHC</a:t>
              </a:r>
            </a:p>
            <a:p>
              <a:r>
                <a:rPr lang="en-US" sz="1400" dirty="0"/>
                <a:t> in </a:t>
              </a:r>
              <a:r>
                <a:rPr lang="en-US" sz="1400" b="1" dirty="0">
                  <a:solidFill>
                    <a:srgbClr val="D20033"/>
                  </a:solidFill>
                </a:rPr>
                <a:t>Annex XIV &gt;0.1% </a:t>
              </a:r>
            </a:p>
          </p:txBody>
        </p:sp>
        <p:cxnSp>
          <p:nvCxnSpPr>
            <p:cNvPr id="245" name="直線單箭頭接點 244"/>
            <p:cNvCxnSpPr>
              <a:stCxn id="234" idx="2"/>
              <a:endCxn id="244" idx="0"/>
            </p:cNvCxnSpPr>
            <p:nvPr/>
          </p:nvCxnSpPr>
          <p:spPr bwMode="auto">
            <a:xfrm>
              <a:off x="919319" y="4876800"/>
              <a:ext cx="95170" cy="304800"/>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6" name="Text Box 38"/>
            <p:cNvSpPr txBox="1">
              <a:spLocks noChangeArrowheads="1"/>
            </p:cNvSpPr>
            <p:nvPr/>
          </p:nvSpPr>
          <p:spPr bwMode="auto">
            <a:xfrm>
              <a:off x="3040471" y="4743448"/>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47" name="Text Box 39"/>
            <p:cNvSpPr txBox="1">
              <a:spLocks noChangeArrowheads="1"/>
            </p:cNvSpPr>
            <p:nvPr/>
          </p:nvSpPr>
          <p:spPr bwMode="auto">
            <a:xfrm>
              <a:off x="4203289" y="4743448"/>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sp>
          <p:nvSpPr>
            <p:cNvPr id="248" name="Text Box 38"/>
            <p:cNvSpPr txBox="1">
              <a:spLocks noChangeArrowheads="1"/>
            </p:cNvSpPr>
            <p:nvPr/>
          </p:nvSpPr>
          <p:spPr bwMode="auto">
            <a:xfrm>
              <a:off x="838200" y="3957640"/>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49" name="Text Box 39"/>
            <p:cNvSpPr txBox="1">
              <a:spLocks noChangeArrowheads="1"/>
            </p:cNvSpPr>
            <p:nvPr/>
          </p:nvSpPr>
          <p:spPr bwMode="auto">
            <a:xfrm>
              <a:off x="1985960" y="3942220"/>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grpSp>
      <p:grpSp>
        <p:nvGrpSpPr>
          <p:cNvPr id="251" name="群組 250"/>
          <p:cNvGrpSpPr/>
          <p:nvPr/>
        </p:nvGrpSpPr>
        <p:grpSpPr>
          <a:xfrm>
            <a:off x="3198936" y="1503773"/>
            <a:ext cx="7240676" cy="4461677"/>
            <a:chOff x="1676400" y="1503425"/>
            <a:chExt cx="7239000" cy="4460645"/>
          </a:xfrm>
        </p:grpSpPr>
        <p:cxnSp>
          <p:nvCxnSpPr>
            <p:cNvPr id="252" name="肘形接點 92"/>
            <p:cNvCxnSpPr>
              <a:endCxn id="254" idx="0"/>
            </p:cNvCxnSpPr>
            <p:nvPr/>
          </p:nvCxnSpPr>
          <p:spPr bwMode="auto">
            <a:xfrm>
              <a:off x="4572000" y="1503425"/>
              <a:ext cx="3104" cy="172975"/>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3" name="直線單箭頭接點 252"/>
            <p:cNvCxnSpPr>
              <a:stCxn id="255" idx="2"/>
              <a:endCxn id="257" idx="0"/>
            </p:cNvCxnSpPr>
            <p:nvPr/>
          </p:nvCxnSpPr>
          <p:spPr bwMode="auto">
            <a:xfrm rot="5400000">
              <a:off x="5912644" y="3040856"/>
              <a:ext cx="442912" cy="1588"/>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4" name="Text Box 6"/>
            <p:cNvSpPr txBox="1">
              <a:spLocks noChangeArrowheads="1"/>
            </p:cNvSpPr>
            <p:nvPr/>
          </p:nvSpPr>
          <p:spPr bwMode="auto">
            <a:xfrm>
              <a:off x="3214255" y="1676400"/>
              <a:ext cx="2721697" cy="369247"/>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200" dirty="0"/>
                <a:t>With </a:t>
              </a:r>
              <a:r>
                <a:rPr lang="en-US" altLang="zh-CN" sz="1200" b="1" dirty="0"/>
                <a:t>Preparations</a:t>
              </a:r>
              <a:r>
                <a:rPr lang="en-US" altLang="zh-CN" sz="1200" b="1" i="1" dirty="0"/>
                <a:t>?</a:t>
              </a:r>
            </a:p>
            <a:p>
              <a:r>
                <a:rPr lang="en-US" altLang="zh-CN" sz="1200" dirty="0"/>
                <a:t>(or intended release substances)?</a:t>
              </a:r>
            </a:p>
          </p:txBody>
        </p:sp>
        <p:sp>
          <p:nvSpPr>
            <p:cNvPr id="255" name="矩形 254"/>
            <p:cNvSpPr/>
            <p:nvPr/>
          </p:nvSpPr>
          <p:spPr bwMode="auto">
            <a:xfrm>
              <a:off x="5181600" y="2362200"/>
              <a:ext cx="1905000" cy="457200"/>
            </a:xfrm>
            <a:prstGeom prst="rect">
              <a:avLst/>
            </a:prstGeom>
            <a:solidFill>
              <a:srgbClr val="50B400"/>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Within the </a:t>
              </a:r>
              <a:r>
                <a:rPr lang="en-US" sz="1400" b="1" dirty="0">
                  <a:latin typeface="Arial" charset="0"/>
                </a:rPr>
                <a:t>article part</a:t>
              </a:r>
              <a:r>
                <a:rPr lang="en-US" sz="1400" dirty="0">
                  <a:latin typeface="Arial" charset="0"/>
                </a:rPr>
                <a:t>,</a:t>
              </a:r>
            </a:p>
            <a:p>
              <a:pPr algn="ctr" defTabSz="914583" eaLnBrk="0" fontAlgn="base" hangingPunct="0">
                <a:spcBef>
                  <a:spcPct val="0"/>
                </a:spcBef>
                <a:spcAft>
                  <a:spcPct val="0"/>
                </a:spcAft>
              </a:pPr>
              <a:r>
                <a:rPr lang="en-US" sz="1400" dirty="0"/>
                <a:t>Any SVHC?</a:t>
              </a:r>
              <a:endParaRPr lang="en-US" sz="1400" dirty="0">
                <a:latin typeface="Arial" charset="0"/>
              </a:endParaRPr>
            </a:p>
          </p:txBody>
        </p:sp>
        <p:cxnSp>
          <p:nvCxnSpPr>
            <p:cNvPr id="256" name="圖案 255"/>
            <p:cNvCxnSpPr>
              <a:stCxn id="254" idx="3"/>
            </p:cNvCxnSpPr>
            <p:nvPr/>
          </p:nvCxnSpPr>
          <p:spPr bwMode="auto">
            <a:xfrm>
              <a:off x="5935952" y="1861023"/>
              <a:ext cx="236248" cy="501176"/>
            </a:xfrm>
            <a:prstGeom prst="bentConnector2">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7" name="矩形 256"/>
            <p:cNvSpPr/>
            <p:nvPr/>
          </p:nvSpPr>
          <p:spPr bwMode="auto">
            <a:xfrm>
              <a:off x="5334000" y="3262312"/>
              <a:ext cx="1600200" cy="457200"/>
            </a:xfrm>
            <a:prstGeom prst="rect">
              <a:avLst/>
            </a:prstGeom>
            <a:solidFill>
              <a:srgbClr val="50B400"/>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Is the SVHC in an</a:t>
              </a:r>
            </a:p>
            <a:p>
              <a:pPr algn="ctr" defTabSz="914583" eaLnBrk="0" fontAlgn="base" hangingPunct="0">
                <a:spcBef>
                  <a:spcPct val="0"/>
                </a:spcBef>
                <a:spcAft>
                  <a:spcPct val="0"/>
                </a:spcAft>
              </a:pPr>
              <a:r>
                <a:rPr lang="en-US" sz="1400" dirty="0"/>
                <a:t>Article </a:t>
              </a:r>
              <a:r>
                <a:rPr lang="en-US" sz="1400" b="1" dirty="0">
                  <a:solidFill>
                    <a:srgbClr val="D20033"/>
                  </a:solidFill>
                </a:rPr>
                <a:t>&gt;0.1% ?</a:t>
              </a:r>
              <a:endParaRPr lang="en-US" sz="1400" b="1" dirty="0">
                <a:solidFill>
                  <a:srgbClr val="D20033"/>
                </a:solidFill>
                <a:latin typeface="Arial" charset="0"/>
              </a:endParaRPr>
            </a:p>
          </p:txBody>
        </p:sp>
        <p:sp>
          <p:nvSpPr>
            <p:cNvPr id="258" name="矩形 257"/>
            <p:cNvSpPr/>
            <p:nvPr/>
          </p:nvSpPr>
          <p:spPr bwMode="auto">
            <a:xfrm>
              <a:off x="5410200" y="4114800"/>
              <a:ext cx="2286000" cy="457200"/>
            </a:xfrm>
            <a:prstGeom prst="rect">
              <a:avLst/>
            </a:prstGeom>
            <a:solidFill>
              <a:srgbClr val="50B400"/>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That particular SVHC import</a:t>
              </a:r>
            </a:p>
            <a:p>
              <a:pPr algn="ctr" defTabSz="914583" eaLnBrk="0" fontAlgn="base" hangingPunct="0">
                <a:spcBef>
                  <a:spcPct val="0"/>
                </a:spcBef>
                <a:spcAft>
                  <a:spcPct val="0"/>
                </a:spcAft>
              </a:pPr>
              <a:r>
                <a:rPr lang="en-US" sz="1400" dirty="0"/>
                <a:t>To EU </a:t>
              </a:r>
              <a:r>
                <a:rPr lang="en-US" sz="1400" b="1" dirty="0">
                  <a:solidFill>
                    <a:srgbClr val="D20033"/>
                  </a:solidFill>
                </a:rPr>
                <a:t>&gt;1 ton p.a. ?</a:t>
              </a:r>
              <a:endParaRPr lang="en-US" sz="1400" b="1" dirty="0">
                <a:solidFill>
                  <a:srgbClr val="D20033"/>
                </a:solidFill>
                <a:latin typeface="Arial" charset="0"/>
              </a:endParaRPr>
            </a:p>
          </p:txBody>
        </p:sp>
        <p:sp>
          <p:nvSpPr>
            <p:cNvPr id="259" name="矩形 258"/>
            <p:cNvSpPr/>
            <p:nvPr/>
          </p:nvSpPr>
          <p:spPr bwMode="auto">
            <a:xfrm>
              <a:off x="5105400" y="5410200"/>
              <a:ext cx="1066800" cy="457200"/>
            </a:xfrm>
            <a:prstGeom prst="rect">
              <a:avLst/>
            </a:prstGeom>
            <a:solidFill>
              <a:srgbClr val="FF33CC"/>
            </a:solidFill>
            <a:ln w="9525" cap="flat" cmpd="sng" algn="ctr">
              <a:solidFill>
                <a:srgbClr val="FF33C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b="1" dirty="0">
                  <a:latin typeface="Arial" charset="0"/>
                </a:rPr>
                <a:t>Notification</a:t>
              </a:r>
            </a:p>
            <a:p>
              <a:pPr algn="ctr" defTabSz="914583" eaLnBrk="0" fontAlgn="base" hangingPunct="0">
                <a:spcBef>
                  <a:spcPct val="0"/>
                </a:spcBef>
                <a:spcAft>
                  <a:spcPct val="0"/>
                </a:spcAft>
              </a:pPr>
              <a:r>
                <a:rPr lang="en-US" sz="1400" dirty="0"/>
                <a:t>Is required</a:t>
              </a:r>
            </a:p>
          </p:txBody>
        </p:sp>
        <p:sp>
          <p:nvSpPr>
            <p:cNvPr id="260" name="Text Box 40"/>
            <p:cNvSpPr txBox="1">
              <a:spLocks noChangeArrowheads="1"/>
            </p:cNvSpPr>
            <p:nvPr/>
          </p:nvSpPr>
          <p:spPr bwMode="auto">
            <a:xfrm>
              <a:off x="6477000" y="5410200"/>
              <a:ext cx="2438400" cy="553870"/>
            </a:xfrm>
            <a:prstGeom prst="rect">
              <a:avLst/>
            </a:prstGeom>
            <a:solidFill>
              <a:srgbClr val="FF33CC"/>
            </a:solidFill>
            <a:ln w="9525" algn="ctr">
              <a:solidFill>
                <a:srgbClr val="FF33CC"/>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200" dirty="0"/>
                <a:t>Provide chemical information</a:t>
              </a:r>
            </a:p>
            <a:p>
              <a:r>
                <a:rPr lang="en-US" altLang="zh-CN" sz="1200" dirty="0"/>
                <a:t>To consumers within 45 days of the receipt of this request</a:t>
              </a:r>
            </a:p>
          </p:txBody>
        </p:sp>
        <p:sp>
          <p:nvSpPr>
            <p:cNvPr id="261" name="文字方塊 260"/>
            <p:cNvSpPr txBox="1"/>
            <p:nvPr/>
          </p:nvSpPr>
          <p:spPr>
            <a:xfrm>
              <a:off x="7772400" y="4124980"/>
              <a:ext cx="1099981" cy="523220"/>
            </a:xfrm>
            <a:prstGeom prst="rect">
              <a:avLst/>
            </a:prstGeom>
            <a:noFill/>
          </p:spPr>
          <p:txBody>
            <a:bodyPr wrap="none" rtlCol="0">
              <a:spAutoFit/>
            </a:bodyPr>
            <a:lstStyle/>
            <a:p>
              <a:r>
                <a:rPr lang="en-US" sz="1400" b="1" dirty="0"/>
                <a:t>No Further</a:t>
              </a:r>
            </a:p>
            <a:p>
              <a:r>
                <a:rPr lang="en-US" sz="1400" b="1" dirty="0"/>
                <a:t>Action</a:t>
              </a:r>
            </a:p>
          </p:txBody>
        </p:sp>
        <p:sp>
          <p:nvSpPr>
            <p:cNvPr id="262" name="文字方塊 261"/>
            <p:cNvSpPr txBox="1"/>
            <p:nvPr/>
          </p:nvSpPr>
          <p:spPr>
            <a:xfrm>
              <a:off x="7010400" y="3220760"/>
              <a:ext cx="1099981" cy="523220"/>
            </a:xfrm>
            <a:prstGeom prst="rect">
              <a:avLst/>
            </a:prstGeom>
            <a:noFill/>
          </p:spPr>
          <p:txBody>
            <a:bodyPr wrap="none" rtlCol="0">
              <a:spAutoFit/>
            </a:bodyPr>
            <a:lstStyle/>
            <a:p>
              <a:r>
                <a:rPr lang="en-US" sz="1400" b="1" dirty="0"/>
                <a:t>No Further</a:t>
              </a:r>
            </a:p>
            <a:p>
              <a:r>
                <a:rPr lang="en-US" sz="1400" b="1" dirty="0"/>
                <a:t>Action</a:t>
              </a:r>
            </a:p>
          </p:txBody>
        </p:sp>
        <p:cxnSp>
          <p:nvCxnSpPr>
            <p:cNvPr id="263" name="直線單箭頭接點 262"/>
            <p:cNvCxnSpPr>
              <a:stCxn id="255" idx="2"/>
              <a:endCxn id="262" idx="0"/>
            </p:cNvCxnSpPr>
            <p:nvPr/>
          </p:nvCxnSpPr>
          <p:spPr bwMode="auto">
            <a:xfrm rot="16200000" flipH="1">
              <a:off x="6646565" y="2306934"/>
              <a:ext cx="401360" cy="1426291"/>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4" name="直線單箭頭接點 263"/>
            <p:cNvCxnSpPr>
              <a:stCxn id="257" idx="2"/>
              <a:endCxn id="258" idx="0"/>
            </p:cNvCxnSpPr>
            <p:nvPr/>
          </p:nvCxnSpPr>
          <p:spPr bwMode="auto">
            <a:xfrm rot="16200000" flipH="1">
              <a:off x="6146006" y="3707606"/>
              <a:ext cx="395288" cy="419100"/>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5" name="直線單箭頭接點 264"/>
            <p:cNvCxnSpPr>
              <a:stCxn id="257" idx="2"/>
              <a:endCxn id="261" idx="0"/>
            </p:cNvCxnSpPr>
            <p:nvPr/>
          </p:nvCxnSpPr>
          <p:spPr bwMode="auto">
            <a:xfrm rot="16200000" flipH="1">
              <a:off x="7025511" y="2828100"/>
              <a:ext cx="405468" cy="2188291"/>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6" name="直線單箭頭接點 265"/>
            <p:cNvCxnSpPr>
              <a:stCxn id="258" idx="2"/>
              <a:endCxn id="259" idx="0"/>
            </p:cNvCxnSpPr>
            <p:nvPr/>
          </p:nvCxnSpPr>
          <p:spPr bwMode="auto">
            <a:xfrm rot="5400000">
              <a:off x="5676900" y="4533900"/>
              <a:ext cx="838200" cy="914400"/>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7" name="直線單箭頭接點 266"/>
            <p:cNvCxnSpPr>
              <a:stCxn id="258" idx="2"/>
              <a:endCxn id="260" idx="0"/>
            </p:cNvCxnSpPr>
            <p:nvPr/>
          </p:nvCxnSpPr>
          <p:spPr bwMode="auto">
            <a:xfrm>
              <a:off x="6553200" y="4572000"/>
              <a:ext cx="1143000" cy="838200"/>
            </a:xfrm>
            <a:prstGeom prst="straightConnector1">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68" name="Text Box 38"/>
            <p:cNvSpPr txBox="1">
              <a:spLocks noChangeArrowheads="1"/>
            </p:cNvSpPr>
            <p:nvPr/>
          </p:nvSpPr>
          <p:spPr bwMode="auto">
            <a:xfrm>
              <a:off x="5500688" y="2956380"/>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69" name="Text Box 39"/>
            <p:cNvSpPr txBox="1">
              <a:spLocks noChangeArrowheads="1"/>
            </p:cNvSpPr>
            <p:nvPr/>
          </p:nvSpPr>
          <p:spPr bwMode="auto">
            <a:xfrm>
              <a:off x="6771552" y="2832556"/>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sp>
          <p:nvSpPr>
            <p:cNvPr id="270" name="Text Box 38"/>
            <p:cNvSpPr txBox="1">
              <a:spLocks noChangeArrowheads="1"/>
            </p:cNvSpPr>
            <p:nvPr/>
          </p:nvSpPr>
          <p:spPr bwMode="auto">
            <a:xfrm>
              <a:off x="5986464" y="3857624"/>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71" name="Text Box 39"/>
            <p:cNvSpPr txBox="1">
              <a:spLocks noChangeArrowheads="1"/>
            </p:cNvSpPr>
            <p:nvPr/>
          </p:nvSpPr>
          <p:spPr bwMode="auto">
            <a:xfrm>
              <a:off x="7315200" y="3733800"/>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sp>
          <p:nvSpPr>
            <p:cNvPr id="272" name="Text Box 38"/>
            <p:cNvSpPr txBox="1">
              <a:spLocks noChangeArrowheads="1"/>
            </p:cNvSpPr>
            <p:nvPr/>
          </p:nvSpPr>
          <p:spPr bwMode="auto">
            <a:xfrm>
              <a:off x="5638800" y="4876800"/>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73" name="Text Box 39"/>
            <p:cNvSpPr txBox="1">
              <a:spLocks noChangeArrowheads="1"/>
            </p:cNvSpPr>
            <p:nvPr/>
          </p:nvSpPr>
          <p:spPr bwMode="auto">
            <a:xfrm>
              <a:off x="7315200" y="4876800"/>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sp>
          <p:nvSpPr>
            <p:cNvPr id="274" name="矩形 273"/>
            <p:cNvSpPr/>
            <p:nvPr/>
          </p:nvSpPr>
          <p:spPr bwMode="auto">
            <a:xfrm>
              <a:off x="2133600" y="2271712"/>
              <a:ext cx="2514600" cy="685800"/>
            </a:xfrm>
            <a:prstGeom prst="rect">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gn="ctr" defTabSz="914583" eaLnBrk="0" fontAlgn="base" hangingPunct="0">
                <a:spcBef>
                  <a:spcPct val="0"/>
                </a:spcBef>
                <a:spcAft>
                  <a:spcPct val="0"/>
                </a:spcAft>
              </a:pPr>
              <a:r>
                <a:rPr lang="en-US" sz="1400" dirty="0">
                  <a:latin typeface="Arial" charset="0"/>
                </a:rPr>
                <a:t>Within the </a:t>
              </a:r>
              <a:r>
                <a:rPr lang="en-US" sz="1400" b="1" dirty="0">
                  <a:latin typeface="Arial" charset="0"/>
                </a:rPr>
                <a:t>preparation /</a:t>
              </a:r>
            </a:p>
            <a:p>
              <a:pPr algn="ctr" defTabSz="914583" eaLnBrk="0" fontAlgn="base" hangingPunct="0">
                <a:spcBef>
                  <a:spcPct val="0"/>
                </a:spcBef>
                <a:spcAft>
                  <a:spcPct val="0"/>
                </a:spcAft>
              </a:pPr>
              <a:r>
                <a:rPr lang="en-US" sz="1400" b="1" dirty="0"/>
                <a:t>Intended release substances</a:t>
              </a:r>
            </a:p>
            <a:p>
              <a:pPr algn="ctr" defTabSz="914583" eaLnBrk="0" fontAlgn="base" hangingPunct="0">
                <a:spcBef>
                  <a:spcPct val="0"/>
                </a:spcBef>
                <a:spcAft>
                  <a:spcPct val="0"/>
                </a:spcAft>
              </a:pPr>
              <a:r>
                <a:rPr lang="en-US" sz="1400" b="1" dirty="0">
                  <a:latin typeface="Arial" charset="0"/>
                </a:rPr>
                <a:t>Each </a:t>
              </a:r>
              <a:r>
                <a:rPr lang="en-US" sz="1400" dirty="0">
                  <a:latin typeface="Arial" charset="0"/>
                </a:rPr>
                <a:t>chemical……</a:t>
              </a:r>
            </a:p>
          </p:txBody>
        </p:sp>
        <p:cxnSp>
          <p:nvCxnSpPr>
            <p:cNvPr id="275" name="直線單箭頭接點 274"/>
            <p:cNvCxnSpPr>
              <a:stCxn id="274" idx="1"/>
            </p:cNvCxnSpPr>
            <p:nvPr/>
          </p:nvCxnSpPr>
          <p:spPr bwMode="auto">
            <a:xfrm rot="10800000" flipV="1">
              <a:off x="1676400" y="2638424"/>
              <a:ext cx="457200" cy="0"/>
            </a:xfrm>
            <a:prstGeom prst="straightConnector1">
              <a:avLst/>
            </a:prstGeom>
            <a:solidFill>
              <a:srgbClr val="F3FC84">
                <a:alpha val="34000"/>
              </a:srgbClr>
            </a:solidFill>
            <a:ln w="2857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 name="圖案 275"/>
            <p:cNvCxnSpPr>
              <a:stCxn id="254" idx="1"/>
            </p:cNvCxnSpPr>
            <p:nvPr/>
          </p:nvCxnSpPr>
          <p:spPr bwMode="auto">
            <a:xfrm rot="10800000" flipV="1">
              <a:off x="2971805" y="1861022"/>
              <a:ext cx="242451" cy="424975"/>
            </a:xfrm>
            <a:prstGeom prst="bentConnector2">
              <a:avLst/>
            </a:prstGeom>
            <a:solidFill>
              <a:srgbClr val="F3FC84">
                <a:alpha val="34000"/>
              </a:srgbClr>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7" name="Text Box 38"/>
            <p:cNvSpPr txBox="1">
              <a:spLocks noChangeArrowheads="1"/>
            </p:cNvSpPr>
            <p:nvPr/>
          </p:nvSpPr>
          <p:spPr bwMode="auto">
            <a:xfrm>
              <a:off x="2619376" y="1884820"/>
              <a:ext cx="312329"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Yes</a:t>
              </a:r>
            </a:p>
          </p:txBody>
        </p:sp>
        <p:sp>
          <p:nvSpPr>
            <p:cNvPr id="278" name="Text Box 39"/>
            <p:cNvSpPr txBox="1">
              <a:spLocks noChangeArrowheads="1"/>
            </p:cNvSpPr>
            <p:nvPr/>
          </p:nvSpPr>
          <p:spPr bwMode="auto">
            <a:xfrm>
              <a:off x="6219824" y="1918156"/>
              <a:ext cx="238848" cy="215444"/>
            </a:xfrm>
            <a:prstGeom prst="rect">
              <a:avLst/>
            </a:prstGeom>
            <a:noFill/>
            <a:ln>
              <a:noFill/>
            </a:ln>
            <a:effectLst/>
            <a:extLst>
              <a:ext uri="{909E8E84-426E-40DD-AFC4-6F175D3DCCD1}">
                <a14:hiddenFill xmlns:a14="http://schemas.microsoft.com/office/drawing/2010/main">
                  <a:solidFill>
                    <a:srgbClr val="F3FC84">
                      <a:alpha val="34117"/>
                    </a:srgbClr>
                  </a:solidFill>
                </a14:hiddenFill>
              </a:ext>
              <a:ext uri="{91240B29-F687-4F45-9708-019B960494DF}">
                <a14:hiddenLine xmlns:a14="http://schemas.microsoft.com/office/drawing/2010/main" w="9525" algn="ctr">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sz="1700">
                  <a:solidFill>
                    <a:schemeClr val="tx1"/>
                  </a:solidFill>
                  <a:latin typeface="Arial" charset="0"/>
                  <a:ea typeface="宋体" pitchFamily="2" charset="-122"/>
                </a:defRPr>
              </a:lvl1pPr>
              <a:lvl2pPr marL="742950" indent="-285750">
                <a:defRPr sz="1700">
                  <a:solidFill>
                    <a:schemeClr val="tx1"/>
                  </a:solidFill>
                  <a:latin typeface="Arial" charset="0"/>
                  <a:ea typeface="宋体" pitchFamily="2" charset="-122"/>
                </a:defRPr>
              </a:lvl2pPr>
              <a:lvl3pPr marL="1143000" indent="-228600">
                <a:defRPr sz="1700">
                  <a:solidFill>
                    <a:schemeClr val="tx1"/>
                  </a:solidFill>
                  <a:latin typeface="Arial" charset="0"/>
                  <a:ea typeface="宋体" pitchFamily="2" charset="-122"/>
                </a:defRPr>
              </a:lvl3pPr>
              <a:lvl4pPr marL="1600200" indent="-228600">
                <a:defRPr sz="1700">
                  <a:solidFill>
                    <a:schemeClr val="tx1"/>
                  </a:solidFill>
                  <a:latin typeface="Arial" charset="0"/>
                  <a:ea typeface="宋体" pitchFamily="2" charset="-122"/>
                </a:defRPr>
              </a:lvl4pPr>
              <a:lvl5pPr marL="2057400" indent="-228600">
                <a:defRPr sz="1700">
                  <a:solidFill>
                    <a:schemeClr val="tx1"/>
                  </a:solidFill>
                  <a:latin typeface="Arial" charset="0"/>
                  <a:ea typeface="宋体" pitchFamily="2" charset="-122"/>
                </a:defRPr>
              </a:lvl5pPr>
              <a:lvl6pPr marL="2514600" indent="-228600" algn="ctr" eaLnBrk="0" fontAlgn="base" hangingPunct="0">
                <a:spcBef>
                  <a:spcPct val="0"/>
                </a:spcBef>
                <a:spcAft>
                  <a:spcPct val="0"/>
                </a:spcAft>
                <a:defRPr sz="1700">
                  <a:solidFill>
                    <a:schemeClr val="tx1"/>
                  </a:solidFill>
                  <a:latin typeface="Arial" charset="0"/>
                  <a:ea typeface="宋体" pitchFamily="2" charset="-122"/>
                </a:defRPr>
              </a:lvl6pPr>
              <a:lvl7pPr marL="2971800" indent="-228600" algn="ctr" eaLnBrk="0" fontAlgn="base" hangingPunct="0">
                <a:spcBef>
                  <a:spcPct val="0"/>
                </a:spcBef>
                <a:spcAft>
                  <a:spcPct val="0"/>
                </a:spcAft>
                <a:defRPr sz="1700">
                  <a:solidFill>
                    <a:schemeClr val="tx1"/>
                  </a:solidFill>
                  <a:latin typeface="Arial" charset="0"/>
                  <a:ea typeface="宋体" pitchFamily="2" charset="-122"/>
                </a:defRPr>
              </a:lvl7pPr>
              <a:lvl8pPr marL="3429000" indent="-228600" algn="ctr" eaLnBrk="0" fontAlgn="base" hangingPunct="0">
                <a:spcBef>
                  <a:spcPct val="0"/>
                </a:spcBef>
                <a:spcAft>
                  <a:spcPct val="0"/>
                </a:spcAft>
                <a:defRPr sz="1700">
                  <a:solidFill>
                    <a:schemeClr val="tx1"/>
                  </a:solidFill>
                  <a:latin typeface="Arial" charset="0"/>
                  <a:ea typeface="宋体" pitchFamily="2" charset="-122"/>
                </a:defRPr>
              </a:lvl8pPr>
              <a:lvl9pPr marL="3886200" indent="-228600" algn="ctr" eaLnBrk="0" fontAlgn="base" hangingPunct="0">
                <a:spcBef>
                  <a:spcPct val="0"/>
                </a:spcBef>
                <a:spcAft>
                  <a:spcPct val="0"/>
                </a:spcAft>
                <a:defRPr sz="1700">
                  <a:solidFill>
                    <a:schemeClr val="tx1"/>
                  </a:solidFill>
                  <a:latin typeface="Arial" charset="0"/>
                  <a:ea typeface="宋体" pitchFamily="2" charset="-122"/>
                </a:defRPr>
              </a:lvl9pPr>
            </a:lstStyle>
            <a:p>
              <a:r>
                <a:rPr lang="en-US" altLang="zh-CN" sz="1400" b="1" i="1" dirty="0">
                  <a:solidFill>
                    <a:schemeClr val="dk2"/>
                  </a:solidFill>
                </a:rPr>
                <a:t>No</a:t>
              </a:r>
            </a:p>
          </p:txBody>
        </p:sp>
      </p:grpSp>
    </p:spTree>
    <p:extLst>
      <p:ext uri="{BB962C8B-B14F-4D97-AF65-F5344CB8AC3E}">
        <p14:creationId xmlns:p14="http://schemas.microsoft.com/office/powerpoint/2010/main" val="28830737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550862" y="1700212"/>
            <a:ext cx="11087573" cy="4177331"/>
          </a:xfrm>
        </p:spPr>
        <p:txBody>
          <a:bodyPr/>
          <a:lstStyle/>
          <a:p>
            <a:pPr marL="285750" indent="-285750">
              <a:buFont typeface="Wingdings" panose="05000000000000000000" pitchFamily="2" charset="2"/>
              <a:buChar char="§"/>
            </a:pPr>
            <a:r>
              <a:rPr lang="en-US" sz="1800" dirty="0" smtClean="0"/>
              <a:t>Candidate list </a:t>
            </a:r>
            <a:r>
              <a:rPr lang="en-US" sz="1800" dirty="0"/>
              <a:t>also known as </a:t>
            </a:r>
            <a:r>
              <a:rPr lang="en-US" sz="1800" dirty="0" smtClean="0"/>
              <a:t>Substances of very high concern</a:t>
            </a:r>
          </a:p>
          <a:p>
            <a:pPr marL="285750" indent="-285750">
              <a:buFont typeface="Wingdings" panose="05000000000000000000" pitchFamily="2" charset="2"/>
              <a:buChar char="§"/>
            </a:pPr>
            <a:r>
              <a:rPr lang="en-US" sz="1800" dirty="0" smtClean="0"/>
              <a:t>SVHC are CMR substances or (very) toxic, (very) persistent, (very) bioaccumulative or have endocrine properties</a:t>
            </a:r>
          </a:p>
          <a:p>
            <a:pPr marL="285750" indent="-285750">
              <a:buFont typeface="Wingdings" panose="05000000000000000000" pitchFamily="2" charset="2"/>
              <a:buChar char="§"/>
            </a:pPr>
            <a:r>
              <a:rPr lang="en-US" sz="1800" dirty="0" smtClean="0"/>
              <a:t>Member states propose substances to be added to that list</a:t>
            </a:r>
          </a:p>
          <a:p>
            <a:pPr marL="285750" indent="-285750">
              <a:buFont typeface="Wingdings" panose="05000000000000000000" pitchFamily="2" charset="2"/>
              <a:buChar char="§"/>
            </a:pPr>
            <a:r>
              <a:rPr lang="en-US" sz="1800" dirty="0" smtClean="0"/>
              <a:t>ECHA will collect comments from interested parties</a:t>
            </a:r>
          </a:p>
          <a:p>
            <a:pPr marL="285750" indent="-285750">
              <a:buFont typeface="Wingdings" panose="05000000000000000000" pitchFamily="2" charset="2"/>
              <a:buChar char="§"/>
            </a:pPr>
            <a:r>
              <a:rPr lang="en-US" sz="1800" dirty="0" smtClean="0"/>
              <a:t>Proposed substance can be added to the SVHC list which will lead to several duties according to article 33</a:t>
            </a:r>
          </a:p>
          <a:p>
            <a:pPr marL="285750" indent="-285750">
              <a:buFont typeface="Wingdings" panose="05000000000000000000" pitchFamily="2" charset="2"/>
              <a:buChar char="§"/>
            </a:pPr>
            <a:r>
              <a:rPr lang="en-US" sz="1800" dirty="0" smtClean="0"/>
              <a:t>Biannual proposing</a:t>
            </a:r>
          </a:p>
          <a:p>
            <a:pPr marL="285750" indent="-285750">
              <a:buFont typeface="Wingdings" panose="05000000000000000000" pitchFamily="2" charset="2"/>
              <a:buChar char="§"/>
            </a:pPr>
            <a:r>
              <a:rPr lang="en-US" sz="1800" dirty="0" smtClean="0"/>
              <a:t>Biannual update of candidate list, currently 219 </a:t>
            </a:r>
            <a:r>
              <a:rPr lang="en-US" sz="1800" dirty="0"/>
              <a:t>substances listed, </a:t>
            </a:r>
            <a:r>
              <a:rPr lang="en-US" sz="1800" dirty="0">
                <a:solidFill>
                  <a:srgbClr val="D20033"/>
                </a:solidFill>
                <a:hlinkClick r:id="rId3"/>
              </a:rPr>
              <a:t>https://</a:t>
            </a:r>
            <a:r>
              <a:rPr lang="en-US" sz="1800" dirty="0" smtClean="0">
                <a:solidFill>
                  <a:srgbClr val="D20033"/>
                </a:solidFill>
                <a:hlinkClick r:id="rId3"/>
              </a:rPr>
              <a:t>www.echa.europa.eu/candidate-list-table</a:t>
            </a:r>
            <a:endParaRPr lang="en-US" sz="1800" dirty="0" smtClean="0">
              <a:solidFill>
                <a:srgbClr val="D20033"/>
              </a:solidFill>
            </a:endParaRPr>
          </a:p>
          <a:p>
            <a:pPr marL="285750" indent="-285750">
              <a:buFont typeface="Wingdings" panose="05000000000000000000" pitchFamily="2" charset="2"/>
              <a:buChar char="§"/>
            </a:pPr>
            <a:endParaRPr lang="en-US" sz="1800" dirty="0" smtClean="0">
              <a:solidFill>
                <a:srgbClr val="D20033"/>
              </a:solidFill>
            </a:endParaRPr>
          </a:p>
          <a:p>
            <a:pPr marL="285750" indent="-285750">
              <a:buFont typeface="Wingdings" panose="05000000000000000000" pitchFamily="2" charset="2"/>
              <a:buChar char="§"/>
            </a:pPr>
            <a:endParaRPr lang="en-US" sz="1800" dirty="0" smtClean="0"/>
          </a:p>
          <a:p>
            <a:endParaRPr lang="en-US" sz="1800" dirty="0" smtClean="0"/>
          </a:p>
          <a:p>
            <a:endParaRPr lang="en-US" dirty="0" smtClean="0"/>
          </a:p>
        </p:txBody>
      </p:sp>
      <p:sp>
        <p:nvSpPr>
          <p:cNvPr id="7" name="Text Placeholder 6"/>
          <p:cNvSpPr>
            <a:spLocks noGrp="1"/>
          </p:cNvSpPr>
          <p:nvPr>
            <p:ph type="body" sz="quarter" idx="14"/>
          </p:nvPr>
        </p:nvSpPr>
        <p:spPr/>
        <p:txBody>
          <a:bodyPr/>
          <a:lstStyle/>
          <a:p>
            <a:r>
              <a:rPr lang="en-US" dirty="0" smtClean="0"/>
              <a:t>REACH – Candidate list</a:t>
            </a:r>
          </a:p>
        </p:txBody>
      </p:sp>
    </p:spTree>
    <p:extLst>
      <p:ext uri="{BB962C8B-B14F-4D97-AF65-F5344CB8AC3E}">
        <p14:creationId xmlns:p14="http://schemas.microsoft.com/office/powerpoint/2010/main" val="18806168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0862" y="404813"/>
            <a:ext cx="11088688" cy="432000"/>
          </a:xfrm>
        </p:spPr>
        <p:txBody>
          <a:bodyPr/>
          <a:lstStyle/>
          <a:p>
            <a:r>
              <a:rPr lang="en-US" altLang="zh-CN" dirty="0"/>
              <a:t>3</a:t>
            </a:r>
            <a:r>
              <a:rPr lang="en-US" altLang="zh-CN" dirty="0" smtClean="0"/>
              <a:t>. </a:t>
            </a:r>
            <a:r>
              <a:rPr lang="en-US" dirty="0" smtClean="0"/>
              <a:t>Candidate List</a:t>
            </a:r>
            <a:endParaRPr lang="en-GB" dirty="0"/>
          </a:p>
        </p:txBody>
      </p:sp>
      <p:sp>
        <p:nvSpPr>
          <p:cNvPr id="3" name="Date Placeholder 2"/>
          <p:cNvSpPr>
            <a:spLocks noGrp="1"/>
          </p:cNvSpPr>
          <p:nvPr>
            <p:ph type="dt" sz="half" idx="4294967295"/>
          </p:nvPr>
        </p:nvSpPr>
        <p:spPr/>
        <p:txBody>
          <a:bodyPr/>
          <a:lstStyle/>
          <a:p>
            <a:endParaRPr lang="en-US" dirty="0"/>
          </a:p>
        </p:txBody>
      </p:sp>
      <p:sp>
        <p:nvSpPr>
          <p:cNvPr id="6" name="Text Placeholder 5"/>
          <p:cNvSpPr>
            <a:spLocks noGrp="1"/>
          </p:cNvSpPr>
          <p:nvPr>
            <p:ph type="body" sz="quarter" idx="13"/>
          </p:nvPr>
        </p:nvSpPr>
        <p:spPr/>
        <p:txBody>
          <a:bodyPr/>
          <a:lstStyle/>
          <a:p>
            <a:r>
              <a:rPr lang="en-US" altLang="zh-CN" dirty="0" smtClean="0"/>
              <a:t>The identification of SVHC</a:t>
            </a:r>
            <a:endParaRPr lang="en-GB" dirty="0"/>
          </a:p>
        </p:txBody>
      </p:sp>
      <p:sp>
        <p:nvSpPr>
          <p:cNvPr id="7" name="TextBox 6"/>
          <p:cNvSpPr txBox="1"/>
          <p:nvPr/>
        </p:nvSpPr>
        <p:spPr>
          <a:xfrm>
            <a:off x="567911" y="1711099"/>
            <a:ext cx="10828734" cy="5170646"/>
          </a:xfrm>
          <a:prstGeom prst="rect">
            <a:avLst/>
          </a:prstGeom>
          <a:noFill/>
        </p:spPr>
        <p:txBody>
          <a:bodyPr vert="horz" wrap="none" lIns="0" rtlCol="0">
            <a:spAutoFit/>
          </a:bodyPr>
          <a:lstStyle/>
          <a:p>
            <a:pPr marL="177800" indent="-177800">
              <a:lnSpc>
                <a:spcPts val="2200"/>
              </a:lnSpc>
              <a:buClr>
                <a:schemeClr val="tx2"/>
              </a:buClr>
              <a:buFont typeface="Wingdings" panose="05000000000000000000" pitchFamily="2" charset="2"/>
              <a:buChar char="§"/>
            </a:pPr>
            <a:r>
              <a:rPr lang="en-US" sz="1600" dirty="0" smtClean="0"/>
              <a:t>Reason </a:t>
            </a:r>
            <a:r>
              <a:rPr lang="en-US" sz="1600" dirty="0"/>
              <a:t>for </a:t>
            </a:r>
            <a:r>
              <a:rPr lang="en-US" sz="1600" dirty="0" smtClean="0"/>
              <a:t>inclusion (in accordance to CLP regulation):</a:t>
            </a:r>
            <a:endParaRPr lang="en-US" sz="1600" dirty="0"/>
          </a:p>
          <a:p>
            <a:pPr marL="285750" indent="-285750">
              <a:lnSpc>
                <a:spcPts val="2200"/>
              </a:lnSpc>
              <a:buClr>
                <a:schemeClr val="tx2"/>
              </a:buClr>
              <a:buFontTx/>
              <a:buChar char="-"/>
            </a:pPr>
            <a:r>
              <a:rPr lang="en-GB" sz="1600" dirty="0"/>
              <a:t>Article 57(a) - carcinogenic category 1A or 1B; </a:t>
            </a:r>
          </a:p>
          <a:p>
            <a:pPr marL="285750" indent="-285750">
              <a:lnSpc>
                <a:spcPts val="2200"/>
              </a:lnSpc>
              <a:buClr>
                <a:schemeClr val="tx2"/>
              </a:buClr>
              <a:buFontTx/>
              <a:buChar char="-"/>
            </a:pPr>
            <a:r>
              <a:rPr lang="en-GB" sz="1600" dirty="0"/>
              <a:t>Article 57(b) - mutagenic category 1A or 1B; </a:t>
            </a:r>
          </a:p>
          <a:p>
            <a:pPr marL="285750" indent="-285750">
              <a:lnSpc>
                <a:spcPts val="2200"/>
              </a:lnSpc>
              <a:buClr>
                <a:schemeClr val="tx2"/>
              </a:buClr>
              <a:buFontTx/>
              <a:buChar char="-"/>
            </a:pPr>
            <a:r>
              <a:rPr lang="en-GB" sz="1600" dirty="0"/>
              <a:t>Article 57(c) - toxic for reproduction category 1A or 1B; </a:t>
            </a:r>
          </a:p>
          <a:p>
            <a:pPr marL="285750" indent="-285750">
              <a:lnSpc>
                <a:spcPts val="2200"/>
              </a:lnSpc>
              <a:buClr>
                <a:schemeClr val="tx2"/>
              </a:buClr>
              <a:buFontTx/>
              <a:buChar char="-"/>
            </a:pPr>
            <a:r>
              <a:rPr lang="en-GB" sz="1600" dirty="0"/>
              <a:t>Article 57(d) - persistent, bioaccumulative and toxic (PBT); </a:t>
            </a:r>
          </a:p>
          <a:p>
            <a:pPr marL="285750" indent="-285750">
              <a:lnSpc>
                <a:spcPts val="2200"/>
              </a:lnSpc>
              <a:buClr>
                <a:schemeClr val="tx2"/>
              </a:buClr>
              <a:buFontTx/>
              <a:buChar char="-"/>
            </a:pPr>
            <a:r>
              <a:rPr lang="en-GB" sz="1600" dirty="0"/>
              <a:t>Article 57(e) - very persistent and very bioaccumulative (vPvB); </a:t>
            </a:r>
          </a:p>
          <a:p>
            <a:pPr marL="285750" indent="-285750">
              <a:lnSpc>
                <a:spcPts val="2200"/>
              </a:lnSpc>
              <a:buClr>
                <a:schemeClr val="tx2"/>
              </a:buClr>
              <a:buFontTx/>
              <a:buChar char="-"/>
            </a:pPr>
            <a:r>
              <a:rPr lang="en-GB" sz="1600" dirty="0"/>
              <a:t>Article 57(f) - equivalent level of concern having probable serious effects to human health (and/or) the environment.</a:t>
            </a:r>
          </a:p>
          <a:p>
            <a:pPr marL="177800" indent="-177800">
              <a:lnSpc>
                <a:spcPts val="2200"/>
              </a:lnSpc>
              <a:buClr>
                <a:schemeClr val="tx2"/>
              </a:buClr>
              <a:buFont typeface="Wingdings" panose="05000000000000000000" pitchFamily="2" charset="2"/>
              <a:buChar char="§"/>
            </a:pPr>
            <a:endParaRPr lang="en-US" sz="1600" b="0" i="0" u="none" baseline="0" dirty="0" smtClean="0">
              <a:latin typeface="Arial"/>
            </a:endParaRPr>
          </a:p>
          <a:p>
            <a:pPr marL="177800" indent="-177800">
              <a:lnSpc>
                <a:spcPts val="2200"/>
              </a:lnSpc>
              <a:buClr>
                <a:schemeClr val="tx2"/>
              </a:buClr>
              <a:buFont typeface="Wingdings" panose="05000000000000000000" pitchFamily="2" charset="2"/>
              <a:buChar char="§"/>
            </a:pPr>
            <a:r>
              <a:rPr lang="en-US" sz="1600" dirty="0" smtClean="0">
                <a:latin typeface="Arial"/>
              </a:rPr>
              <a:t>Consultation of the substances:</a:t>
            </a:r>
          </a:p>
          <a:p>
            <a:pPr marL="285750" indent="-285750">
              <a:lnSpc>
                <a:spcPts val="2200"/>
              </a:lnSpc>
              <a:buClr>
                <a:schemeClr val="tx2"/>
              </a:buClr>
              <a:buFontTx/>
              <a:buChar char="-"/>
            </a:pPr>
            <a:r>
              <a:rPr lang="en-US" sz="1600" dirty="0" smtClean="0"/>
              <a:t>twice </a:t>
            </a:r>
            <a:r>
              <a:rPr lang="en-US" sz="1600" dirty="0"/>
              <a:t>/ year, 45 </a:t>
            </a:r>
            <a:r>
              <a:rPr lang="en-US" sz="1600" dirty="0" smtClean="0"/>
              <a:t>days</a:t>
            </a:r>
          </a:p>
          <a:p>
            <a:pPr marL="177800" indent="-177800">
              <a:lnSpc>
                <a:spcPts val="2200"/>
              </a:lnSpc>
              <a:buClr>
                <a:schemeClr val="tx2"/>
              </a:buClr>
              <a:buFont typeface="Wingdings" panose="05000000000000000000" pitchFamily="2" charset="2"/>
              <a:buChar char="§"/>
            </a:pPr>
            <a:endParaRPr lang="en-US" sz="1600" dirty="0" smtClean="0">
              <a:latin typeface="Arial"/>
            </a:endParaRPr>
          </a:p>
          <a:p>
            <a:pPr marL="177800" indent="-177800">
              <a:lnSpc>
                <a:spcPts val="2200"/>
              </a:lnSpc>
              <a:buClr>
                <a:schemeClr val="tx2"/>
              </a:buClr>
              <a:buFont typeface="Wingdings" panose="05000000000000000000" pitchFamily="2" charset="2"/>
              <a:buChar char="§"/>
            </a:pPr>
            <a:r>
              <a:rPr lang="en-US" sz="1600" dirty="0"/>
              <a:t>Up to now </a:t>
            </a:r>
            <a:r>
              <a:rPr lang="en-US" sz="1600" dirty="0" smtClean="0"/>
              <a:t>219 substances (latest updated on July. </a:t>
            </a:r>
            <a:r>
              <a:rPr lang="en-US" sz="1600" dirty="0"/>
              <a:t>8</a:t>
            </a:r>
            <a:r>
              <a:rPr lang="en-US" sz="1600" baseline="30000" dirty="0" smtClean="0"/>
              <a:t>th</a:t>
            </a:r>
            <a:r>
              <a:rPr lang="en-US" sz="1600" dirty="0" smtClean="0"/>
              <a:t>, 2021)</a:t>
            </a:r>
          </a:p>
          <a:p>
            <a:pPr marL="177800" indent="-177800">
              <a:lnSpc>
                <a:spcPts val="2200"/>
              </a:lnSpc>
              <a:buClr>
                <a:schemeClr val="tx2"/>
              </a:buClr>
              <a:buFont typeface="Wingdings" panose="05000000000000000000" pitchFamily="2" charset="2"/>
              <a:buChar char="§"/>
            </a:pPr>
            <a:endParaRPr lang="en-US" sz="1600" dirty="0"/>
          </a:p>
          <a:p>
            <a:pPr marL="177800" indent="-177800">
              <a:lnSpc>
                <a:spcPts val="2200"/>
              </a:lnSpc>
              <a:buClr>
                <a:schemeClr val="tx2"/>
              </a:buClr>
              <a:buFont typeface="Wingdings" panose="05000000000000000000" pitchFamily="2" charset="2"/>
              <a:buChar char="§"/>
            </a:pPr>
            <a:r>
              <a:rPr lang="en-US" sz="1600" dirty="0">
                <a:hlinkClick r:id="rId2"/>
              </a:rPr>
              <a:t>https://echa.europa.eu/candidate-list-table</a:t>
            </a:r>
            <a:endParaRPr lang="en-US" sz="1600" dirty="0"/>
          </a:p>
          <a:p>
            <a:pPr>
              <a:lnSpc>
                <a:spcPts val="2200"/>
              </a:lnSpc>
              <a:buClr>
                <a:schemeClr val="tx2"/>
              </a:buClr>
            </a:pPr>
            <a:endParaRPr lang="en-US" sz="1600" dirty="0" smtClean="0">
              <a:latin typeface="Arial"/>
            </a:endParaRPr>
          </a:p>
          <a:p>
            <a:pPr marL="177800" indent="-177800">
              <a:lnSpc>
                <a:spcPts val="2200"/>
              </a:lnSpc>
              <a:buClr>
                <a:schemeClr val="tx2"/>
              </a:buClr>
              <a:buFont typeface="Wingdings" panose="05000000000000000000" pitchFamily="2" charset="2"/>
              <a:buChar char="§"/>
            </a:pPr>
            <a:r>
              <a:rPr lang="en-US" sz="1600" dirty="0" smtClean="0">
                <a:latin typeface="Arial"/>
              </a:rPr>
              <a:t>6 months “transition period” after inclusion</a:t>
            </a:r>
          </a:p>
          <a:p>
            <a:pPr>
              <a:lnSpc>
                <a:spcPts val="2200"/>
              </a:lnSpc>
              <a:buClr>
                <a:schemeClr val="tx2"/>
              </a:buClr>
            </a:pPr>
            <a:endParaRPr lang="en-US" sz="1600" b="0" i="0" u="none" baseline="0" dirty="0">
              <a:latin typeface="Arial"/>
            </a:endParaRPr>
          </a:p>
          <a:p>
            <a:pPr>
              <a:lnSpc>
                <a:spcPts val="2200"/>
              </a:lnSpc>
              <a:buClr>
                <a:schemeClr val="tx2"/>
              </a:buClr>
            </a:pPr>
            <a:endParaRPr lang="en-GB" sz="1600" b="0" i="0" u="none" baseline="0" dirty="0" smtClean="0">
              <a:solidFill>
                <a:srgbClr val="000000"/>
              </a:solidFill>
              <a:latin typeface="Arial"/>
            </a:endParaRPr>
          </a:p>
        </p:txBody>
      </p:sp>
    </p:spTree>
    <p:extLst>
      <p:ext uri="{BB962C8B-B14F-4D97-AF65-F5344CB8AC3E}">
        <p14:creationId xmlns:p14="http://schemas.microsoft.com/office/powerpoint/2010/main" val="249484503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550862" y="1700212"/>
            <a:ext cx="11087573" cy="4177331"/>
          </a:xfrm>
        </p:spPr>
        <p:txBody>
          <a:bodyPr/>
          <a:lstStyle/>
          <a:p>
            <a:r>
              <a:rPr lang="en-US" sz="1800" dirty="0" smtClean="0"/>
              <a:t>Once a substance is added to the Candidate list this brings new duties to supplier of this substance</a:t>
            </a:r>
          </a:p>
          <a:p>
            <a:pPr marL="285750" indent="-285750">
              <a:buFont typeface="Wingdings" panose="05000000000000000000" pitchFamily="2" charset="2"/>
              <a:buChar char="§"/>
            </a:pPr>
            <a:r>
              <a:rPr lang="en-US" sz="1800" dirty="0" smtClean="0"/>
              <a:t>Article 33 – Information duty, need to inform downstream users (receiver of the article)</a:t>
            </a:r>
          </a:p>
          <a:p>
            <a:pPr marL="285750" indent="-285750">
              <a:buFont typeface="Wingdings" panose="05000000000000000000" pitchFamily="2" charset="2"/>
              <a:buChar char="§"/>
            </a:pPr>
            <a:r>
              <a:rPr lang="en-US" sz="1800" dirty="0" smtClean="0"/>
              <a:t>Article 33 - Consumers (general public) can request information on products, 45 days time to answer, free of charge</a:t>
            </a:r>
          </a:p>
          <a:p>
            <a:pPr marL="285750" indent="-285750">
              <a:buFont typeface="Wingdings" panose="05000000000000000000" pitchFamily="2" charset="2"/>
              <a:buChar char="§"/>
            </a:pPr>
            <a:r>
              <a:rPr lang="en-US" sz="1800" dirty="0" smtClean="0"/>
              <a:t>Notification to ECHA if SVHC is present in concentration &gt;0,1% and total amount imported to EU is 1t per year (article 7(2)) </a:t>
            </a:r>
          </a:p>
          <a:p>
            <a:pPr marL="285750" indent="-285750">
              <a:buFont typeface="Wingdings" panose="05000000000000000000" pitchFamily="2" charset="2"/>
              <a:buChar char="§"/>
            </a:pPr>
            <a:r>
              <a:rPr lang="en-US" sz="1800" dirty="0" smtClean="0"/>
              <a:t>Required information: </a:t>
            </a:r>
          </a:p>
          <a:p>
            <a:pPr marL="400050" indent="-400050">
              <a:buFont typeface="+mj-lt"/>
              <a:buAutoNum type="romanUcPeriod"/>
            </a:pPr>
            <a:r>
              <a:rPr lang="en-US" sz="1800" dirty="0" smtClean="0"/>
              <a:t>the identity and contact details of your company </a:t>
            </a:r>
          </a:p>
          <a:p>
            <a:pPr marL="400050" indent="-400050">
              <a:buFont typeface="+mj-lt"/>
              <a:buAutoNum type="romanUcPeriod"/>
            </a:pPr>
            <a:r>
              <a:rPr lang="en-US" sz="1800" dirty="0" smtClean="0"/>
              <a:t>the identity of the substance and its registration number, if available </a:t>
            </a:r>
          </a:p>
          <a:p>
            <a:pPr marL="400050" indent="-400050">
              <a:buFont typeface="+mj-lt"/>
              <a:buAutoNum type="romanUcPeriod"/>
            </a:pPr>
            <a:r>
              <a:rPr lang="en-US" sz="1800" dirty="0" smtClean="0"/>
              <a:t>the tonnage range of the substance in the notified article(s) </a:t>
            </a:r>
          </a:p>
          <a:p>
            <a:pPr marL="400050" indent="-400050">
              <a:buFont typeface="+mj-lt"/>
              <a:buAutoNum type="romanUcPeriod"/>
            </a:pPr>
            <a:r>
              <a:rPr lang="en-US" sz="1800" dirty="0" smtClean="0"/>
              <a:t>a brief description of the use(s) of the substance in the article(s) and of the uses of the article(s)</a:t>
            </a:r>
            <a:endParaRPr lang="en-US" sz="1800" dirty="0" smtClean="0">
              <a:solidFill>
                <a:srgbClr val="D20033"/>
              </a:solidFill>
            </a:endParaRPr>
          </a:p>
          <a:p>
            <a:pPr marL="285750" indent="-285750">
              <a:buFont typeface="Wingdings" panose="05000000000000000000" pitchFamily="2" charset="2"/>
              <a:buChar char="§"/>
            </a:pPr>
            <a:r>
              <a:rPr lang="en-US" sz="1800" dirty="0" smtClean="0"/>
              <a:t>Transition period for information duty: 6 months after inclusion in candidate list</a:t>
            </a:r>
          </a:p>
          <a:p>
            <a:pPr marL="285750" indent="-285750">
              <a:buFont typeface="Wingdings" panose="05000000000000000000" pitchFamily="2" charset="2"/>
              <a:buChar char="§"/>
            </a:pPr>
            <a:r>
              <a:rPr lang="en-US" sz="1800" dirty="0" smtClean="0"/>
              <a:t>Apps to enforce information duty, example: ToxFox</a:t>
            </a:r>
          </a:p>
          <a:p>
            <a:pPr marL="285750" indent="-285750">
              <a:buFont typeface="Wingdings" panose="05000000000000000000" pitchFamily="2" charset="2"/>
              <a:buChar char="§"/>
            </a:pPr>
            <a:endParaRPr lang="en-US" dirty="0" smtClean="0"/>
          </a:p>
        </p:txBody>
      </p:sp>
      <p:sp>
        <p:nvSpPr>
          <p:cNvPr id="7" name="Text Placeholder 6"/>
          <p:cNvSpPr>
            <a:spLocks noGrp="1"/>
          </p:cNvSpPr>
          <p:nvPr>
            <p:ph type="body" sz="quarter" idx="14"/>
          </p:nvPr>
        </p:nvSpPr>
        <p:spPr/>
        <p:txBody>
          <a:bodyPr/>
          <a:lstStyle/>
          <a:p>
            <a:r>
              <a:rPr lang="en-US" dirty="0" smtClean="0"/>
              <a:t>REACH – Candidate list</a:t>
            </a:r>
          </a:p>
        </p:txBody>
      </p:sp>
    </p:spTree>
    <p:extLst>
      <p:ext uri="{BB962C8B-B14F-4D97-AF65-F5344CB8AC3E}">
        <p14:creationId xmlns:p14="http://schemas.microsoft.com/office/powerpoint/2010/main" val="19158806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550862" y="1700212"/>
            <a:ext cx="11087573" cy="4177331"/>
          </a:xfrm>
        </p:spPr>
        <p:txBody>
          <a:bodyPr/>
          <a:lstStyle/>
          <a:p>
            <a:r>
              <a:rPr lang="en-US" sz="1800" dirty="0" smtClean="0"/>
              <a:t>ToxFox: A consumer scans a product’s barcode, app sends an email to the manufacturer asking them to provide information about SVHCs</a:t>
            </a:r>
          </a:p>
          <a:p>
            <a:pPr marL="285750" indent="-285750">
              <a:buFont typeface="Arial" panose="020B0604020202020204" pitchFamily="34" charset="0"/>
              <a:buChar char="•"/>
            </a:pPr>
            <a:r>
              <a:rPr lang="en-US" sz="1800" dirty="0" smtClean="0"/>
              <a:t>Article 33 of REACH: Right to know. Manufactur has to reply within 45 days, providing following information:</a:t>
            </a:r>
          </a:p>
          <a:p>
            <a:pPr marL="285750" indent="-285750">
              <a:buFont typeface="Arial" panose="020B0604020202020204" pitchFamily="34" charset="0"/>
              <a:buChar char="•"/>
            </a:pPr>
            <a:r>
              <a:rPr lang="en-US" sz="1800" dirty="0" smtClean="0"/>
              <a:t>Name of the substance</a:t>
            </a:r>
          </a:p>
          <a:p>
            <a:pPr marL="285750" indent="-285750">
              <a:buFont typeface="Arial" panose="020B0604020202020204" pitchFamily="34" charset="0"/>
              <a:buChar char="•"/>
            </a:pPr>
            <a:r>
              <a:rPr lang="en-US" sz="1800" dirty="0" smtClean="0"/>
              <a:t>Concentration of this substance</a:t>
            </a:r>
          </a:p>
          <a:p>
            <a:pPr marL="285750" indent="-285750">
              <a:buFont typeface="Arial" panose="020B0604020202020204" pitchFamily="34" charset="0"/>
              <a:buChar char="•"/>
            </a:pPr>
            <a:r>
              <a:rPr lang="en-US" sz="1800" dirty="0" smtClean="0"/>
              <a:t>Guidance about safe use of the article</a:t>
            </a:r>
          </a:p>
          <a:p>
            <a:pPr marL="285750" indent="-285750">
              <a:buFont typeface="Arial" panose="020B0604020202020204" pitchFamily="34" charset="0"/>
              <a:buChar char="•"/>
            </a:pPr>
            <a:endParaRPr lang="en-US" dirty="0" smtClean="0"/>
          </a:p>
        </p:txBody>
      </p:sp>
      <p:sp>
        <p:nvSpPr>
          <p:cNvPr id="7" name="Text Placeholder 6"/>
          <p:cNvSpPr>
            <a:spLocks noGrp="1"/>
          </p:cNvSpPr>
          <p:nvPr>
            <p:ph type="body" sz="quarter" idx="14"/>
          </p:nvPr>
        </p:nvSpPr>
        <p:spPr/>
        <p:txBody>
          <a:bodyPr/>
          <a:lstStyle/>
          <a:p>
            <a:r>
              <a:rPr lang="en-US" dirty="0" smtClean="0"/>
              <a:t>REACH – Candidate lis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7266" y="2954555"/>
            <a:ext cx="4757920" cy="2905730"/>
          </a:xfrm>
          <a:prstGeom prst="rect">
            <a:avLst/>
          </a:prstGeom>
        </p:spPr>
      </p:pic>
    </p:spTree>
    <p:extLst>
      <p:ext uri="{BB962C8B-B14F-4D97-AF65-F5344CB8AC3E}">
        <p14:creationId xmlns:p14="http://schemas.microsoft.com/office/powerpoint/2010/main" val="170975719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chnical training – REACH Regulation</a:t>
            </a:r>
            <a:endParaRPr lang="en-US" dirty="0"/>
          </a:p>
        </p:txBody>
      </p:sp>
      <p:sp>
        <p:nvSpPr>
          <p:cNvPr id="6" name="Content Placeholder 5"/>
          <p:cNvSpPr>
            <a:spLocks noGrp="1"/>
          </p:cNvSpPr>
          <p:nvPr>
            <p:ph sz="quarter" idx="13"/>
          </p:nvPr>
        </p:nvSpPr>
        <p:spPr>
          <a:xfrm>
            <a:off x="550862" y="1700212"/>
            <a:ext cx="11087573" cy="4177331"/>
          </a:xfrm>
        </p:spPr>
        <p:txBody>
          <a:bodyPr/>
          <a:lstStyle/>
          <a:p>
            <a:pPr marL="342900" indent="-342900">
              <a:buFont typeface="+mj-lt"/>
              <a:buAutoNum type="arabicPeriod"/>
            </a:pPr>
            <a:r>
              <a:rPr lang="en-US" sz="1800" dirty="0" smtClean="0"/>
              <a:t>ECHA assesses the substances from the Candidate List to determine which ones should be included in the Authorisation List (Annex XIV of REACH Regulation) at least every two years</a:t>
            </a:r>
          </a:p>
          <a:p>
            <a:pPr marL="342900" indent="-342900">
              <a:buFont typeface="+mj-lt"/>
              <a:buAutoNum type="arabicPeriod"/>
            </a:pPr>
            <a:r>
              <a:rPr lang="en-US" sz="1800" dirty="0" smtClean="0"/>
              <a:t>When substance is added sunset date and latest application date are added</a:t>
            </a:r>
          </a:p>
          <a:p>
            <a:pPr marL="342900" indent="-342900">
              <a:buFont typeface="+mj-lt"/>
              <a:buAutoNum type="arabicPeriod"/>
            </a:pPr>
            <a:r>
              <a:rPr lang="en-US" sz="1800" dirty="0" smtClean="0"/>
              <a:t>Sunset date: no placing on the market and no use of this substance after that date – unless you have authorization for exemption</a:t>
            </a:r>
          </a:p>
          <a:p>
            <a:pPr marL="342900" indent="-342900">
              <a:buFont typeface="+mj-lt"/>
              <a:buAutoNum type="arabicPeriod"/>
            </a:pPr>
            <a:r>
              <a:rPr lang="en-US" sz="1800" dirty="0" smtClean="0"/>
              <a:t>Latest application date – Apply for exemption before that date to ensure decision is made before sunset date</a:t>
            </a:r>
          </a:p>
          <a:p>
            <a:pPr marL="342900" indent="-342900">
              <a:buFont typeface="+mj-lt"/>
              <a:buAutoNum type="arabicPeriod"/>
            </a:pPr>
            <a:r>
              <a:rPr lang="en-US" sz="1800" dirty="0" smtClean="0"/>
              <a:t>Imported products are excluded</a:t>
            </a:r>
          </a:p>
          <a:p>
            <a:pPr marL="342900" indent="-342900">
              <a:buFont typeface="+mj-lt"/>
              <a:buAutoNum type="arabicPeriod"/>
            </a:pPr>
            <a:r>
              <a:rPr lang="en-US" sz="1800" dirty="0" smtClean="0"/>
              <a:t>No use of DEHP in EU – not present in products produced in EU. Can be present in imported goods (information duty applies) </a:t>
            </a:r>
          </a:p>
          <a:p>
            <a:pPr marL="342900" indent="-342900">
              <a:buFont typeface="+mj-lt"/>
              <a:buAutoNum type="arabicPeriod"/>
            </a:pPr>
            <a:r>
              <a:rPr lang="en-US" sz="1800" dirty="0" smtClean="0"/>
              <a:t>Imported preparations are in scope: DEHP cannot be present in preparations (candles, paint…)</a:t>
            </a:r>
          </a:p>
          <a:p>
            <a:pPr marL="285750" indent="-285750">
              <a:buFont typeface="Wingdings" panose="05000000000000000000" pitchFamily="2" charset="2"/>
              <a:buChar char="v"/>
            </a:pPr>
            <a:r>
              <a:rPr lang="en-US" sz="1800" dirty="0">
                <a:hlinkClick r:id="rId3"/>
              </a:rPr>
              <a:t>https://www.echa.europa.eu/web/guest/authorisation-list</a:t>
            </a:r>
            <a:endParaRPr lang="en-US" sz="1800" dirty="0"/>
          </a:p>
          <a:p>
            <a:endParaRPr lang="en-US" dirty="0" smtClean="0"/>
          </a:p>
          <a:p>
            <a:endParaRPr lang="en-US" dirty="0"/>
          </a:p>
        </p:txBody>
      </p:sp>
      <p:sp>
        <p:nvSpPr>
          <p:cNvPr id="7" name="Text Placeholder 6"/>
          <p:cNvSpPr>
            <a:spLocks noGrp="1"/>
          </p:cNvSpPr>
          <p:nvPr>
            <p:ph type="body" sz="quarter" idx="14"/>
          </p:nvPr>
        </p:nvSpPr>
        <p:spPr/>
        <p:txBody>
          <a:bodyPr/>
          <a:lstStyle/>
          <a:p>
            <a:r>
              <a:rPr lang="en-US" dirty="0" smtClean="0"/>
              <a:t>REACH – Annex XIV, Authorisation list</a:t>
            </a:r>
          </a:p>
        </p:txBody>
      </p:sp>
    </p:spTree>
    <p:extLst>
      <p:ext uri="{BB962C8B-B14F-4D97-AF65-F5344CB8AC3E}">
        <p14:creationId xmlns:p14="http://schemas.microsoft.com/office/powerpoint/2010/main" val="25481712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126516" y="3603061"/>
            <a:ext cx="9721349" cy="1754326"/>
          </a:xfrm>
          <a:prstGeom prst="rect">
            <a:avLst/>
          </a:prstGeom>
          <a:noFill/>
        </p:spPr>
        <p:txBody>
          <a:bodyPr wrap="square" rtlCol="0">
            <a:spAutoFit/>
          </a:bodyPr>
          <a:lstStyle/>
          <a:p>
            <a:pPr algn="ctr"/>
            <a:r>
              <a:rPr lang="en-GB" sz="4400" b="1" dirty="0" smtClean="0">
                <a:solidFill>
                  <a:schemeClr val="accent3">
                    <a:lumMod val="40000"/>
                    <a:lumOff val="60000"/>
                  </a:schemeClr>
                </a:solidFill>
              </a:rPr>
              <a:t> </a:t>
            </a:r>
            <a:r>
              <a:rPr lang="en-GB" sz="3200" dirty="0" smtClean="0">
                <a:solidFill>
                  <a:srgbClr val="0071B9"/>
                </a:solidFill>
              </a:rPr>
              <a:t>Chemical &amp; Waste Water Management</a:t>
            </a:r>
            <a:endParaRPr lang="en-US" sz="3200" cap="all" dirty="0" smtClean="0">
              <a:solidFill>
                <a:srgbClr val="0071B9"/>
              </a:solidFill>
            </a:endParaRPr>
          </a:p>
          <a:p>
            <a:pPr algn="ctr"/>
            <a:r>
              <a:rPr lang="en-GB" sz="3200" dirty="0" smtClean="0">
                <a:solidFill>
                  <a:srgbClr val="0071B9"/>
                </a:solidFill>
              </a:rPr>
              <a:t/>
            </a:r>
            <a:br>
              <a:rPr lang="en-GB" sz="3200" dirty="0" smtClean="0">
                <a:solidFill>
                  <a:srgbClr val="0071B9"/>
                </a:solidFill>
              </a:rPr>
            </a:br>
            <a:endParaRPr lang="ru-RU" sz="3200" dirty="0">
              <a:solidFill>
                <a:srgbClr val="0071B9"/>
              </a:solidFill>
              <a:ea typeface="Arial" charset="0"/>
              <a:cs typeface="Arial" charset="0"/>
            </a:endParaRPr>
          </a:p>
        </p:txBody>
      </p:sp>
      <p:grpSp>
        <p:nvGrpSpPr>
          <p:cNvPr id="16" name="Group 15">
            <a:extLst>
              <a:ext uri="{FF2B5EF4-FFF2-40B4-BE49-F238E27FC236}">
                <a16:creationId xmlns:a16="http://schemas.microsoft.com/office/drawing/2014/main" id="{8EE939A6-7A5B-5A46-9FA4-585496E429E0}"/>
              </a:ext>
            </a:extLst>
          </p:cNvPr>
          <p:cNvGrpSpPr/>
          <p:nvPr/>
        </p:nvGrpSpPr>
        <p:grpSpPr>
          <a:xfrm rot="10800000">
            <a:off x="9296592" y="3882802"/>
            <a:ext cx="457140" cy="457140"/>
            <a:chOff x="6324600" y="4114799"/>
            <a:chExt cx="685800" cy="685800"/>
          </a:xfrm>
        </p:grpSpPr>
        <p:cxnSp>
          <p:nvCxnSpPr>
            <p:cNvPr id="17" name="Straight Connector 16">
              <a:extLst>
                <a:ext uri="{FF2B5EF4-FFF2-40B4-BE49-F238E27FC236}">
                  <a16:creationId xmlns:a16="http://schemas.microsoft.com/office/drawing/2014/main" id="{4AEC0260-616B-E54B-82FE-15A118660D8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DC18E9C-2780-2F4C-82DA-1666B220D238}"/>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A12C4E7-F3DB-3848-AD02-793DDC649D85}"/>
              </a:ext>
            </a:extLst>
          </p:cNvPr>
          <p:cNvGrpSpPr/>
          <p:nvPr/>
        </p:nvGrpSpPr>
        <p:grpSpPr>
          <a:xfrm>
            <a:off x="2491803" y="3654232"/>
            <a:ext cx="457140" cy="457140"/>
            <a:chOff x="6324600" y="4114799"/>
            <a:chExt cx="685800" cy="685800"/>
          </a:xfrm>
        </p:grpSpPr>
        <p:cxnSp>
          <p:nvCxnSpPr>
            <p:cNvPr id="20" name="Straight Connector 19">
              <a:extLst>
                <a:ext uri="{FF2B5EF4-FFF2-40B4-BE49-F238E27FC236}">
                  <a16:creationId xmlns:a16="http://schemas.microsoft.com/office/drawing/2014/main" id="{979FE5C7-9DA7-6E48-8054-6DD4E54CE025}"/>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E7422F-A53E-294C-9DFC-FBFDC987B287}"/>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pic>
        <p:nvPicPr>
          <p:cNvPr id="9" name="Picture 8"/>
          <p:cNvPicPr>
            <a:picLocks noChangeAspect="1"/>
          </p:cNvPicPr>
          <p:nvPr/>
        </p:nvPicPr>
        <p:blipFill>
          <a:blip r:embed="rId3"/>
          <a:stretch>
            <a:fillRect/>
          </a:stretch>
        </p:blipFill>
        <p:spPr>
          <a:xfrm>
            <a:off x="334406" y="324268"/>
            <a:ext cx="4519434" cy="2572197"/>
          </a:xfrm>
          <a:prstGeom prst="rect">
            <a:avLst/>
          </a:prstGeom>
        </p:spPr>
      </p:pic>
      <p:pic>
        <p:nvPicPr>
          <p:cNvPr id="10" name="Picture 9"/>
          <p:cNvPicPr>
            <a:picLocks noChangeAspect="1"/>
          </p:cNvPicPr>
          <p:nvPr/>
        </p:nvPicPr>
        <p:blipFill>
          <a:blip r:embed="rId4"/>
          <a:stretch>
            <a:fillRect/>
          </a:stretch>
        </p:blipFill>
        <p:spPr>
          <a:xfrm>
            <a:off x="7653256" y="324268"/>
            <a:ext cx="4200952" cy="2521026"/>
          </a:xfrm>
          <a:prstGeom prst="rect">
            <a:avLst/>
          </a:prstGeom>
        </p:spPr>
      </p:pic>
    </p:spTree>
    <p:extLst>
      <p:ext uri="{BB962C8B-B14F-4D97-AF65-F5344CB8AC3E}">
        <p14:creationId xmlns:p14="http://schemas.microsoft.com/office/powerpoint/2010/main" val="1828176758"/>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54506" y="3125034"/>
            <a:ext cx="9721349" cy="1754326"/>
          </a:xfrm>
          <a:prstGeom prst="rect">
            <a:avLst/>
          </a:prstGeom>
          <a:noFill/>
        </p:spPr>
        <p:txBody>
          <a:bodyPr wrap="square" rtlCol="0">
            <a:spAutoFit/>
          </a:bodyPr>
          <a:lstStyle/>
          <a:p>
            <a:pPr algn="ctr"/>
            <a:r>
              <a:rPr lang="en-GB" sz="3600" dirty="0">
                <a:solidFill>
                  <a:srgbClr val="0071B9"/>
                </a:solidFill>
              </a:rPr>
              <a:t>TÜV Rheinland- International Existence &amp; Importance</a:t>
            </a:r>
            <a:r>
              <a:rPr lang="en-GB" sz="3600" dirty="0">
                <a:solidFill>
                  <a:schemeClr val="dk2"/>
                </a:solidFill>
              </a:rPr>
              <a:t/>
            </a:r>
            <a:br>
              <a:rPr lang="en-GB" sz="3600" dirty="0">
                <a:solidFill>
                  <a:schemeClr val="dk2"/>
                </a:solidFill>
              </a:rPr>
            </a:br>
            <a:endParaRPr lang="ru-RU" sz="3600" b="1" dirty="0">
              <a:solidFill>
                <a:schemeClr val="dk2"/>
              </a:solidFill>
              <a:ea typeface="Arial" charset="0"/>
              <a:cs typeface="Arial" charset="0"/>
            </a:endParaRPr>
          </a:p>
        </p:txBody>
      </p:sp>
      <p:grpSp>
        <p:nvGrpSpPr>
          <p:cNvPr id="16" name="Group 15">
            <a:extLst>
              <a:ext uri="{FF2B5EF4-FFF2-40B4-BE49-F238E27FC236}">
                <a16:creationId xmlns:a16="http://schemas.microsoft.com/office/drawing/2014/main" id="{8EE939A6-7A5B-5A46-9FA4-585496E429E0}"/>
              </a:ext>
            </a:extLst>
          </p:cNvPr>
          <p:cNvGrpSpPr/>
          <p:nvPr/>
        </p:nvGrpSpPr>
        <p:grpSpPr>
          <a:xfrm rot="10800000">
            <a:off x="6815306" y="3773627"/>
            <a:ext cx="457140" cy="457140"/>
            <a:chOff x="6324600" y="4114799"/>
            <a:chExt cx="685800" cy="685800"/>
          </a:xfrm>
        </p:grpSpPr>
        <p:cxnSp>
          <p:nvCxnSpPr>
            <p:cNvPr id="17" name="Straight Connector 16">
              <a:extLst>
                <a:ext uri="{FF2B5EF4-FFF2-40B4-BE49-F238E27FC236}">
                  <a16:creationId xmlns:a16="http://schemas.microsoft.com/office/drawing/2014/main" id="{4AEC0260-616B-E54B-82FE-15A118660D8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DC18E9C-2780-2F4C-82DA-1666B220D238}"/>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A12C4E7-F3DB-3848-AD02-793DDC649D85}"/>
              </a:ext>
            </a:extLst>
          </p:cNvPr>
          <p:cNvGrpSpPr/>
          <p:nvPr/>
        </p:nvGrpSpPr>
        <p:grpSpPr>
          <a:xfrm>
            <a:off x="1630586" y="3146219"/>
            <a:ext cx="457140" cy="457140"/>
            <a:chOff x="6324600" y="4114799"/>
            <a:chExt cx="685800" cy="685800"/>
          </a:xfrm>
        </p:grpSpPr>
        <p:cxnSp>
          <p:nvCxnSpPr>
            <p:cNvPr id="20" name="Straight Connector 19">
              <a:extLst>
                <a:ext uri="{FF2B5EF4-FFF2-40B4-BE49-F238E27FC236}">
                  <a16:creationId xmlns:a16="http://schemas.microsoft.com/office/drawing/2014/main" id="{979FE5C7-9DA7-6E48-8054-6DD4E54CE025}"/>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E7422F-A53E-294C-9DFC-FBFDC987B287}"/>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10902505"/>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gagement across supply chain</a:t>
            </a:r>
            <a:endParaRPr lang="en-GB" dirty="0"/>
          </a:p>
        </p:txBody>
      </p:sp>
      <p:pic>
        <p:nvPicPr>
          <p:cNvPr id="7" name="Picture 6"/>
          <p:cNvPicPr>
            <a:picLocks noChangeAspect="1"/>
          </p:cNvPicPr>
          <p:nvPr/>
        </p:nvPicPr>
        <p:blipFill>
          <a:blip r:embed="rId3"/>
          <a:stretch>
            <a:fillRect/>
          </a:stretch>
        </p:blipFill>
        <p:spPr>
          <a:xfrm>
            <a:off x="730486" y="1171206"/>
            <a:ext cx="8136516" cy="4784181"/>
          </a:xfrm>
          <a:prstGeom prst="rect">
            <a:avLst/>
          </a:prstGeom>
        </p:spPr>
      </p:pic>
      <p:sp>
        <p:nvSpPr>
          <p:cNvPr id="10" name="TextBox 9"/>
          <p:cNvSpPr txBox="1"/>
          <p:nvPr/>
        </p:nvSpPr>
        <p:spPr>
          <a:xfrm>
            <a:off x="9180513" y="5580926"/>
            <a:ext cx="2304320" cy="374461"/>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2000" b="0" i="0" u="none" baseline="0" dirty="0" smtClean="0">
                <a:solidFill>
                  <a:srgbClr val="000000"/>
                </a:solidFill>
                <a:latin typeface="Arial"/>
                <a:hlinkClick r:id="rId4"/>
              </a:rPr>
              <a:t>www.tuv.com/detox</a:t>
            </a:r>
            <a:r>
              <a:rPr lang="en-US" sz="2000" b="0" i="0" u="none" dirty="0" smtClean="0">
                <a:solidFill>
                  <a:srgbClr val="000000"/>
                </a:solidFill>
                <a:latin typeface="Arial"/>
              </a:rPr>
              <a:t> </a:t>
            </a:r>
            <a:endParaRPr lang="en-GB" sz="2000" b="0" i="0" u="none" baseline="0" dirty="0" smtClean="0">
              <a:solidFill>
                <a:srgbClr val="000000"/>
              </a:solidFill>
              <a:latin typeface="Arial"/>
            </a:endParaRPr>
          </a:p>
        </p:txBody>
      </p:sp>
      <p:pic>
        <p:nvPicPr>
          <p:cNvPr id="13" name="Picture 12"/>
          <p:cNvPicPr>
            <a:picLocks noChangeAspect="1"/>
          </p:cNvPicPr>
          <p:nvPr/>
        </p:nvPicPr>
        <p:blipFill>
          <a:blip r:embed="rId5"/>
          <a:stretch>
            <a:fillRect/>
          </a:stretch>
        </p:blipFill>
        <p:spPr>
          <a:xfrm>
            <a:off x="9263558" y="4544953"/>
            <a:ext cx="2035963" cy="541025"/>
          </a:xfrm>
          <a:prstGeom prst="rect">
            <a:avLst/>
          </a:prstGeom>
        </p:spPr>
      </p:pic>
      <p:pic>
        <p:nvPicPr>
          <p:cNvPr id="17" name="Picture 16"/>
          <p:cNvPicPr>
            <a:picLocks noChangeAspect="1"/>
          </p:cNvPicPr>
          <p:nvPr/>
        </p:nvPicPr>
        <p:blipFill>
          <a:blip r:embed="rId6"/>
          <a:stretch>
            <a:fillRect/>
          </a:stretch>
        </p:blipFill>
        <p:spPr>
          <a:xfrm>
            <a:off x="9156082" y="3658644"/>
            <a:ext cx="2311762" cy="844723"/>
          </a:xfrm>
          <a:prstGeom prst="rect">
            <a:avLst/>
          </a:prstGeom>
        </p:spPr>
      </p:pic>
      <p:pic>
        <p:nvPicPr>
          <p:cNvPr id="18" name="Picture 17"/>
          <p:cNvPicPr>
            <a:picLocks noChangeAspect="1"/>
          </p:cNvPicPr>
          <p:nvPr/>
        </p:nvPicPr>
        <p:blipFill>
          <a:blip r:embed="rId7"/>
          <a:stretch>
            <a:fillRect/>
          </a:stretch>
        </p:blipFill>
        <p:spPr>
          <a:xfrm>
            <a:off x="9156082" y="2866511"/>
            <a:ext cx="2311762" cy="784106"/>
          </a:xfrm>
          <a:prstGeom prst="rect">
            <a:avLst/>
          </a:prstGeom>
        </p:spPr>
      </p:pic>
      <p:pic>
        <p:nvPicPr>
          <p:cNvPr id="19" name="Picture 18"/>
          <p:cNvPicPr>
            <a:picLocks noChangeAspect="1"/>
          </p:cNvPicPr>
          <p:nvPr/>
        </p:nvPicPr>
        <p:blipFill>
          <a:blip r:embed="rId8"/>
          <a:stretch>
            <a:fillRect/>
          </a:stretch>
        </p:blipFill>
        <p:spPr>
          <a:xfrm>
            <a:off x="9156082" y="2074664"/>
            <a:ext cx="2311762" cy="770587"/>
          </a:xfrm>
          <a:prstGeom prst="rect">
            <a:avLst/>
          </a:prstGeom>
        </p:spPr>
      </p:pic>
      <p:pic>
        <p:nvPicPr>
          <p:cNvPr id="12" name="Picture 11"/>
          <p:cNvPicPr>
            <a:picLocks noChangeAspect="1"/>
          </p:cNvPicPr>
          <p:nvPr/>
        </p:nvPicPr>
        <p:blipFill>
          <a:blip r:embed="rId9"/>
          <a:stretch>
            <a:fillRect/>
          </a:stretch>
        </p:blipFill>
        <p:spPr>
          <a:xfrm>
            <a:off x="9114607" y="146292"/>
            <a:ext cx="2287331" cy="842039"/>
          </a:xfrm>
          <a:prstGeom prst="rect">
            <a:avLst/>
          </a:prstGeom>
        </p:spPr>
      </p:pic>
      <p:pic>
        <p:nvPicPr>
          <p:cNvPr id="14" name="Picture 13"/>
          <p:cNvPicPr>
            <a:picLocks noChangeAspect="1"/>
          </p:cNvPicPr>
          <p:nvPr/>
        </p:nvPicPr>
        <p:blipFill>
          <a:blip r:embed="rId10"/>
          <a:stretch>
            <a:fillRect/>
          </a:stretch>
        </p:blipFill>
        <p:spPr>
          <a:xfrm>
            <a:off x="9123662" y="1002472"/>
            <a:ext cx="2344182" cy="1023151"/>
          </a:xfrm>
          <a:prstGeom prst="rect">
            <a:avLst/>
          </a:prstGeom>
        </p:spPr>
      </p:pic>
    </p:spTree>
    <p:extLst>
      <p:ext uri="{BB962C8B-B14F-4D97-AF65-F5344CB8AC3E}">
        <p14:creationId xmlns:p14="http://schemas.microsoft.com/office/powerpoint/2010/main" val="29117268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el 16"/>
          <p:cNvSpPr>
            <a:spLocks noGrp="1"/>
          </p:cNvSpPr>
          <p:nvPr>
            <p:ph type="title"/>
          </p:nvPr>
        </p:nvSpPr>
        <p:spPr/>
        <p:txBody>
          <a:bodyPr/>
          <a:lstStyle/>
          <a:p>
            <a:r>
              <a:rPr lang="en-GB" dirty="0" smtClean="0"/>
              <a:t>Your Local Partner</a:t>
            </a:r>
            <a:endParaRPr lang="en-GB" dirty="0"/>
          </a:p>
        </p:txBody>
      </p:sp>
      <p:grpSp>
        <p:nvGrpSpPr>
          <p:cNvPr id="4" name="Group 3"/>
          <p:cNvGrpSpPr/>
          <p:nvPr/>
        </p:nvGrpSpPr>
        <p:grpSpPr>
          <a:xfrm>
            <a:off x="1342678" y="1091129"/>
            <a:ext cx="10657184" cy="5593197"/>
            <a:chOff x="2598803" y="1341562"/>
            <a:chExt cx="9745999" cy="4856731"/>
          </a:xfrm>
        </p:grpSpPr>
        <p:pic>
          <p:nvPicPr>
            <p:cNvPr id="14338" name="Picture 2" descr="image004"/>
            <p:cNvPicPr>
              <a:picLocks noChangeAspect="1" noChangeArrowheads="1"/>
            </p:cNvPicPr>
            <p:nvPr/>
          </p:nvPicPr>
          <p:blipFill rotWithShape="1">
            <a:blip r:embed="rId4">
              <a:extLst>
                <a:ext uri="{28A0092B-C50C-407E-A947-70E740481C1C}">
                  <a14:useLocalDpi xmlns:a14="http://schemas.microsoft.com/office/drawing/2010/main" val="0"/>
                </a:ext>
              </a:extLst>
            </a:blip>
            <a:srcRect b="12846"/>
            <a:stretch/>
          </p:blipFill>
          <p:spPr bwMode="auto">
            <a:xfrm>
              <a:off x="2598803" y="1341562"/>
              <a:ext cx="8496556" cy="4273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39" name="TextBox 3138"/>
            <p:cNvSpPr txBox="1"/>
            <p:nvPr/>
          </p:nvSpPr>
          <p:spPr>
            <a:xfrm>
              <a:off x="5231110" y="2926959"/>
              <a:ext cx="2088232" cy="333105"/>
            </a:xfrm>
            <a:prstGeom prst="rect">
              <a:avLst/>
            </a:prstGeom>
            <a:noFill/>
          </p:spPr>
          <p:txBody>
            <a:bodyPr vert="horz" wrap="square" lIns="0" rtlCol="0">
              <a:spAutoFit/>
            </a:bodyPr>
            <a:lstStyle/>
            <a:p>
              <a:pPr fontAlgn="auto">
                <a:lnSpc>
                  <a:spcPts val="2200"/>
                </a:lnSpc>
                <a:spcBef>
                  <a:spcPts val="0"/>
                </a:spcBef>
                <a:spcAft>
                  <a:spcPts val="0"/>
                </a:spcAft>
                <a:buClr>
                  <a:schemeClr val="tx2"/>
                </a:buClr>
              </a:pPr>
              <a:r>
                <a:rPr lang="en-US" sz="1000" b="1" dirty="0" smtClean="0">
                  <a:solidFill>
                    <a:schemeClr val="dk2"/>
                  </a:solidFill>
                  <a:latin typeface="Arial" panose="020B0604020202020204" pitchFamily="34" charset="0"/>
                </a:rPr>
                <a:t>Steffen.Tuemptner@de.tuv.com </a:t>
              </a:r>
            </a:p>
          </p:txBody>
        </p:sp>
        <p:sp>
          <p:nvSpPr>
            <p:cNvPr id="3140" name="TextBox 3139"/>
            <p:cNvSpPr txBox="1"/>
            <p:nvPr/>
          </p:nvSpPr>
          <p:spPr>
            <a:xfrm>
              <a:off x="9428734" y="3260064"/>
              <a:ext cx="2916068" cy="347427"/>
            </a:xfrm>
            <a:prstGeom prst="rect">
              <a:avLst/>
            </a:prstGeom>
            <a:noFill/>
          </p:spPr>
          <p:txBody>
            <a:bodyPr vert="horz" wrap="square" lIns="0" rtlCol="0">
              <a:spAutoFit/>
            </a:bodyPr>
            <a:lstStyle/>
            <a:p>
              <a:pPr fontAlgn="auto">
                <a:spcBef>
                  <a:spcPts val="0"/>
                </a:spcBef>
                <a:spcAft>
                  <a:spcPts val="0"/>
                </a:spcAft>
                <a:buClr>
                  <a:schemeClr val="tx2"/>
                </a:buClr>
              </a:pPr>
              <a:r>
                <a:rPr lang="en-US" sz="1000" b="1" dirty="0" smtClean="0">
                  <a:solidFill>
                    <a:schemeClr val="dk2"/>
                  </a:solidFill>
                  <a:latin typeface="Arial" panose="020B0604020202020204" pitchFamily="34" charset="0"/>
                </a:rPr>
                <a:t>Vietnam: Anh.Nguyen@tuv.com</a:t>
              </a:r>
              <a:endParaRPr lang="en-US" sz="900" b="1" dirty="0" smtClean="0">
                <a:solidFill>
                  <a:schemeClr val="dk2"/>
                </a:solidFill>
                <a:latin typeface="Arial" panose="020B0604020202020204" pitchFamily="34" charset="0"/>
              </a:endParaRPr>
            </a:p>
            <a:p>
              <a:pPr fontAlgn="auto">
                <a:spcBef>
                  <a:spcPts val="0"/>
                </a:spcBef>
                <a:spcAft>
                  <a:spcPts val="0"/>
                </a:spcAft>
                <a:buClr>
                  <a:schemeClr val="tx2"/>
                </a:buClr>
              </a:pPr>
              <a:r>
                <a:rPr lang="en-US" sz="1000" b="1" dirty="0" smtClean="0">
                  <a:solidFill>
                    <a:schemeClr val="dk2"/>
                  </a:solidFill>
                  <a:latin typeface="Arial" panose="020B0604020202020204" pitchFamily="34" charset="0"/>
                </a:rPr>
                <a:t>China: Arrow.shi@tuv.com/carmen.yan@tuv.com</a:t>
              </a:r>
            </a:p>
          </p:txBody>
        </p:sp>
        <p:sp>
          <p:nvSpPr>
            <p:cNvPr id="3141" name="TextBox 3140"/>
            <p:cNvSpPr txBox="1"/>
            <p:nvPr/>
          </p:nvSpPr>
          <p:spPr>
            <a:xfrm>
              <a:off x="7169858" y="5182739"/>
              <a:ext cx="2475039" cy="1015554"/>
            </a:xfrm>
            <a:prstGeom prst="rect">
              <a:avLst/>
            </a:prstGeom>
            <a:noFill/>
          </p:spPr>
          <p:txBody>
            <a:bodyPr vert="horz" wrap="square" lIns="0" rtlCol="0">
              <a:spAutoFit/>
            </a:bodyPr>
            <a:lstStyle/>
            <a:p>
              <a:pPr fontAlgn="auto">
                <a:spcBef>
                  <a:spcPts val="0"/>
                </a:spcBef>
                <a:spcAft>
                  <a:spcPts val="0"/>
                </a:spcAft>
                <a:buClr>
                  <a:schemeClr val="tx2"/>
                </a:buClr>
              </a:pPr>
              <a:r>
                <a:rPr lang="en-US" sz="1000" b="1" dirty="0">
                  <a:solidFill>
                    <a:schemeClr val="dk2"/>
                  </a:solidFill>
                  <a:latin typeface="Arial" panose="020B0604020202020204" pitchFamily="34" charset="0"/>
                </a:rPr>
                <a:t>Bangladesh: </a:t>
              </a:r>
              <a:r>
                <a:rPr lang="en-US" sz="1000" b="1" dirty="0" smtClean="0">
                  <a:solidFill>
                    <a:schemeClr val="dk2"/>
                  </a:solidFill>
                  <a:latin typeface="Arial" panose="020B0604020202020204" pitchFamily="34" charset="0"/>
                  <a:hlinkClick r:id="rId5"/>
                </a:rPr>
                <a:t>Fatema.Jahan@bd.tuv.com</a:t>
              </a:r>
              <a:endParaRPr lang="en-US" sz="1000" b="1" dirty="0" smtClean="0">
                <a:solidFill>
                  <a:schemeClr val="dk2"/>
                </a:solidFill>
                <a:latin typeface="Arial" panose="020B0604020202020204" pitchFamily="34" charset="0"/>
              </a:endParaRPr>
            </a:p>
            <a:p>
              <a:pPr fontAlgn="auto">
                <a:spcBef>
                  <a:spcPts val="0"/>
                </a:spcBef>
                <a:spcAft>
                  <a:spcPts val="0"/>
                </a:spcAft>
                <a:buClr>
                  <a:schemeClr val="tx2"/>
                </a:buClr>
              </a:pPr>
              <a:endParaRPr lang="en-US" sz="1000" b="1" dirty="0" smtClean="0">
                <a:solidFill>
                  <a:schemeClr val="dk2"/>
                </a:solidFill>
                <a:latin typeface="Arial" panose="020B0604020202020204" pitchFamily="34" charset="0"/>
              </a:endParaRPr>
            </a:p>
            <a:p>
              <a:pPr fontAlgn="auto">
                <a:spcBef>
                  <a:spcPts val="0"/>
                </a:spcBef>
                <a:spcAft>
                  <a:spcPts val="0"/>
                </a:spcAft>
                <a:buClr>
                  <a:schemeClr val="tx2"/>
                </a:buClr>
              </a:pPr>
              <a:r>
                <a:rPr lang="en-US" sz="1000" b="1" dirty="0" smtClean="0">
                  <a:solidFill>
                    <a:schemeClr val="dk2"/>
                  </a:solidFill>
                  <a:latin typeface="Arial" panose="020B0604020202020204" pitchFamily="34" charset="0"/>
                </a:rPr>
                <a:t>India</a:t>
              </a:r>
              <a:r>
                <a:rPr lang="en-US" sz="1000" b="1" dirty="0">
                  <a:solidFill>
                    <a:schemeClr val="dk2"/>
                  </a:solidFill>
                  <a:latin typeface="Arial" panose="020B0604020202020204" pitchFamily="34" charset="0"/>
                </a:rPr>
                <a:t>: </a:t>
              </a:r>
              <a:r>
                <a:rPr lang="en-US" sz="1000" b="1" dirty="0" smtClean="0">
                  <a:solidFill>
                    <a:schemeClr val="dk2"/>
                  </a:solidFill>
                  <a:latin typeface="Arial" panose="020B0604020202020204" pitchFamily="34" charset="0"/>
                  <a:hlinkClick r:id="rId6"/>
                </a:rPr>
                <a:t>venkat.hr@ind.tuv.com/</a:t>
              </a:r>
              <a:r>
                <a:rPr lang="en-US" sz="1000" b="1" dirty="0" smtClean="0">
                  <a:solidFill>
                    <a:schemeClr val="dk2"/>
                  </a:solidFill>
                  <a:latin typeface="Arial" panose="020B0604020202020204" pitchFamily="34" charset="0"/>
                </a:rPr>
                <a:t> </a:t>
              </a:r>
              <a:r>
                <a:rPr lang="en-US" sz="1000" b="1" dirty="0" smtClean="0">
                  <a:solidFill>
                    <a:schemeClr val="dk2"/>
                  </a:solidFill>
                  <a:latin typeface="Arial" panose="020B0604020202020204" pitchFamily="34" charset="0"/>
                  <a:hlinkClick r:id="rId7"/>
                </a:rPr>
                <a:t>sesadev.pn@ind.tuv.com</a:t>
              </a:r>
              <a:r>
                <a:rPr lang="en-US" sz="1000" b="1" dirty="0" smtClean="0">
                  <a:solidFill>
                    <a:schemeClr val="dk2"/>
                  </a:solidFill>
                  <a:latin typeface="Arial" panose="020B0604020202020204" pitchFamily="34" charset="0"/>
                </a:rPr>
                <a:t> </a:t>
              </a:r>
            </a:p>
            <a:p>
              <a:pPr fontAlgn="auto">
                <a:spcBef>
                  <a:spcPts val="0"/>
                </a:spcBef>
                <a:spcAft>
                  <a:spcPts val="0"/>
                </a:spcAft>
                <a:buClr>
                  <a:schemeClr val="tx2"/>
                </a:buClr>
              </a:pPr>
              <a:endParaRPr lang="en-US" sz="1000" b="1" dirty="0" smtClean="0">
                <a:solidFill>
                  <a:schemeClr val="dk2"/>
                </a:solidFill>
                <a:latin typeface="Arial" panose="020B0604020202020204" pitchFamily="34" charset="0"/>
              </a:endParaRPr>
            </a:p>
            <a:p>
              <a:pPr fontAlgn="auto">
                <a:spcBef>
                  <a:spcPts val="0"/>
                </a:spcBef>
                <a:spcAft>
                  <a:spcPts val="0"/>
                </a:spcAft>
                <a:buClr>
                  <a:schemeClr val="tx2"/>
                </a:buClr>
              </a:pPr>
              <a:r>
                <a:rPr lang="en-US" sz="1000" b="1" dirty="0" smtClean="0">
                  <a:solidFill>
                    <a:schemeClr val="dk2"/>
                  </a:solidFill>
                  <a:latin typeface="Arial" panose="020B0604020202020204" pitchFamily="34" charset="0"/>
                </a:rPr>
                <a:t>Pakistan</a:t>
              </a:r>
              <a:r>
                <a:rPr lang="en-US" sz="1000" b="1" dirty="0">
                  <a:solidFill>
                    <a:schemeClr val="dk2"/>
                  </a:solidFill>
                  <a:latin typeface="Arial" panose="020B0604020202020204" pitchFamily="34" charset="0"/>
                </a:rPr>
                <a:t>: </a:t>
              </a:r>
              <a:r>
                <a:rPr lang="en-US" sz="1000" b="1" dirty="0" smtClean="0">
                  <a:solidFill>
                    <a:schemeClr val="dk2"/>
                  </a:solidFill>
                  <a:latin typeface="Arial" panose="020B0604020202020204" pitchFamily="34" charset="0"/>
                  <a:hlinkClick r:id="rId8"/>
                </a:rPr>
                <a:t>Rashid.Mansoor@sa.tuv.com</a:t>
              </a:r>
              <a:r>
                <a:rPr lang="en-US" sz="1000" b="1" dirty="0" smtClean="0">
                  <a:solidFill>
                    <a:schemeClr val="dk2"/>
                  </a:solidFill>
                  <a:latin typeface="Arial" panose="020B0604020202020204" pitchFamily="34" charset="0"/>
                </a:rPr>
                <a:t>                 </a:t>
              </a:r>
              <a:r>
                <a:rPr lang="en-US" sz="1000" b="1" dirty="0" smtClean="0">
                  <a:solidFill>
                    <a:schemeClr val="dk2"/>
                  </a:solidFill>
                  <a:latin typeface="Arial" panose="020B0604020202020204" pitchFamily="34" charset="0"/>
                  <a:hlinkClick r:id="rId9"/>
                </a:rPr>
                <a:t>Akhlaq.Hussain@sa.tuv.com</a:t>
              </a:r>
              <a:r>
                <a:rPr lang="en-US" sz="1000" b="1" dirty="0" smtClean="0">
                  <a:solidFill>
                    <a:schemeClr val="dk2"/>
                  </a:solidFill>
                  <a:latin typeface="Arial" panose="020B0604020202020204" pitchFamily="34" charset="0"/>
                </a:rPr>
                <a:t> </a:t>
              </a:r>
            </a:p>
          </p:txBody>
        </p:sp>
        <p:sp>
          <p:nvSpPr>
            <p:cNvPr id="3" name="Rectangle 2"/>
            <p:cNvSpPr/>
            <p:nvPr/>
          </p:nvSpPr>
          <p:spPr>
            <a:xfrm>
              <a:off x="2608493" y="4037477"/>
              <a:ext cx="2089073" cy="1577888"/>
            </a:xfrm>
            <a:prstGeom prst="rect">
              <a:avLst/>
            </a:prstGeom>
            <a:solidFill>
              <a:srgbClr val="E7E7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dirty="0" smtClean="0">
                <a:solidFill>
                  <a:srgbClr val="E7E7E8"/>
                </a:solidFill>
                <a:latin typeface="Arial" panose="020B0604020202020204" pitchFamily="34" charset="0"/>
              </a:endParaRPr>
            </a:p>
          </p:txBody>
        </p:sp>
        <p:pic>
          <p:nvPicPr>
            <p:cNvPr id="11" name="Picture 2" descr="image004"/>
            <p:cNvPicPr>
              <a:picLocks noChangeAspect="1" noChangeArrowheads="1"/>
            </p:cNvPicPr>
            <p:nvPr/>
          </p:nvPicPr>
          <p:blipFill rotWithShape="1">
            <a:blip r:embed="rId4">
              <a:extLst>
                <a:ext uri="{28A0092B-C50C-407E-A947-70E740481C1C}">
                  <a14:useLocalDpi xmlns:a14="http://schemas.microsoft.com/office/drawing/2010/main" val="0"/>
                </a:ext>
              </a:extLst>
            </a:blip>
            <a:srcRect t="66426" r="76270" b="1269"/>
            <a:stretch/>
          </p:blipFill>
          <p:spPr bwMode="auto">
            <a:xfrm>
              <a:off x="2669247" y="4121594"/>
              <a:ext cx="1794105" cy="1409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extBox 4"/>
          <p:cNvSpPr txBox="1"/>
          <p:nvPr/>
        </p:nvSpPr>
        <p:spPr>
          <a:xfrm>
            <a:off x="1522678" y="3666994"/>
            <a:ext cx="2315560" cy="461665"/>
          </a:xfrm>
          <a:prstGeom prst="rect">
            <a:avLst/>
          </a:prstGeom>
          <a:noFill/>
        </p:spPr>
        <p:txBody>
          <a:bodyPr vert="horz" wrap="square" lIns="0" rtlCol="0">
            <a:spAutoFit/>
          </a:bodyPr>
          <a:lstStyle/>
          <a:p>
            <a:pPr fontAlgn="auto">
              <a:spcBef>
                <a:spcPts val="0"/>
              </a:spcBef>
              <a:spcAft>
                <a:spcPts val="0"/>
              </a:spcAft>
              <a:buClr>
                <a:schemeClr val="tx2"/>
              </a:buClr>
            </a:pPr>
            <a:r>
              <a:rPr lang="en-US" sz="1200" b="1" dirty="0" smtClean="0">
                <a:solidFill>
                  <a:srgbClr val="000000"/>
                </a:solidFill>
                <a:latin typeface="Arial" panose="020B0604020202020204" pitchFamily="34" charset="0"/>
              </a:rPr>
              <a:t>All Sustainability Topics </a:t>
            </a:r>
            <a:r>
              <a:rPr lang="en-US" sz="1200" b="1" dirty="0" smtClean="0">
                <a:solidFill>
                  <a:schemeClr val="tx2"/>
                </a:solidFill>
                <a:latin typeface="Arial" panose="020B0604020202020204" pitchFamily="34" charset="0"/>
              </a:rPr>
              <a:t>Rakesh.Vazirani@tuv.com</a:t>
            </a:r>
            <a:endParaRPr lang="en-GB" sz="1200" b="1" i="0" baseline="0" dirty="0" smtClean="0">
              <a:solidFill>
                <a:schemeClr val="tx2"/>
              </a:solidFill>
              <a:latin typeface="Arial" panose="020B0604020202020204" pitchFamily="34" charset="0"/>
            </a:endParaRPr>
          </a:p>
        </p:txBody>
      </p:sp>
      <p:sp>
        <p:nvSpPr>
          <p:cNvPr id="14" name="TextBox 13"/>
          <p:cNvSpPr txBox="1"/>
          <p:nvPr/>
        </p:nvSpPr>
        <p:spPr>
          <a:xfrm>
            <a:off x="4655046" y="678927"/>
            <a:ext cx="2304320" cy="374461"/>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2000" b="0" i="0" u="none" baseline="0" dirty="0" smtClean="0">
                <a:solidFill>
                  <a:srgbClr val="000000"/>
                </a:solidFill>
                <a:latin typeface="Arial"/>
                <a:hlinkClick r:id="rId10"/>
              </a:rPr>
              <a:t>www.tuv.com/detox</a:t>
            </a:r>
            <a:r>
              <a:rPr lang="en-US" sz="2000" b="0" i="0" u="none" dirty="0" smtClean="0">
                <a:solidFill>
                  <a:srgbClr val="000000"/>
                </a:solidFill>
                <a:latin typeface="Arial"/>
              </a:rPr>
              <a:t> </a:t>
            </a:r>
            <a:endParaRPr lang="en-GB" sz="2000" b="0" i="0" u="none" baseline="0" dirty="0" smtClean="0">
              <a:solidFill>
                <a:srgbClr val="000000"/>
              </a:solidFill>
              <a:latin typeface="Arial"/>
            </a:endParaRPr>
          </a:p>
        </p:txBody>
      </p:sp>
    </p:spTree>
    <p:custDataLst>
      <p:tags r:id="rId1"/>
    </p:custDataLst>
    <p:extLst>
      <p:ext uri="{BB962C8B-B14F-4D97-AF65-F5344CB8AC3E}">
        <p14:creationId xmlns:p14="http://schemas.microsoft.com/office/powerpoint/2010/main" val="6127947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97433BE1-6B2E-4B3A-937B-A67670B0A5E4}"/>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6" name="think-cell Folie" r:id="rId95" imgW="306" imgH="306" progId="TCLayout.ActiveDocument.1">
                  <p:embed/>
                </p:oleObj>
              </mc:Choice>
              <mc:Fallback>
                <p:oleObj name="think-cell Folie" r:id="rId95" imgW="306" imgH="306" progId="TCLayout.ActiveDocument.1">
                  <p:embed/>
                  <p:pic>
                    <p:nvPicPr>
                      <p:cNvPr id="24" name="Objekt 23" hidden="1">
                        <a:extLst>
                          <a:ext uri="{FF2B5EF4-FFF2-40B4-BE49-F238E27FC236}">
                            <a16:creationId xmlns:a16="http://schemas.microsoft.com/office/drawing/2014/main" id="{97433BE1-6B2E-4B3A-937B-A67670B0A5E4}"/>
                          </a:ext>
                        </a:extLst>
                      </p:cNvPr>
                      <p:cNvPicPr/>
                      <p:nvPr/>
                    </p:nvPicPr>
                    <p:blipFill>
                      <a:blip r:embed="rId96"/>
                      <a:stretch>
                        <a:fillRect/>
                      </a:stretch>
                    </p:blipFill>
                    <p:spPr>
                      <a:xfrm>
                        <a:off x="1588" y="1588"/>
                        <a:ext cx="1587" cy="1587"/>
                      </a:xfrm>
                      <a:prstGeom prst="rect">
                        <a:avLst/>
                      </a:prstGeom>
                    </p:spPr>
                  </p:pic>
                </p:oleObj>
              </mc:Fallback>
            </mc:AlternateContent>
          </a:graphicData>
        </a:graphic>
      </p:graphicFrame>
      <p:grpSp>
        <p:nvGrpSpPr>
          <p:cNvPr id="21" name="Gruppieren 20">
            <a:extLst>
              <a:ext uri="{FF2B5EF4-FFF2-40B4-BE49-F238E27FC236}">
                <a16:creationId xmlns:a16="http://schemas.microsoft.com/office/drawing/2014/main" id="{E228E9FF-E9CF-4586-84DD-59A91CD652A0}"/>
              </a:ext>
            </a:extLst>
          </p:cNvPr>
          <p:cNvGrpSpPr/>
          <p:nvPr>
            <p:custDataLst>
              <p:tags r:id="rId3"/>
            </p:custDataLst>
          </p:nvPr>
        </p:nvGrpSpPr>
        <p:grpSpPr bwMode="gray">
          <a:xfrm>
            <a:off x="2911941" y="2439965"/>
            <a:ext cx="1296086" cy="1516164"/>
            <a:chOff x="2911941" y="2439965"/>
            <a:chExt cx="1296086" cy="1516164"/>
          </a:xfrm>
        </p:grpSpPr>
        <p:pic>
          <p:nvPicPr>
            <p:cNvPr id="106" name="Grafik 105">
              <a:extLst>
                <a:ext uri="{FF2B5EF4-FFF2-40B4-BE49-F238E27FC236}">
                  <a16:creationId xmlns:a16="http://schemas.microsoft.com/office/drawing/2014/main" id="{240D6F28-132C-4B0B-A404-953EE04EC4C1}"/>
                </a:ext>
              </a:extLst>
            </p:cNvPr>
            <p:cNvPicPr>
              <a:picLocks noChangeAspect="1"/>
            </p:cNvPicPr>
            <p:nvPr>
              <p:custDataLst>
                <p:tags r:id="rId89"/>
              </p:custDataLst>
            </p:nvPr>
          </p:nvPicPr>
          <p:blipFill rotWithShape="1">
            <a:blip r:embed="rId97"/>
            <a:srcRect b="40887"/>
            <a:stretch/>
          </p:blipFill>
          <p:spPr bwMode="gray">
            <a:xfrm>
              <a:off x="3204574" y="3266332"/>
              <a:ext cx="745399" cy="501589"/>
            </a:xfrm>
            <a:prstGeom prst="rect">
              <a:avLst/>
            </a:prstGeom>
          </p:spPr>
        </p:pic>
        <p:grpSp>
          <p:nvGrpSpPr>
            <p:cNvPr id="86" name="Gruppieren 85">
              <a:extLst>
                <a:ext uri="{FF2B5EF4-FFF2-40B4-BE49-F238E27FC236}">
                  <a16:creationId xmlns:a16="http://schemas.microsoft.com/office/drawing/2014/main" id="{1A2A8FBB-007A-4AD2-B0FF-4ECB97B0E935}"/>
                </a:ext>
              </a:extLst>
            </p:cNvPr>
            <p:cNvGrpSpPr/>
            <p:nvPr>
              <p:custDataLst>
                <p:tags r:id="rId90"/>
              </p:custDataLst>
            </p:nvPr>
          </p:nvGrpSpPr>
          <p:grpSpPr bwMode="gray">
            <a:xfrm>
              <a:off x="2911941" y="2439965"/>
              <a:ext cx="1296086" cy="1516164"/>
              <a:chOff x="4052172" y="1948591"/>
              <a:chExt cx="2346512" cy="2744955"/>
            </a:xfrm>
          </p:grpSpPr>
          <p:sp>
            <p:nvSpPr>
              <p:cNvPr id="87" name="Freihandform: Form 86">
                <a:extLst>
                  <a:ext uri="{FF2B5EF4-FFF2-40B4-BE49-F238E27FC236}">
                    <a16:creationId xmlns:a16="http://schemas.microsoft.com/office/drawing/2014/main" id="{943E1840-5A6A-4B80-9F48-BF1FC684BBC2}"/>
                  </a:ext>
                </a:extLst>
              </p:cNvPr>
              <p:cNvSpPr/>
              <p:nvPr>
                <p:custDataLst>
                  <p:tags r:id="rId91"/>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Freihandform: Form 87">
                <a:extLst>
                  <a:ext uri="{FF2B5EF4-FFF2-40B4-BE49-F238E27FC236}">
                    <a16:creationId xmlns:a16="http://schemas.microsoft.com/office/drawing/2014/main" id="{7DF6A10C-F215-472D-8B8A-3EBBE04FB56E}"/>
                  </a:ext>
                </a:extLst>
              </p:cNvPr>
              <p:cNvSpPr/>
              <p:nvPr>
                <p:custDataLst>
                  <p:tags r:id="rId92"/>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222" name="Gruppieren 221">
            <a:extLst>
              <a:ext uri="{FF2B5EF4-FFF2-40B4-BE49-F238E27FC236}">
                <a16:creationId xmlns:a16="http://schemas.microsoft.com/office/drawing/2014/main" id="{C2A027BD-3496-497F-A827-F10EDB4AFF38}"/>
              </a:ext>
            </a:extLst>
          </p:cNvPr>
          <p:cNvGrpSpPr/>
          <p:nvPr>
            <p:custDataLst>
              <p:tags r:id="rId4"/>
            </p:custDataLst>
          </p:nvPr>
        </p:nvGrpSpPr>
        <p:grpSpPr bwMode="gray">
          <a:xfrm>
            <a:off x="1486566" y="2439965"/>
            <a:ext cx="1296086" cy="1516164"/>
            <a:chOff x="4052172" y="1948591"/>
            <a:chExt cx="2346512" cy="2744955"/>
          </a:xfrm>
        </p:grpSpPr>
        <p:sp>
          <p:nvSpPr>
            <p:cNvPr id="215" name="Freihandform: Form 214">
              <a:extLst>
                <a:ext uri="{FF2B5EF4-FFF2-40B4-BE49-F238E27FC236}">
                  <a16:creationId xmlns:a16="http://schemas.microsoft.com/office/drawing/2014/main" id="{0557AA96-E8C3-45FB-A0E9-468E7AEE4FBF}"/>
                </a:ext>
              </a:extLst>
            </p:cNvPr>
            <p:cNvSpPr/>
            <p:nvPr>
              <p:custDataLst>
                <p:tags r:id="rId87"/>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0" name="Freihandform: Form 219">
              <a:extLst>
                <a:ext uri="{FF2B5EF4-FFF2-40B4-BE49-F238E27FC236}">
                  <a16:creationId xmlns:a16="http://schemas.microsoft.com/office/drawing/2014/main" id="{92988DF0-F467-4970-B372-E4385E8DD655}"/>
                </a:ext>
              </a:extLst>
            </p:cNvPr>
            <p:cNvSpPr/>
            <p:nvPr>
              <p:custDataLst>
                <p:tags r:id="rId88"/>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4" name="Bogen 153">
            <a:extLst>
              <a:ext uri="{FF2B5EF4-FFF2-40B4-BE49-F238E27FC236}">
                <a16:creationId xmlns:a16="http://schemas.microsoft.com/office/drawing/2014/main" id="{D26AAEE6-8024-440A-9D15-79EDFE5E8EB2}"/>
              </a:ext>
            </a:extLst>
          </p:cNvPr>
          <p:cNvSpPr/>
          <p:nvPr>
            <p:custDataLst>
              <p:tags r:id="rId5"/>
            </p:custDataLst>
          </p:nvPr>
        </p:nvSpPr>
        <p:spPr bwMode="gray">
          <a:xfrm>
            <a:off x="10730514" y="2722123"/>
            <a:ext cx="909035" cy="909035"/>
          </a:xfrm>
          <a:prstGeom prst="arc">
            <a:avLst>
              <a:gd name="adj1" fmla="val 20093036"/>
              <a:gd name="adj2" fmla="val 11558392"/>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42" name="Rechteck 141">
            <a:extLst>
              <a:ext uri="{FF2B5EF4-FFF2-40B4-BE49-F238E27FC236}">
                <a16:creationId xmlns:a16="http://schemas.microsoft.com/office/drawing/2014/main" id="{6EDF4261-3EC8-480C-9089-DFF5D185A25B}"/>
              </a:ext>
            </a:extLst>
          </p:cNvPr>
          <p:cNvSpPr/>
          <p:nvPr>
            <p:custDataLst>
              <p:tags r:id="rId6"/>
            </p:custDataLst>
          </p:nvPr>
        </p:nvSpPr>
        <p:spPr bwMode="gray">
          <a:xfrm>
            <a:off x="2566716" y="5734144"/>
            <a:ext cx="7128000" cy="216000"/>
          </a:xfrm>
          <a:prstGeom prst="rect">
            <a:avLst/>
          </a:prstGeom>
          <a:gradFill flip="none" rotWithShape="1">
            <a:gsLst>
              <a:gs pos="78000">
                <a:schemeClr val="tx2"/>
              </a:gs>
              <a:gs pos="26000">
                <a:schemeClr val="accent5"/>
              </a:gs>
              <a:gs pos="0">
                <a:schemeClr val="accent5"/>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a:extLst>
              <a:ext uri="{FF2B5EF4-FFF2-40B4-BE49-F238E27FC236}">
                <a16:creationId xmlns:a16="http://schemas.microsoft.com/office/drawing/2014/main" id="{9C02467A-7766-4FD6-860F-8B7419573B62}"/>
              </a:ext>
            </a:extLst>
          </p:cNvPr>
          <p:cNvSpPr>
            <a:spLocks noGrp="1"/>
          </p:cNvSpPr>
          <p:nvPr>
            <p:ph type="title"/>
            <p:custDataLst>
              <p:tags r:id="rId7"/>
            </p:custDataLst>
          </p:nvPr>
        </p:nvSpPr>
        <p:spPr bwMode="gray"/>
        <p:txBody>
          <a:bodyPr/>
          <a:lstStyle/>
          <a:p>
            <a:r>
              <a:rPr lang="en-US" dirty="0"/>
              <a:t>DETOXing your supply chain</a:t>
            </a:r>
          </a:p>
        </p:txBody>
      </p:sp>
      <p:sp>
        <p:nvSpPr>
          <p:cNvPr id="3" name="Textplatzhalter 2">
            <a:extLst>
              <a:ext uri="{FF2B5EF4-FFF2-40B4-BE49-F238E27FC236}">
                <a16:creationId xmlns:a16="http://schemas.microsoft.com/office/drawing/2014/main" id="{D4E56B10-B6BA-42BA-BB1F-30ABB27F18F0}"/>
              </a:ext>
            </a:extLst>
          </p:cNvPr>
          <p:cNvSpPr>
            <a:spLocks noGrp="1"/>
          </p:cNvSpPr>
          <p:nvPr>
            <p:ph type="body" sz="quarter" idx="13"/>
            <p:custDataLst>
              <p:tags r:id="rId8"/>
            </p:custDataLst>
          </p:nvPr>
        </p:nvSpPr>
        <p:spPr bwMode="gray"/>
        <p:txBody>
          <a:bodyPr/>
          <a:lstStyle/>
          <a:p>
            <a:r>
              <a:rPr lang="en-US" dirty="0"/>
              <a:t>Our enabling services</a:t>
            </a:r>
          </a:p>
        </p:txBody>
      </p:sp>
      <p:grpSp>
        <p:nvGrpSpPr>
          <p:cNvPr id="92" name="Gruppieren 91">
            <a:extLst>
              <a:ext uri="{FF2B5EF4-FFF2-40B4-BE49-F238E27FC236}">
                <a16:creationId xmlns:a16="http://schemas.microsoft.com/office/drawing/2014/main" id="{C91777A8-8D84-40E2-8EC4-3F419E278FC0}"/>
              </a:ext>
            </a:extLst>
          </p:cNvPr>
          <p:cNvGrpSpPr/>
          <p:nvPr>
            <p:custDataLst>
              <p:tags r:id="rId9"/>
            </p:custDataLst>
          </p:nvPr>
        </p:nvGrpSpPr>
        <p:grpSpPr bwMode="gray">
          <a:xfrm>
            <a:off x="5861638" y="2439965"/>
            <a:ext cx="1296086" cy="1516164"/>
            <a:chOff x="4052172" y="1948591"/>
            <a:chExt cx="2346512" cy="2744955"/>
          </a:xfrm>
        </p:grpSpPr>
        <p:sp>
          <p:nvSpPr>
            <p:cNvPr id="93" name="Freihandform: Form 92">
              <a:extLst>
                <a:ext uri="{FF2B5EF4-FFF2-40B4-BE49-F238E27FC236}">
                  <a16:creationId xmlns:a16="http://schemas.microsoft.com/office/drawing/2014/main" id="{28D0199F-4D94-4431-B04B-E6A549F32A83}"/>
                </a:ext>
              </a:extLst>
            </p:cNvPr>
            <p:cNvSpPr/>
            <p:nvPr>
              <p:custDataLst>
                <p:tags r:id="rId85"/>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4" name="Freihandform: Form 93">
              <a:extLst>
                <a:ext uri="{FF2B5EF4-FFF2-40B4-BE49-F238E27FC236}">
                  <a16:creationId xmlns:a16="http://schemas.microsoft.com/office/drawing/2014/main" id="{3E355FBE-9116-4B32-959B-3BC6E17E865E}"/>
                </a:ext>
              </a:extLst>
            </p:cNvPr>
            <p:cNvSpPr/>
            <p:nvPr>
              <p:custDataLst>
                <p:tags r:id="rId86"/>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8" name="Gruppieren 97">
            <a:extLst>
              <a:ext uri="{FF2B5EF4-FFF2-40B4-BE49-F238E27FC236}">
                <a16:creationId xmlns:a16="http://schemas.microsoft.com/office/drawing/2014/main" id="{786121E7-B183-4329-A6BB-969A788DFDCA}"/>
              </a:ext>
            </a:extLst>
          </p:cNvPr>
          <p:cNvGrpSpPr/>
          <p:nvPr>
            <p:custDataLst>
              <p:tags r:id="rId10"/>
            </p:custDataLst>
          </p:nvPr>
        </p:nvGrpSpPr>
        <p:grpSpPr bwMode="gray">
          <a:xfrm>
            <a:off x="8723618" y="2439965"/>
            <a:ext cx="1296086" cy="1516164"/>
            <a:chOff x="4052172" y="1948591"/>
            <a:chExt cx="2346512" cy="2744955"/>
          </a:xfrm>
        </p:grpSpPr>
        <p:sp>
          <p:nvSpPr>
            <p:cNvPr id="99" name="Freihandform: Form 98">
              <a:extLst>
                <a:ext uri="{FF2B5EF4-FFF2-40B4-BE49-F238E27FC236}">
                  <a16:creationId xmlns:a16="http://schemas.microsoft.com/office/drawing/2014/main" id="{0779DF7C-0715-447D-AE97-E00E9EDCC116}"/>
                </a:ext>
              </a:extLst>
            </p:cNvPr>
            <p:cNvSpPr/>
            <p:nvPr>
              <p:custDataLst>
                <p:tags r:id="rId83"/>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0" name="Freihandform: Form 99">
              <a:extLst>
                <a:ext uri="{FF2B5EF4-FFF2-40B4-BE49-F238E27FC236}">
                  <a16:creationId xmlns:a16="http://schemas.microsoft.com/office/drawing/2014/main" id="{A222732F-5E08-43BD-9E9D-1313BBA9E844}"/>
                </a:ext>
              </a:extLst>
            </p:cNvPr>
            <p:cNvSpPr/>
            <p:nvPr>
              <p:custDataLst>
                <p:tags r:id="rId84"/>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9" name="Gruppieren 88">
            <a:extLst>
              <a:ext uri="{FF2B5EF4-FFF2-40B4-BE49-F238E27FC236}">
                <a16:creationId xmlns:a16="http://schemas.microsoft.com/office/drawing/2014/main" id="{EC8172A2-55AF-439F-85B1-35AF0CD09910}"/>
              </a:ext>
            </a:extLst>
          </p:cNvPr>
          <p:cNvGrpSpPr/>
          <p:nvPr>
            <p:custDataLst>
              <p:tags r:id="rId11"/>
            </p:custDataLst>
          </p:nvPr>
        </p:nvGrpSpPr>
        <p:grpSpPr bwMode="gray">
          <a:xfrm>
            <a:off x="4337316" y="2439965"/>
            <a:ext cx="1296086" cy="1516164"/>
            <a:chOff x="4052172" y="1948591"/>
            <a:chExt cx="2346512" cy="2744955"/>
          </a:xfrm>
        </p:grpSpPr>
        <p:sp>
          <p:nvSpPr>
            <p:cNvPr id="90" name="Freihandform: Form 89">
              <a:extLst>
                <a:ext uri="{FF2B5EF4-FFF2-40B4-BE49-F238E27FC236}">
                  <a16:creationId xmlns:a16="http://schemas.microsoft.com/office/drawing/2014/main" id="{17A99C59-E910-4C27-B737-8256AC88310B}"/>
                </a:ext>
              </a:extLst>
            </p:cNvPr>
            <p:cNvSpPr/>
            <p:nvPr>
              <p:custDataLst>
                <p:tags r:id="rId81"/>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Freihandform: Form 90">
              <a:extLst>
                <a:ext uri="{FF2B5EF4-FFF2-40B4-BE49-F238E27FC236}">
                  <a16:creationId xmlns:a16="http://schemas.microsoft.com/office/drawing/2014/main" id="{FA8B7357-9AD4-4B8E-ADD1-4E375473B01B}"/>
                </a:ext>
              </a:extLst>
            </p:cNvPr>
            <p:cNvSpPr/>
            <p:nvPr>
              <p:custDataLst>
                <p:tags r:id="rId82"/>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95" name="Gruppieren 94">
            <a:extLst>
              <a:ext uri="{FF2B5EF4-FFF2-40B4-BE49-F238E27FC236}">
                <a16:creationId xmlns:a16="http://schemas.microsoft.com/office/drawing/2014/main" id="{FAA9CBA5-503D-40DB-9D8F-DACF3C74294C}"/>
              </a:ext>
            </a:extLst>
          </p:cNvPr>
          <p:cNvGrpSpPr/>
          <p:nvPr>
            <p:custDataLst>
              <p:tags r:id="rId12"/>
            </p:custDataLst>
          </p:nvPr>
        </p:nvGrpSpPr>
        <p:grpSpPr bwMode="gray">
          <a:xfrm>
            <a:off x="7287013" y="2439965"/>
            <a:ext cx="1296086" cy="1516164"/>
            <a:chOff x="4052172" y="1948591"/>
            <a:chExt cx="2346512" cy="2744955"/>
          </a:xfrm>
        </p:grpSpPr>
        <p:sp>
          <p:nvSpPr>
            <p:cNvPr id="96" name="Freihandform: Form 95">
              <a:extLst>
                <a:ext uri="{FF2B5EF4-FFF2-40B4-BE49-F238E27FC236}">
                  <a16:creationId xmlns:a16="http://schemas.microsoft.com/office/drawing/2014/main" id="{CFA8EECC-8B59-4567-8A81-169B853B0E47}"/>
                </a:ext>
              </a:extLst>
            </p:cNvPr>
            <p:cNvSpPr/>
            <p:nvPr>
              <p:custDataLst>
                <p:tags r:id="rId79"/>
              </p:custDataLst>
            </p:nvPr>
          </p:nvSpPr>
          <p:spPr bwMode="gray">
            <a:xfrm rot="2243229">
              <a:off x="4052172" y="2414872"/>
              <a:ext cx="2346512" cy="2278674"/>
            </a:xfrm>
            <a:custGeom>
              <a:avLst/>
              <a:gdLst>
                <a:gd name="connsiteX0" fmla="*/ 267860 w 2346512"/>
                <a:gd name="connsiteY0" fmla="*/ 594077 h 2278674"/>
                <a:gd name="connsiteX1" fmla="*/ 301649 w 2346512"/>
                <a:gd name="connsiteY1" fmla="*/ 568255 h 2278674"/>
                <a:gd name="connsiteX2" fmla="*/ 334166 w 2346512"/>
                <a:gd name="connsiteY2" fmla="*/ 593676 h 2278674"/>
                <a:gd name="connsiteX3" fmla="*/ 841483 w 2346512"/>
                <a:gd name="connsiteY3" fmla="*/ 601884 h 2278674"/>
                <a:gd name="connsiteX4" fmla="*/ 966797 w 2346512"/>
                <a:gd name="connsiteY4" fmla="*/ 110217 h 2278674"/>
                <a:gd name="connsiteX5" fmla="*/ 950809 w 2346512"/>
                <a:gd name="connsiteY5" fmla="*/ 72166 h 2278674"/>
                <a:gd name="connsiteX6" fmla="*/ 984597 w 2346512"/>
                <a:gd name="connsiteY6" fmla="*/ 46344 h 2278674"/>
                <a:gd name="connsiteX7" fmla="*/ 1151411 w 2346512"/>
                <a:gd name="connsiteY7" fmla="*/ 1999 h 2278674"/>
                <a:gd name="connsiteX8" fmla="*/ 1160124 w 2346512"/>
                <a:gd name="connsiteY8" fmla="*/ 4935 h 2278674"/>
                <a:gd name="connsiteX9" fmla="*/ 1852401 w 2346512"/>
                <a:gd name="connsiteY9" fmla="*/ 4935 h 2278674"/>
                <a:gd name="connsiteX10" fmla="*/ 1852401 w 2346512"/>
                <a:gd name="connsiteY10" fmla="*/ 635925 h 2278674"/>
                <a:gd name="connsiteX11" fmla="*/ 1718993 w 2346512"/>
                <a:gd name="connsiteY11" fmla="*/ 635925 h 2278674"/>
                <a:gd name="connsiteX12" fmla="*/ 2346512 w 2346512"/>
                <a:gd name="connsiteY12" fmla="*/ 1457068 h 2278674"/>
                <a:gd name="connsiteX13" fmla="*/ 1271396 w 2346512"/>
                <a:gd name="connsiteY13" fmla="*/ 2278674 h 2278674"/>
                <a:gd name="connsiteX14" fmla="*/ 643877 w 2346512"/>
                <a:gd name="connsiteY14" fmla="*/ 1457532 h 2278674"/>
                <a:gd name="connsiteX15" fmla="*/ 608841 w 2346512"/>
                <a:gd name="connsiteY15" fmla="*/ 1586257 h 2278674"/>
                <a:gd name="connsiteX16" fmla="*/ 0 w 2346512"/>
                <a:gd name="connsiteY16" fmla="*/ 1420546 h 2278674"/>
                <a:gd name="connsiteX17" fmla="*/ 181807 w 2346512"/>
                <a:gd name="connsiteY17" fmla="*/ 752570 h 2278674"/>
                <a:gd name="connsiteX18" fmla="*/ 181261 w 2346512"/>
                <a:gd name="connsiteY18" fmla="*/ 743389 h 2278674"/>
                <a:gd name="connsiteX19" fmla="*/ 267860 w 2346512"/>
                <a:gd name="connsiteY19" fmla="*/ 594077 h 2278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6512" h="2278674">
                  <a:moveTo>
                    <a:pt x="267860" y="594077"/>
                  </a:moveTo>
                  <a:lnTo>
                    <a:pt x="301649" y="568255"/>
                  </a:lnTo>
                  <a:lnTo>
                    <a:pt x="334166" y="593676"/>
                  </a:lnTo>
                  <a:cubicBezTo>
                    <a:pt x="498524" y="700727"/>
                    <a:pt x="699287" y="710551"/>
                    <a:pt x="841483" y="601884"/>
                  </a:cubicBezTo>
                  <a:cubicBezTo>
                    <a:pt x="983680" y="493217"/>
                    <a:pt x="1026927" y="296921"/>
                    <a:pt x="966797" y="110217"/>
                  </a:cubicBezTo>
                  <a:lnTo>
                    <a:pt x="950809" y="72166"/>
                  </a:lnTo>
                  <a:lnTo>
                    <a:pt x="984597" y="46344"/>
                  </a:lnTo>
                  <a:cubicBezTo>
                    <a:pt x="1034079" y="8530"/>
                    <a:pt x="1094203" y="-5647"/>
                    <a:pt x="1151411" y="1999"/>
                  </a:cubicBezTo>
                  <a:lnTo>
                    <a:pt x="1160124" y="4935"/>
                  </a:lnTo>
                  <a:lnTo>
                    <a:pt x="1852401" y="4935"/>
                  </a:lnTo>
                  <a:lnTo>
                    <a:pt x="1852401" y="635925"/>
                  </a:lnTo>
                  <a:lnTo>
                    <a:pt x="1718993" y="635925"/>
                  </a:lnTo>
                  <a:lnTo>
                    <a:pt x="2346512" y="1457068"/>
                  </a:lnTo>
                  <a:lnTo>
                    <a:pt x="1271396" y="2278674"/>
                  </a:lnTo>
                  <a:lnTo>
                    <a:pt x="643877" y="1457532"/>
                  </a:lnTo>
                  <a:lnTo>
                    <a:pt x="608841" y="1586257"/>
                  </a:lnTo>
                  <a:lnTo>
                    <a:pt x="0" y="1420546"/>
                  </a:lnTo>
                  <a:lnTo>
                    <a:pt x="181807" y="752570"/>
                  </a:lnTo>
                  <a:lnTo>
                    <a:pt x="181261" y="743389"/>
                  </a:lnTo>
                  <a:cubicBezTo>
                    <a:pt x="188908" y="686182"/>
                    <a:pt x="218378" y="631891"/>
                    <a:pt x="267860" y="594077"/>
                  </a:cubicBezTo>
                  <a:close/>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accent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7" name="Freihandform: Form 96">
              <a:extLst>
                <a:ext uri="{FF2B5EF4-FFF2-40B4-BE49-F238E27FC236}">
                  <a16:creationId xmlns:a16="http://schemas.microsoft.com/office/drawing/2014/main" id="{04F39294-95BC-4E77-96D9-AAADA8552E42}"/>
                </a:ext>
              </a:extLst>
            </p:cNvPr>
            <p:cNvSpPr/>
            <p:nvPr>
              <p:custDataLst>
                <p:tags r:id="rId80"/>
              </p:custDataLst>
            </p:nvPr>
          </p:nvSpPr>
          <p:spPr bwMode="gray">
            <a:xfrm rot="5400000">
              <a:off x="4950050" y="1975489"/>
              <a:ext cx="701886" cy="648090"/>
            </a:xfrm>
            <a:custGeom>
              <a:avLst/>
              <a:gdLst>
                <a:gd name="connsiteX0" fmla="*/ 821 w 701886"/>
                <a:gd name="connsiteY0" fmla="*/ 345334 h 648090"/>
                <a:gd name="connsiteX1" fmla="*/ 86093 w 701886"/>
                <a:gd name="connsiteY1" fmla="*/ 124196 h 648090"/>
                <a:gd name="connsiteX2" fmla="*/ 390877 w 701886"/>
                <a:gd name="connsiteY2" fmla="*/ 74608 h 648090"/>
                <a:gd name="connsiteX3" fmla="*/ 541854 w 701886"/>
                <a:gd name="connsiteY3" fmla="*/ 257309 h 648090"/>
                <a:gd name="connsiteX4" fmla="*/ 544497 w 701886"/>
                <a:gd name="connsiteY4" fmla="*/ 285237 h 648090"/>
                <a:gd name="connsiteX5" fmla="*/ 624268 w 701886"/>
                <a:gd name="connsiteY5" fmla="*/ 285237 h 648090"/>
                <a:gd name="connsiteX6" fmla="*/ 624268 w 701886"/>
                <a:gd name="connsiteY6" fmla="*/ 0 h 648090"/>
                <a:gd name="connsiteX7" fmla="*/ 701886 w 701886"/>
                <a:gd name="connsiteY7" fmla="*/ 0 h 648090"/>
                <a:gd name="connsiteX8" fmla="*/ 701886 w 701886"/>
                <a:gd name="connsiteY8" fmla="*/ 648090 h 648090"/>
                <a:gd name="connsiteX9" fmla="*/ 624268 w 701886"/>
                <a:gd name="connsiteY9" fmla="*/ 648090 h 648090"/>
                <a:gd name="connsiteX10" fmla="*/ 624268 w 701886"/>
                <a:gd name="connsiteY10" fmla="*/ 362855 h 648090"/>
                <a:gd name="connsiteX11" fmla="*/ 458853 w 701886"/>
                <a:gd name="connsiteY11" fmla="*/ 362855 h 648090"/>
                <a:gd name="connsiteX12" fmla="*/ 458853 w 701886"/>
                <a:gd name="connsiteY12" fmla="*/ 334369 h 648090"/>
                <a:gd name="connsiteX13" fmla="*/ 457226 w 701886"/>
                <a:gd name="connsiteY13" fmla="*/ 334278 h 648090"/>
                <a:gd name="connsiteX14" fmla="*/ 351896 w 701886"/>
                <a:gd name="connsiteY14" fmla="*/ 158543 h 648090"/>
                <a:gd name="connsiteX15" fmla="*/ 149672 w 701886"/>
                <a:gd name="connsiteY15" fmla="*/ 191445 h 648090"/>
                <a:gd name="connsiteX16" fmla="*/ 105483 w 701886"/>
                <a:gd name="connsiteY16" fmla="*/ 391507 h 648090"/>
                <a:gd name="connsiteX17" fmla="*/ 275034 w 701886"/>
                <a:gd name="connsiteY17" fmla="*/ 506526 h 648090"/>
                <a:gd name="connsiteX18" fmla="*/ 275034 w 701886"/>
                <a:gd name="connsiteY18" fmla="*/ 599071 h 648090"/>
                <a:gd name="connsiteX19" fmla="*/ 19493 w 701886"/>
                <a:gd name="connsiteY19" fmla="*/ 425720 h 648090"/>
                <a:gd name="connsiteX20" fmla="*/ 821 w 701886"/>
                <a:gd name="connsiteY20" fmla="*/ 345334 h 6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1886" h="648090">
                  <a:moveTo>
                    <a:pt x="821" y="345334"/>
                  </a:moveTo>
                  <a:cubicBezTo>
                    <a:pt x="-5488" y="263949"/>
                    <a:pt x="24704" y="182235"/>
                    <a:pt x="86093" y="124196"/>
                  </a:cubicBezTo>
                  <a:cubicBezTo>
                    <a:pt x="167946" y="46811"/>
                    <a:pt x="288713" y="27162"/>
                    <a:pt x="390877" y="74608"/>
                  </a:cubicBezTo>
                  <a:cubicBezTo>
                    <a:pt x="467500" y="110193"/>
                    <a:pt x="522038" y="178122"/>
                    <a:pt x="541854" y="257309"/>
                  </a:cubicBezTo>
                  <a:lnTo>
                    <a:pt x="544497" y="285237"/>
                  </a:lnTo>
                  <a:lnTo>
                    <a:pt x="624268" y="285237"/>
                  </a:lnTo>
                  <a:lnTo>
                    <a:pt x="624268" y="0"/>
                  </a:lnTo>
                  <a:lnTo>
                    <a:pt x="701886" y="0"/>
                  </a:lnTo>
                  <a:lnTo>
                    <a:pt x="701886" y="648090"/>
                  </a:lnTo>
                  <a:lnTo>
                    <a:pt x="624268" y="648090"/>
                  </a:lnTo>
                  <a:lnTo>
                    <a:pt x="624268" y="362855"/>
                  </a:lnTo>
                  <a:lnTo>
                    <a:pt x="458853" y="362855"/>
                  </a:lnTo>
                  <a:lnTo>
                    <a:pt x="458853" y="334369"/>
                  </a:lnTo>
                  <a:lnTo>
                    <a:pt x="457226" y="334278"/>
                  </a:lnTo>
                  <a:cubicBezTo>
                    <a:pt x="461418" y="259656"/>
                    <a:pt x="419681" y="190023"/>
                    <a:pt x="351896" y="158543"/>
                  </a:cubicBezTo>
                  <a:cubicBezTo>
                    <a:pt x="284111" y="127063"/>
                    <a:pt x="203982" y="140100"/>
                    <a:pt x="149672" y="191445"/>
                  </a:cubicBezTo>
                  <a:cubicBezTo>
                    <a:pt x="95362" y="242790"/>
                    <a:pt x="77853" y="322063"/>
                    <a:pt x="105483" y="391507"/>
                  </a:cubicBezTo>
                  <a:cubicBezTo>
                    <a:pt x="133113" y="460951"/>
                    <a:pt x="200296" y="506526"/>
                    <a:pt x="275034" y="506526"/>
                  </a:cubicBezTo>
                  <a:lnTo>
                    <a:pt x="275034" y="599071"/>
                  </a:lnTo>
                  <a:cubicBezTo>
                    <a:pt x="162391" y="599071"/>
                    <a:pt x="61136" y="530382"/>
                    <a:pt x="19493" y="425720"/>
                  </a:cubicBezTo>
                  <a:cubicBezTo>
                    <a:pt x="9083" y="399554"/>
                    <a:pt x="2924" y="372462"/>
                    <a:pt x="821" y="34533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7" name="NativeTextbox_ID_37">
            <a:extLst>
              <a:ext uri="{FF2B5EF4-FFF2-40B4-BE49-F238E27FC236}">
                <a16:creationId xmlns:a16="http://schemas.microsoft.com/office/drawing/2014/main" id="{402D94C0-BA8A-473C-B8D1-64BB518D38D6}"/>
              </a:ext>
            </a:extLst>
          </p:cNvPr>
          <p:cNvSpPr txBox="1">
            <a:spLocks/>
          </p:cNvSpPr>
          <p:nvPr>
            <p:custDataLst>
              <p:tags r:id="rId13"/>
            </p:custDataLst>
          </p:nvPr>
        </p:nvSpPr>
        <p:spPr bwMode="gray">
          <a:xfrm>
            <a:off x="4381429"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MRSL </a:t>
            </a:r>
            <a:endParaRPr lang="en-US" sz="1400" dirty="0" smtClean="0">
              <a:solidFill>
                <a:schemeClr val="dk2"/>
              </a:solidFill>
              <a:latin typeface="Arial" panose="020B0604020202020204" pitchFamily="34" charset="0"/>
            </a:endParaRPr>
          </a:p>
          <a:p>
            <a:pPr algn="ctr"/>
            <a:r>
              <a:rPr lang="en-US" sz="1400" dirty="0" smtClean="0">
                <a:solidFill>
                  <a:schemeClr val="dk2"/>
                </a:solidFill>
                <a:latin typeface="Arial" panose="020B0604020202020204" pitchFamily="34" charset="0"/>
              </a:rPr>
              <a:t>compliance checks of chemical </a:t>
            </a:r>
            <a:r>
              <a:rPr lang="en-US" sz="1400" dirty="0">
                <a:solidFill>
                  <a:schemeClr val="dk2"/>
                </a:solidFill>
                <a:latin typeface="Arial" panose="020B0604020202020204" pitchFamily="34" charset="0"/>
              </a:rPr>
              <a:t>inventory</a:t>
            </a:r>
          </a:p>
        </p:txBody>
      </p:sp>
      <p:sp>
        <p:nvSpPr>
          <p:cNvPr id="67" name="NativeTextbox_ID_37">
            <a:extLst>
              <a:ext uri="{FF2B5EF4-FFF2-40B4-BE49-F238E27FC236}">
                <a16:creationId xmlns:a16="http://schemas.microsoft.com/office/drawing/2014/main" id="{C7078D49-30CB-4345-95A1-7AAD459E191D}"/>
              </a:ext>
            </a:extLst>
          </p:cNvPr>
          <p:cNvSpPr txBox="1">
            <a:spLocks/>
          </p:cNvSpPr>
          <p:nvPr>
            <p:custDataLst>
              <p:tags r:id="rId14"/>
            </p:custDataLst>
          </p:nvPr>
        </p:nvSpPr>
        <p:spPr bwMode="gray">
          <a:xfrm>
            <a:off x="1486609"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Risk</a:t>
            </a:r>
            <a:br>
              <a:rPr lang="en-US" sz="1400" dirty="0">
                <a:solidFill>
                  <a:schemeClr val="dk2"/>
                </a:solidFill>
                <a:latin typeface="Arial" panose="020B0604020202020204" pitchFamily="34" charset="0"/>
              </a:rPr>
            </a:br>
            <a:r>
              <a:rPr lang="en-US" sz="1400" dirty="0">
                <a:solidFill>
                  <a:schemeClr val="dk2"/>
                </a:solidFill>
                <a:latin typeface="Arial" panose="020B0604020202020204" pitchFamily="34" charset="0"/>
              </a:rPr>
              <a:t>assessment</a:t>
            </a:r>
          </a:p>
        </p:txBody>
      </p:sp>
      <p:sp>
        <p:nvSpPr>
          <p:cNvPr id="68" name="NativeTextbox_ID_37">
            <a:extLst>
              <a:ext uri="{FF2B5EF4-FFF2-40B4-BE49-F238E27FC236}">
                <a16:creationId xmlns:a16="http://schemas.microsoft.com/office/drawing/2014/main" id="{7E2F8D16-734F-4C75-BB29-6ED2AE97BBDC}"/>
              </a:ext>
            </a:extLst>
          </p:cNvPr>
          <p:cNvSpPr txBox="1">
            <a:spLocks/>
          </p:cNvSpPr>
          <p:nvPr>
            <p:custDataLst>
              <p:tags r:id="rId15"/>
            </p:custDataLst>
          </p:nvPr>
        </p:nvSpPr>
        <p:spPr bwMode="gray">
          <a:xfrm>
            <a:off x="2934019"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Wastewater monitoring</a:t>
            </a:r>
          </a:p>
        </p:txBody>
      </p:sp>
      <p:sp>
        <p:nvSpPr>
          <p:cNvPr id="69" name="NativeTextbox_ID_37">
            <a:extLst>
              <a:ext uri="{FF2B5EF4-FFF2-40B4-BE49-F238E27FC236}">
                <a16:creationId xmlns:a16="http://schemas.microsoft.com/office/drawing/2014/main" id="{A9A94D24-D58E-4296-8BF6-3112CFF1E0EA}"/>
              </a:ext>
            </a:extLst>
          </p:cNvPr>
          <p:cNvSpPr txBox="1">
            <a:spLocks/>
          </p:cNvSpPr>
          <p:nvPr>
            <p:custDataLst>
              <p:tags r:id="rId16"/>
            </p:custDataLst>
          </p:nvPr>
        </p:nvSpPr>
        <p:spPr bwMode="gray">
          <a:xfrm>
            <a:off x="5828839"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Supplier </a:t>
            </a:r>
            <a:br>
              <a:rPr lang="en-US" sz="1400" dirty="0">
                <a:solidFill>
                  <a:schemeClr val="dk2"/>
                </a:solidFill>
                <a:latin typeface="Arial" panose="020B0604020202020204" pitchFamily="34" charset="0"/>
              </a:rPr>
            </a:br>
            <a:r>
              <a:rPr lang="en-US" sz="1400" dirty="0">
                <a:solidFill>
                  <a:schemeClr val="dk2"/>
                </a:solidFill>
                <a:latin typeface="Arial" panose="020B0604020202020204" pitchFamily="34" charset="0"/>
              </a:rPr>
              <a:t>audits</a:t>
            </a:r>
          </a:p>
        </p:txBody>
      </p:sp>
      <p:sp>
        <p:nvSpPr>
          <p:cNvPr id="70" name="NativeTextbox_ID_37">
            <a:extLst>
              <a:ext uri="{FF2B5EF4-FFF2-40B4-BE49-F238E27FC236}">
                <a16:creationId xmlns:a16="http://schemas.microsoft.com/office/drawing/2014/main" id="{41DC57E8-A864-40B8-BE18-265D2FF67761}"/>
              </a:ext>
            </a:extLst>
          </p:cNvPr>
          <p:cNvSpPr txBox="1">
            <a:spLocks/>
          </p:cNvSpPr>
          <p:nvPr>
            <p:custDataLst>
              <p:tags r:id="rId17"/>
            </p:custDataLst>
          </p:nvPr>
        </p:nvSpPr>
        <p:spPr bwMode="gray">
          <a:xfrm>
            <a:off x="8723661"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Chemical management training</a:t>
            </a:r>
          </a:p>
        </p:txBody>
      </p:sp>
      <p:sp>
        <p:nvSpPr>
          <p:cNvPr id="71" name="NativeTextbox_ID_37">
            <a:extLst>
              <a:ext uri="{FF2B5EF4-FFF2-40B4-BE49-F238E27FC236}">
                <a16:creationId xmlns:a16="http://schemas.microsoft.com/office/drawing/2014/main" id="{1FAEEC25-C0D1-48EF-B7FA-8DB7CE22FC22}"/>
              </a:ext>
            </a:extLst>
          </p:cNvPr>
          <p:cNvSpPr txBox="1">
            <a:spLocks/>
          </p:cNvSpPr>
          <p:nvPr>
            <p:custDataLst>
              <p:tags r:id="rId18"/>
            </p:custDataLst>
          </p:nvPr>
        </p:nvSpPr>
        <p:spPr bwMode="gray">
          <a:xfrm>
            <a:off x="7276249" y="3982130"/>
            <a:ext cx="1296000" cy="216000"/>
          </a:xfrm>
          <a:prstGeom prst="rect">
            <a:avLst/>
          </a:prstGeom>
          <a:noFill/>
          <a:extLst>
            <a:ext uri="{909E8E84-426E-40DD-AFC4-6F175D3DCCD1}">
              <a14:hiddenFill xmlns:a14="http://schemas.microsoft.com/office/drawing/2010/main">
                <a:solidFill>
                  <a:srgbClr val="FFFFFF">
                    <a:alpha val="0"/>
                  </a:srgbClr>
                </a:solidFill>
              </a14:hiddenFill>
            </a:ext>
          </a:extLst>
        </p:spPr>
        <p:txBody>
          <a:bodyPr vert="horz" wrap="square" lIns="0" tIns="0" rIns="0" bIns="0" rtlCol="0" anchor="t" anchorCtr="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pPr algn="ctr"/>
            <a:r>
              <a:rPr lang="en-US" sz="1400" dirty="0">
                <a:solidFill>
                  <a:schemeClr val="dk2"/>
                </a:solidFill>
                <a:latin typeface="Arial" panose="020B0604020202020204" pitchFamily="34" charset="0"/>
              </a:rPr>
              <a:t>Product RSL checks</a:t>
            </a:r>
          </a:p>
        </p:txBody>
      </p:sp>
      <p:sp>
        <p:nvSpPr>
          <p:cNvPr id="14" name="Freihandform: Form 13">
            <a:extLst>
              <a:ext uri="{FF2B5EF4-FFF2-40B4-BE49-F238E27FC236}">
                <a16:creationId xmlns:a16="http://schemas.microsoft.com/office/drawing/2014/main" id="{F5D28875-A4FA-4238-A925-069545B64C49}"/>
              </a:ext>
            </a:extLst>
          </p:cNvPr>
          <p:cNvSpPr/>
          <p:nvPr>
            <p:custDataLst>
              <p:tags r:id="rId19"/>
            </p:custDataLst>
          </p:nvPr>
        </p:nvSpPr>
        <p:spPr bwMode="gray">
          <a:xfrm>
            <a:off x="529388" y="1840832"/>
            <a:ext cx="1311521" cy="4102925"/>
          </a:xfrm>
          <a:custGeom>
            <a:avLst/>
            <a:gdLst>
              <a:gd name="connsiteX0" fmla="*/ 1323474 w 1323474"/>
              <a:gd name="connsiteY0" fmla="*/ 4126831 h 4126831"/>
              <a:gd name="connsiteX1" fmla="*/ 336885 w 1323474"/>
              <a:gd name="connsiteY1" fmla="*/ 2261936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1323474 w 1325374"/>
              <a:gd name="connsiteY0" fmla="*/ 4126831 h 4126831"/>
              <a:gd name="connsiteX1" fmla="*/ 336885 w 1325374"/>
              <a:gd name="connsiteY1" fmla="*/ 2261936 h 4126831"/>
              <a:gd name="connsiteX2" fmla="*/ 397043 w 1325374"/>
              <a:gd name="connsiteY2" fmla="*/ 770021 h 4126831"/>
              <a:gd name="connsiteX3" fmla="*/ 950495 w 1325374"/>
              <a:gd name="connsiteY3" fmla="*/ 637673 h 4126831"/>
              <a:gd name="connsiteX4" fmla="*/ 360948 w 1325374"/>
              <a:gd name="connsiteY4" fmla="*/ 697831 h 4126831"/>
              <a:gd name="connsiteX5" fmla="*/ 469232 w 1325374"/>
              <a:gd name="connsiteY5" fmla="*/ 0 h 4126831"/>
              <a:gd name="connsiteX6" fmla="*/ 204537 w 1325374"/>
              <a:gd name="connsiteY6" fmla="*/ 902368 h 4126831"/>
              <a:gd name="connsiteX7" fmla="*/ 0 w 1325374"/>
              <a:gd name="connsiteY7" fmla="*/ 770021 h 4126831"/>
              <a:gd name="connsiteX8" fmla="*/ 216569 w 1325374"/>
              <a:gd name="connsiteY8" fmla="*/ 1034715 h 4126831"/>
              <a:gd name="connsiteX9" fmla="*/ 132348 w 1325374"/>
              <a:gd name="connsiteY9" fmla="*/ 2622884 h 4126831"/>
              <a:gd name="connsiteX10" fmla="*/ 24064 w 1325374"/>
              <a:gd name="connsiteY10" fmla="*/ 2478505 h 4126831"/>
              <a:gd name="connsiteX11" fmla="*/ 84222 w 1325374"/>
              <a:gd name="connsiteY11" fmla="*/ 2610852 h 4126831"/>
              <a:gd name="connsiteX12" fmla="*/ 0 w 1325374"/>
              <a:gd name="connsiteY12" fmla="*/ 2622884 h 4126831"/>
              <a:gd name="connsiteX13" fmla="*/ 60158 w 1325374"/>
              <a:gd name="connsiteY13" fmla="*/ 2707105 h 4126831"/>
              <a:gd name="connsiteX14" fmla="*/ 24064 w 1325374"/>
              <a:gd name="connsiteY14" fmla="*/ 2731168 h 4126831"/>
              <a:gd name="connsiteX15" fmla="*/ 120316 w 1325374"/>
              <a:gd name="connsiteY15" fmla="*/ 2851484 h 4126831"/>
              <a:gd name="connsiteX16" fmla="*/ 48127 w 1325374"/>
              <a:gd name="connsiteY16" fmla="*/ 4102768 h 4126831"/>
              <a:gd name="connsiteX17" fmla="*/ 1323474 w 1325374"/>
              <a:gd name="connsiteY17" fmla="*/ 4126831 h 4126831"/>
              <a:gd name="connsiteX0" fmla="*/ 1323474 w 1323474"/>
              <a:gd name="connsiteY0" fmla="*/ 4126831 h 4126831"/>
              <a:gd name="connsiteX1" fmla="*/ 336885 w 1323474"/>
              <a:gd name="connsiteY1" fmla="*/ 2261936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48127 w 1323474"/>
              <a:gd name="connsiteY0" fmla="*/ 4102768 h 4194208"/>
              <a:gd name="connsiteX1" fmla="*/ 1323474 w 1323474"/>
              <a:gd name="connsiteY1" fmla="*/ 4126831 h 4194208"/>
              <a:gd name="connsiteX2" fmla="*/ 517358 w 1323474"/>
              <a:gd name="connsiteY2" fmla="*/ 2695073 h 4194208"/>
              <a:gd name="connsiteX3" fmla="*/ 397043 w 1323474"/>
              <a:gd name="connsiteY3" fmla="*/ 770021 h 4194208"/>
              <a:gd name="connsiteX4" fmla="*/ 950495 w 1323474"/>
              <a:gd name="connsiteY4" fmla="*/ 637673 h 4194208"/>
              <a:gd name="connsiteX5" fmla="*/ 360948 w 1323474"/>
              <a:gd name="connsiteY5" fmla="*/ 697831 h 4194208"/>
              <a:gd name="connsiteX6" fmla="*/ 469232 w 1323474"/>
              <a:gd name="connsiteY6" fmla="*/ 0 h 4194208"/>
              <a:gd name="connsiteX7" fmla="*/ 204537 w 1323474"/>
              <a:gd name="connsiteY7" fmla="*/ 902368 h 4194208"/>
              <a:gd name="connsiteX8" fmla="*/ 0 w 1323474"/>
              <a:gd name="connsiteY8" fmla="*/ 770021 h 4194208"/>
              <a:gd name="connsiteX9" fmla="*/ 216569 w 1323474"/>
              <a:gd name="connsiteY9" fmla="*/ 1034715 h 4194208"/>
              <a:gd name="connsiteX10" fmla="*/ 132348 w 1323474"/>
              <a:gd name="connsiteY10" fmla="*/ 2622884 h 4194208"/>
              <a:gd name="connsiteX11" fmla="*/ 24064 w 1323474"/>
              <a:gd name="connsiteY11" fmla="*/ 2478505 h 4194208"/>
              <a:gd name="connsiteX12" fmla="*/ 84222 w 1323474"/>
              <a:gd name="connsiteY12" fmla="*/ 2610852 h 4194208"/>
              <a:gd name="connsiteX13" fmla="*/ 0 w 1323474"/>
              <a:gd name="connsiteY13" fmla="*/ 2622884 h 4194208"/>
              <a:gd name="connsiteX14" fmla="*/ 60158 w 1323474"/>
              <a:gd name="connsiteY14" fmla="*/ 2707105 h 4194208"/>
              <a:gd name="connsiteX15" fmla="*/ 24064 w 1323474"/>
              <a:gd name="connsiteY15" fmla="*/ 2731168 h 4194208"/>
              <a:gd name="connsiteX16" fmla="*/ 120316 w 1323474"/>
              <a:gd name="connsiteY16" fmla="*/ 2851484 h 4194208"/>
              <a:gd name="connsiteX17" fmla="*/ 139567 w 1323474"/>
              <a:gd name="connsiteY17" fmla="*/ 4194208 h 4194208"/>
              <a:gd name="connsiteX0" fmla="*/ 48127 w 1323474"/>
              <a:gd name="connsiteY0" fmla="*/ 4102768 h 4126831"/>
              <a:gd name="connsiteX1" fmla="*/ 1323474 w 1323474"/>
              <a:gd name="connsiteY1" fmla="*/ 4126831 h 4126831"/>
              <a:gd name="connsiteX2" fmla="*/ 517358 w 1323474"/>
              <a:gd name="connsiteY2" fmla="*/ 2695073 h 4126831"/>
              <a:gd name="connsiteX3" fmla="*/ 397043 w 1323474"/>
              <a:gd name="connsiteY3" fmla="*/ 770021 h 4126831"/>
              <a:gd name="connsiteX4" fmla="*/ 950495 w 1323474"/>
              <a:gd name="connsiteY4" fmla="*/ 637673 h 4126831"/>
              <a:gd name="connsiteX5" fmla="*/ 360948 w 1323474"/>
              <a:gd name="connsiteY5" fmla="*/ 697831 h 4126831"/>
              <a:gd name="connsiteX6" fmla="*/ 469232 w 1323474"/>
              <a:gd name="connsiteY6" fmla="*/ 0 h 4126831"/>
              <a:gd name="connsiteX7" fmla="*/ 204537 w 1323474"/>
              <a:gd name="connsiteY7" fmla="*/ 902368 h 4126831"/>
              <a:gd name="connsiteX8" fmla="*/ 0 w 1323474"/>
              <a:gd name="connsiteY8" fmla="*/ 770021 h 4126831"/>
              <a:gd name="connsiteX9" fmla="*/ 216569 w 1323474"/>
              <a:gd name="connsiteY9" fmla="*/ 1034715 h 4126831"/>
              <a:gd name="connsiteX10" fmla="*/ 132348 w 1323474"/>
              <a:gd name="connsiteY10" fmla="*/ 2622884 h 4126831"/>
              <a:gd name="connsiteX11" fmla="*/ 24064 w 1323474"/>
              <a:gd name="connsiteY11" fmla="*/ 2478505 h 4126831"/>
              <a:gd name="connsiteX12" fmla="*/ 84222 w 1323474"/>
              <a:gd name="connsiteY12" fmla="*/ 2610852 h 4126831"/>
              <a:gd name="connsiteX13" fmla="*/ 0 w 1323474"/>
              <a:gd name="connsiteY13" fmla="*/ 2622884 h 4126831"/>
              <a:gd name="connsiteX14" fmla="*/ 60158 w 1323474"/>
              <a:gd name="connsiteY14" fmla="*/ 2707105 h 4126831"/>
              <a:gd name="connsiteX15" fmla="*/ 24064 w 1323474"/>
              <a:gd name="connsiteY15" fmla="*/ 2731168 h 4126831"/>
              <a:gd name="connsiteX16" fmla="*/ 120316 w 1323474"/>
              <a:gd name="connsiteY16" fmla="*/ 2851484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485608 w 1323474"/>
              <a:gd name="connsiteY1" fmla="*/ 27458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485608 w 1323474"/>
              <a:gd name="connsiteY1" fmla="*/ 27458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12" fmla="*/ 0 w 1311521"/>
              <a:gd name="connsiteY12" fmla="*/ 2622884 h 4102925"/>
              <a:gd name="connsiteX13" fmla="*/ 60158 w 1311521"/>
              <a:gd name="connsiteY13" fmla="*/ 2707105 h 4102925"/>
              <a:gd name="connsiteX14" fmla="*/ 24064 w 1311521"/>
              <a:gd name="connsiteY14" fmla="*/ 2731168 h 4102925"/>
              <a:gd name="connsiteX15" fmla="*/ 120316 w 1311521"/>
              <a:gd name="connsiteY15" fmla="*/ 2851484 h 4102925"/>
              <a:gd name="connsiteX0" fmla="*/ 1311521 w 1311521"/>
              <a:gd name="connsiteY0" fmla="*/ 4102925 h 4102925"/>
              <a:gd name="connsiteX1" fmla="*/ 485608 w 1311521"/>
              <a:gd name="connsiteY1" fmla="*/ 2745873 h 4102925"/>
              <a:gd name="connsiteX2" fmla="*/ 439603 w 1311521"/>
              <a:gd name="connsiteY2" fmla="*/ 2444565 h 4102925"/>
              <a:gd name="connsiteX3" fmla="*/ 397043 w 1311521"/>
              <a:gd name="connsiteY3" fmla="*/ 770021 h 4102925"/>
              <a:gd name="connsiteX4" fmla="*/ 950495 w 1311521"/>
              <a:gd name="connsiteY4" fmla="*/ 637673 h 4102925"/>
              <a:gd name="connsiteX5" fmla="*/ 360948 w 1311521"/>
              <a:gd name="connsiteY5" fmla="*/ 697831 h 4102925"/>
              <a:gd name="connsiteX6" fmla="*/ 469232 w 1311521"/>
              <a:gd name="connsiteY6" fmla="*/ 0 h 4102925"/>
              <a:gd name="connsiteX7" fmla="*/ 204537 w 1311521"/>
              <a:gd name="connsiteY7" fmla="*/ 902368 h 4102925"/>
              <a:gd name="connsiteX8" fmla="*/ 0 w 1311521"/>
              <a:gd name="connsiteY8" fmla="*/ 770021 h 4102925"/>
              <a:gd name="connsiteX9" fmla="*/ 216569 w 1311521"/>
              <a:gd name="connsiteY9" fmla="*/ 1034715 h 4102925"/>
              <a:gd name="connsiteX10" fmla="*/ 132348 w 1311521"/>
              <a:gd name="connsiteY10" fmla="*/ 2622884 h 4102925"/>
              <a:gd name="connsiteX11" fmla="*/ 24064 w 1311521"/>
              <a:gd name="connsiteY11" fmla="*/ 2478505 h 4102925"/>
              <a:gd name="connsiteX12" fmla="*/ 84222 w 1311521"/>
              <a:gd name="connsiteY12" fmla="*/ 2610852 h 4102925"/>
              <a:gd name="connsiteX13" fmla="*/ 0 w 1311521"/>
              <a:gd name="connsiteY13" fmla="*/ 2622884 h 4102925"/>
              <a:gd name="connsiteX14" fmla="*/ 60158 w 1311521"/>
              <a:gd name="connsiteY14" fmla="*/ 2707105 h 4102925"/>
              <a:gd name="connsiteX15" fmla="*/ 24064 w 1311521"/>
              <a:gd name="connsiteY15" fmla="*/ 2731168 h 4102925"/>
              <a:gd name="connsiteX16" fmla="*/ 120316 w 1311521"/>
              <a:gd name="connsiteY16" fmla="*/ 2851484 h 4102925"/>
              <a:gd name="connsiteX0" fmla="*/ 1311521 w 1311521"/>
              <a:gd name="connsiteY0" fmla="*/ 4102925 h 4102925"/>
              <a:gd name="connsiteX1" fmla="*/ 485608 w 1311521"/>
              <a:gd name="connsiteY1" fmla="*/ 2745873 h 4102925"/>
              <a:gd name="connsiteX2" fmla="*/ 439603 w 1311521"/>
              <a:gd name="connsiteY2" fmla="*/ 2444565 h 4102925"/>
              <a:gd name="connsiteX3" fmla="*/ 425955 w 1311521"/>
              <a:gd name="connsiteY3" fmla="*/ 2239849 h 4102925"/>
              <a:gd name="connsiteX4" fmla="*/ 397043 w 1311521"/>
              <a:gd name="connsiteY4" fmla="*/ 770021 h 4102925"/>
              <a:gd name="connsiteX5" fmla="*/ 950495 w 1311521"/>
              <a:gd name="connsiteY5" fmla="*/ 637673 h 4102925"/>
              <a:gd name="connsiteX6" fmla="*/ 360948 w 1311521"/>
              <a:gd name="connsiteY6" fmla="*/ 697831 h 4102925"/>
              <a:gd name="connsiteX7" fmla="*/ 469232 w 1311521"/>
              <a:gd name="connsiteY7" fmla="*/ 0 h 4102925"/>
              <a:gd name="connsiteX8" fmla="*/ 204537 w 1311521"/>
              <a:gd name="connsiteY8" fmla="*/ 902368 h 4102925"/>
              <a:gd name="connsiteX9" fmla="*/ 0 w 1311521"/>
              <a:gd name="connsiteY9" fmla="*/ 770021 h 4102925"/>
              <a:gd name="connsiteX10" fmla="*/ 216569 w 1311521"/>
              <a:gd name="connsiteY10" fmla="*/ 1034715 h 4102925"/>
              <a:gd name="connsiteX11" fmla="*/ 132348 w 1311521"/>
              <a:gd name="connsiteY11" fmla="*/ 2622884 h 4102925"/>
              <a:gd name="connsiteX12" fmla="*/ 24064 w 1311521"/>
              <a:gd name="connsiteY12" fmla="*/ 2478505 h 4102925"/>
              <a:gd name="connsiteX13" fmla="*/ 84222 w 1311521"/>
              <a:gd name="connsiteY13" fmla="*/ 2610852 h 4102925"/>
              <a:gd name="connsiteX14" fmla="*/ 0 w 1311521"/>
              <a:gd name="connsiteY14" fmla="*/ 2622884 h 4102925"/>
              <a:gd name="connsiteX15" fmla="*/ 60158 w 1311521"/>
              <a:gd name="connsiteY15" fmla="*/ 2707105 h 4102925"/>
              <a:gd name="connsiteX16" fmla="*/ 24064 w 1311521"/>
              <a:gd name="connsiteY16" fmla="*/ 2731168 h 4102925"/>
              <a:gd name="connsiteX17" fmla="*/ 120316 w 1311521"/>
              <a:gd name="connsiteY17" fmla="*/ 2851484 h 4102925"/>
              <a:gd name="connsiteX0" fmla="*/ 1311521 w 1311521"/>
              <a:gd name="connsiteY0" fmla="*/ 4102925 h 4102925"/>
              <a:gd name="connsiteX1" fmla="*/ 485608 w 1311521"/>
              <a:gd name="connsiteY1" fmla="*/ 2745873 h 4102925"/>
              <a:gd name="connsiteX2" fmla="*/ 1053753 w 1311521"/>
              <a:gd name="connsiteY2" fmla="*/ 2035132 h 4102925"/>
              <a:gd name="connsiteX3" fmla="*/ 425955 w 1311521"/>
              <a:gd name="connsiteY3" fmla="*/ 2239849 h 4102925"/>
              <a:gd name="connsiteX4" fmla="*/ 397043 w 1311521"/>
              <a:gd name="connsiteY4" fmla="*/ 770021 h 4102925"/>
              <a:gd name="connsiteX5" fmla="*/ 950495 w 1311521"/>
              <a:gd name="connsiteY5" fmla="*/ 637673 h 4102925"/>
              <a:gd name="connsiteX6" fmla="*/ 360948 w 1311521"/>
              <a:gd name="connsiteY6" fmla="*/ 697831 h 4102925"/>
              <a:gd name="connsiteX7" fmla="*/ 469232 w 1311521"/>
              <a:gd name="connsiteY7" fmla="*/ 0 h 4102925"/>
              <a:gd name="connsiteX8" fmla="*/ 204537 w 1311521"/>
              <a:gd name="connsiteY8" fmla="*/ 902368 h 4102925"/>
              <a:gd name="connsiteX9" fmla="*/ 0 w 1311521"/>
              <a:gd name="connsiteY9" fmla="*/ 770021 h 4102925"/>
              <a:gd name="connsiteX10" fmla="*/ 216569 w 1311521"/>
              <a:gd name="connsiteY10" fmla="*/ 1034715 h 4102925"/>
              <a:gd name="connsiteX11" fmla="*/ 132348 w 1311521"/>
              <a:gd name="connsiteY11" fmla="*/ 2622884 h 4102925"/>
              <a:gd name="connsiteX12" fmla="*/ 24064 w 1311521"/>
              <a:gd name="connsiteY12" fmla="*/ 2478505 h 4102925"/>
              <a:gd name="connsiteX13" fmla="*/ 84222 w 1311521"/>
              <a:gd name="connsiteY13" fmla="*/ 2610852 h 4102925"/>
              <a:gd name="connsiteX14" fmla="*/ 0 w 1311521"/>
              <a:gd name="connsiteY14" fmla="*/ 2622884 h 4102925"/>
              <a:gd name="connsiteX15" fmla="*/ 60158 w 1311521"/>
              <a:gd name="connsiteY15" fmla="*/ 2707105 h 4102925"/>
              <a:gd name="connsiteX16" fmla="*/ 24064 w 1311521"/>
              <a:gd name="connsiteY16" fmla="*/ 2731168 h 4102925"/>
              <a:gd name="connsiteX17" fmla="*/ 120316 w 1311521"/>
              <a:gd name="connsiteY17" fmla="*/ 2851484 h 4102925"/>
              <a:gd name="connsiteX0" fmla="*/ 1311521 w 1311521"/>
              <a:gd name="connsiteY0" fmla="*/ 4102925 h 4102925"/>
              <a:gd name="connsiteX1" fmla="*/ 485608 w 1311521"/>
              <a:gd name="connsiteY1" fmla="*/ 2745873 h 4102925"/>
              <a:gd name="connsiteX2" fmla="*/ 1053753 w 1311521"/>
              <a:gd name="connsiteY2" fmla="*/ 2035132 h 4102925"/>
              <a:gd name="connsiteX3" fmla="*/ 425955 w 1311521"/>
              <a:gd name="connsiteY3" fmla="*/ 2239849 h 4102925"/>
              <a:gd name="connsiteX4" fmla="*/ 397043 w 1311521"/>
              <a:gd name="connsiteY4" fmla="*/ 770021 h 4102925"/>
              <a:gd name="connsiteX5" fmla="*/ 950495 w 1311521"/>
              <a:gd name="connsiteY5" fmla="*/ 637673 h 4102925"/>
              <a:gd name="connsiteX6" fmla="*/ 360948 w 1311521"/>
              <a:gd name="connsiteY6" fmla="*/ 697831 h 4102925"/>
              <a:gd name="connsiteX7" fmla="*/ 469232 w 1311521"/>
              <a:gd name="connsiteY7" fmla="*/ 0 h 4102925"/>
              <a:gd name="connsiteX8" fmla="*/ 204537 w 1311521"/>
              <a:gd name="connsiteY8" fmla="*/ 902368 h 4102925"/>
              <a:gd name="connsiteX9" fmla="*/ 0 w 1311521"/>
              <a:gd name="connsiteY9" fmla="*/ 770021 h 4102925"/>
              <a:gd name="connsiteX10" fmla="*/ 216569 w 1311521"/>
              <a:gd name="connsiteY10" fmla="*/ 1034715 h 4102925"/>
              <a:gd name="connsiteX11" fmla="*/ 132348 w 1311521"/>
              <a:gd name="connsiteY11" fmla="*/ 2622884 h 4102925"/>
              <a:gd name="connsiteX12" fmla="*/ 24064 w 1311521"/>
              <a:gd name="connsiteY12" fmla="*/ 2478505 h 4102925"/>
              <a:gd name="connsiteX13" fmla="*/ 84222 w 1311521"/>
              <a:gd name="connsiteY13" fmla="*/ 2610852 h 4102925"/>
              <a:gd name="connsiteX14" fmla="*/ 0 w 1311521"/>
              <a:gd name="connsiteY14" fmla="*/ 2622884 h 4102925"/>
              <a:gd name="connsiteX15" fmla="*/ 60158 w 1311521"/>
              <a:gd name="connsiteY15" fmla="*/ 2707105 h 4102925"/>
              <a:gd name="connsiteX16" fmla="*/ 24064 w 1311521"/>
              <a:gd name="connsiteY16" fmla="*/ 2731168 h 4102925"/>
              <a:gd name="connsiteX17" fmla="*/ 120316 w 1311521"/>
              <a:gd name="connsiteY17" fmla="*/ 2851484 h 4102925"/>
              <a:gd name="connsiteX0" fmla="*/ 1311521 w 1311521"/>
              <a:gd name="connsiteY0" fmla="*/ 4102925 h 4102925"/>
              <a:gd name="connsiteX1" fmla="*/ 485608 w 1311521"/>
              <a:gd name="connsiteY1" fmla="*/ 2745873 h 4102925"/>
              <a:gd name="connsiteX2" fmla="*/ 1053753 w 1311521"/>
              <a:gd name="connsiteY2" fmla="*/ 2035132 h 4102925"/>
              <a:gd name="connsiteX3" fmla="*/ 425955 w 1311521"/>
              <a:gd name="connsiteY3" fmla="*/ 2239849 h 4102925"/>
              <a:gd name="connsiteX4" fmla="*/ 397043 w 1311521"/>
              <a:gd name="connsiteY4" fmla="*/ 770021 h 4102925"/>
              <a:gd name="connsiteX5" fmla="*/ 950495 w 1311521"/>
              <a:gd name="connsiteY5" fmla="*/ 637673 h 4102925"/>
              <a:gd name="connsiteX6" fmla="*/ 360948 w 1311521"/>
              <a:gd name="connsiteY6" fmla="*/ 697831 h 4102925"/>
              <a:gd name="connsiteX7" fmla="*/ 469232 w 1311521"/>
              <a:gd name="connsiteY7" fmla="*/ 0 h 4102925"/>
              <a:gd name="connsiteX8" fmla="*/ 204537 w 1311521"/>
              <a:gd name="connsiteY8" fmla="*/ 902368 h 4102925"/>
              <a:gd name="connsiteX9" fmla="*/ 0 w 1311521"/>
              <a:gd name="connsiteY9" fmla="*/ 770021 h 4102925"/>
              <a:gd name="connsiteX10" fmla="*/ 216569 w 1311521"/>
              <a:gd name="connsiteY10" fmla="*/ 1034715 h 4102925"/>
              <a:gd name="connsiteX11" fmla="*/ 132348 w 1311521"/>
              <a:gd name="connsiteY11" fmla="*/ 2622884 h 4102925"/>
              <a:gd name="connsiteX12" fmla="*/ 24064 w 1311521"/>
              <a:gd name="connsiteY12" fmla="*/ 2478505 h 4102925"/>
              <a:gd name="connsiteX13" fmla="*/ 84222 w 1311521"/>
              <a:gd name="connsiteY13" fmla="*/ 2610852 h 4102925"/>
              <a:gd name="connsiteX14" fmla="*/ 0 w 1311521"/>
              <a:gd name="connsiteY14" fmla="*/ 2622884 h 4102925"/>
              <a:gd name="connsiteX15" fmla="*/ 60158 w 1311521"/>
              <a:gd name="connsiteY15" fmla="*/ 2707105 h 4102925"/>
              <a:gd name="connsiteX16" fmla="*/ 24064 w 1311521"/>
              <a:gd name="connsiteY16" fmla="*/ 2731168 h 4102925"/>
              <a:gd name="connsiteX17" fmla="*/ 120316 w 1311521"/>
              <a:gd name="connsiteY17" fmla="*/ 2851484 h 4102925"/>
              <a:gd name="connsiteX0" fmla="*/ 1311521 w 1311521"/>
              <a:gd name="connsiteY0" fmla="*/ 4102925 h 4102925"/>
              <a:gd name="connsiteX1" fmla="*/ 485608 w 1311521"/>
              <a:gd name="connsiteY1" fmla="*/ 2745873 h 4102925"/>
              <a:gd name="connsiteX2" fmla="*/ 944570 w 1311521"/>
              <a:gd name="connsiteY2" fmla="*/ 1748529 h 4102925"/>
              <a:gd name="connsiteX3" fmla="*/ 425955 w 1311521"/>
              <a:gd name="connsiteY3" fmla="*/ 2239849 h 4102925"/>
              <a:gd name="connsiteX4" fmla="*/ 397043 w 1311521"/>
              <a:gd name="connsiteY4" fmla="*/ 770021 h 4102925"/>
              <a:gd name="connsiteX5" fmla="*/ 950495 w 1311521"/>
              <a:gd name="connsiteY5" fmla="*/ 637673 h 4102925"/>
              <a:gd name="connsiteX6" fmla="*/ 360948 w 1311521"/>
              <a:gd name="connsiteY6" fmla="*/ 697831 h 4102925"/>
              <a:gd name="connsiteX7" fmla="*/ 469232 w 1311521"/>
              <a:gd name="connsiteY7" fmla="*/ 0 h 4102925"/>
              <a:gd name="connsiteX8" fmla="*/ 204537 w 1311521"/>
              <a:gd name="connsiteY8" fmla="*/ 902368 h 4102925"/>
              <a:gd name="connsiteX9" fmla="*/ 0 w 1311521"/>
              <a:gd name="connsiteY9" fmla="*/ 770021 h 4102925"/>
              <a:gd name="connsiteX10" fmla="*/ 216569 w 1311521"/>
              <a:gd name="connsiteY10" fmla="*/ 1034715 h 4102925"/>
              <a:gd name="connsiteX11" fmla="*/ 132348 w 1311521"/>
              <a:gd name="connsiteY11" fmla="*/ 2622884 h 4102925"/>
              <a:gd name="connsiteX12" fmla="*/ 24064 w 1311521"/>
              <a:gd name="connsiteY12" fmla="*/ 2478505 h 4102925"/>
              <a:gd name="connsiteX13" fmla="*/ 84222 w 1311521"/>
              <a:gd name="connsiteY13" fmla="*/ 2610852 h 4102925"/>
              <a:gd name="connsiteX14" fmla="*/ 0 w 1311521"/>
              <a:gd name="connsiteY14" fmla="*/ 2622884 h 4102925"/>
              <a:gd name="connsiteX15" fmla="*/ 60158 w 1311521"/>
              <a:gd name="connsiteY15" fmla="*/ 2707105 h 4102925"/>
              <a:gd name="connsiteX16" fmla="*/ 24064 w 1311521"/>
              <a:gd name="connsiteY16" fmla="*/ 2731168 h 4102925"/>
              <a:gd name="connsiteX17" fmla="*/ 120316 w 1311521"/>
              <a:gd name="connsiteY17" fmla="*/ 2851484 h 410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1521" h="4102925">
                <a:moveTo>
                  <a:pt x="1311521" y="4102925"/>
                </a:moveTo>
                <a:cubicBezTo>
                  <a:pt x="878384" y="3976594"/>
                  <a:pt x="546766" y="3138272"/>
                  <a:pt x="485608" y="2745873"/>
                </a:cubicBezTo>
                <a:cubicBezTo>
                  <a:pt x="424450" y="2353474"/>
                  <a:pt x="791583" y="2080977"/>
                  <a:pt x="944570" y="1748529"/>
                </a:cubicBezTo>
                <a:cubicBezTo>
                  <a:pt x="934628" y="1664192"/>
                  <a:pt x="433048" y="2518940"/>
                  <a:pt x="425955" y="2239849"/>
                </a:cubicBezTo>
                <a:cubicBezTo>
                  <a:pt x="418862" y="1960758"/>
                  <a:pt x="309620" y="1037050"/>
                  <a:pt x="397043" y="770021"/>
                </a:cubicBezTo>
                <a:lnTo>
                  <a:pt x="950495" y="637673"/>
                </a:lnTo>
                <a:lnTo>
                  <a:pt x="360948" y="697831"/>
                </a:lnTo>
                <a:lnTo>
                  <a:pt x="469232" y="0"/>
                </a:lnTo>
                <a:lnTo>
                  <a:pt x="204537" y="902368"/>
                </a:lnTo>
                <a:lnTo>
                  <a:pt x="0" y="770021"/>
                </a:lnTo>
                <a:lnTo>
                  <a:pt x="216569" y="1034715"/>
                </a:lnTo>
                <a:lnTo>
                  <a:pt x="132348" y="2622884"/>
                </a:lnTo>
                <a:lnTo>
                  <a:pt x="24064" y="2478505"/>
                </a:lnTo>
                <a:lnTo>
                  <a:pt x="84222" y="2610852"/>
                </a:lnTo>
                <a:lnTo>
                  <a:pt x="0" y="2622884"/>
                </a:lnTo>
                <a:lnTo>
                  <a:pt x="60158" y="2707105"/>
                </a:lnTo>
                <a:lnTo>
                  <a:pt x="24064" y="2731168"/>
                </a:lnTo>
                <a:lnTo>
                  <a:pt x="120316" y="2851484"/>
                </a:lnTo>
              </a:path>
            </a:pathLst>
          </a:custGeom>
          <a:noFill/>
          <a:ln w="25400" cap="flat" cmpd="sng" algn="ctr">
            <a:solidFill>
              <a:schemeClr val="accent5"/>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Freihandform: Form 78">
            <a:extLst>
              <a:ext uri="{FF2B5EF4-FFF2-40B4-BE49-F238E27FC236}">
                <a16:creationId xmlns:a16="http://schemas.microsoft.com/office/drawing/2014/main" id="{8482CF64-3363-4B7C-8264-1D5E33823C7C}"/>
              </a:ext>
            </a:extLst>
          </p:cNvPr>
          <p:cNvSpPr/>
          <p:nvPr>
            <p:custDataLst>
              <p:tags r:id="rId20"/>
            </p:custDataLst>
          </p:nvPr>
        </p:nvSpPr>
        <p:spPr bwMode="gray">
          <a:xfrm>
            <a:off x="541421" y="4728411"/>
            <a:ext cx="520700" cy="1200484"/>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700" h="1200484">
                <a:moveTo>
                  <a:pt x="520700" y="1200484"/>
                </a:moveTo>
                <a:cubicBezTo>
                  <a:pt x="401721" y="1176087"/>
                  <a:pt x="273273" y="1006865"/>
                  <a:pt x="252663" y="889000"/>
                </a:cubicBezTo>
                <a:cubicBezTo>
                  <a:pt x="232053" y="771135"/>
                  <a:pt x="403058" y="525378"/>
                  <a:pt x="397042" y="493294"/>
                </a:cubicBezTo>
                <a:lnTo>
                  <a:pt x="216568" y="661736"/>
                </a:lnTo>
                <a:lnTo>
                  <a:pt x="324853" y="0"/>
                </a:lnTo>
                <a:lnTo>
                  <a:pt x="96253" y="950494"/>
                </a:lnTo>
                <a:lnTo>
                  <a:pt x="0" y="806115"/>
                </a:lnTo>
                <a:lnTo>
                  <a:pt x="84221" y="1082842"/>
                </a:lnTo>
              </a:path>
            </a:pathLst>
          </a:custGeom>
          <a:solidFill>
            <a:schemeClr val="lt1"/>
          </a:solidFill>
          <a:ln w="25400" cap="flat"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4" name="Freihandform: Form 143">
            <a:extLst>
              <a:ext uri="{FF2B5EF4-FFF2-40B4-BE49-F238E27FC236}">
                <a16:creationId xmlns:a16="http://schemas.microsoft.com/office/drawing/2014/main" id="{E39F0262-77A9-411B-BD24-4F90C5B405FA}"/>
              </a:ext>
            </a:extLst>
          </p:cNvPr>
          <p:cNvSpPr/>
          <p:nvPr>
            <p:custDataLst>
              <p:tags r:id="rId21"/>
            </p:custDataLst>
          </p:nvPr>
        </p:nvSpPr>
        <p:spPr bwMode="gray">
          <a:xfrm>
            <a:off x="550436" y="5574330"/>
            <a:ext cx="2996265" cy="375814"/>
          </a:xfrm>
          <a:custGeom>
            <a:avLst/>
            <a:gdLst>
              <a:gd name="connsiteX0" fmla="*/ 1347136 w 2996265"/>
              <a:gd name="connsiteY0" fmla="*/ 21 h 375814"/>
              <a:gd name="connsiteX1" fmla="*/ 2993912 w 2996265"/>
              <a:gd name="connsiteY1" fmla="*/ 375508 h 375814"/>
              <a:gd name="connsiteX2" fmla="*/ 2996265 w 2996265"/>
              <a:gd name="connsiteY2" fmla="*/ 375814 h 375814"/>
              <a:gd name="connsiteX3" fmla="*/ 0 w 2996265"/>
              <a:gd name="connsiteY3" fmla="*/ 375814 h 375814"/>
              <a:gd name="connsiteX4" fmla="*/ 147076 w 2996265"/>
              <a:gd name="connsiteY4" fmla="*/ 329828 h 375814"/>
              <a:gd name="connsiteX5" fmla="*/ 1347136 w 2996265"/>
              <a:gd name="connsiteY5" fmla="*/ 21 h 375814"/>
              <a:gd name="connsiteX0" fmla="*/ 1347136 w 2996265"/>
              <a:gd name="connsiteY0" fmla="*/ 21 h 375814"/>
              <a:gd name="connsiteX1" fmla="*/ 2993912 w 2996265"/>
              <a:gd name="connsiteY1" fmla="*/ 375508 h 375814"/>
              <a:gd name="connsiteX2" fmla="*/ 2996265 w 2996265"/>
              <a:gd name="connsiteY2" fmla="*/ 375814 h 375814"/>
              <a:gd name="connsiteX3" fmla="*/ 1385087 w 2996265"/>
              <a:gd name="connsiteY3" fmla="*/ 370641 h 375814"/>
              <a:gd name="connsiteX4" fmla="*/ 0 w 2996265"/>
              <a:gd name="connsiteY4" fmla="*/ 375814 h 375814"/>
              <a:gd name="connsiteX5" fmla="*/ 147076 w 2996265"/>
              <a:gd name="connsiteY5" fmla="*/ 329828 h 375814"/>
              <a:gd name="connsiteX6" fmla="*/ 1347136 w 2996265"/>
              <a:gd name="connsiteY6" fmla="*/ 21 h 375814"/>
              <a:gd name="connsiteX0" fmla="*/ 1385087 w 2996265"/>
              <a:gd name="connsiteY0" fmla="*/ 370641 h 462081"/>
              <a:gd name="connsiteX1" fmla="*/ 0 w 2996265"/>
              <a:gd name="connsiteY1" fmla="*/ 375814 h 462081"/>
              <a:gd name="connsiteX2" fmla="*/ 147076 w 2996265"/>
              <a:gd name="connsiteY2" fmla="*/ 329828 h 462081"/>
              <a:gd name="connsiteX3" fmla="*/ 1347136 w 2996265"/>
              <a:gd name="connsiteY3" fmla="*/ 21 h 462081"/>
              <a:gd name="connsiteX4" fmla="*/ 2993912 w 2996265"/>
              <a:gd name="connsiteY4" fmla="*/ 375508 h 462081"/>
              <a:gd name="connsiteX5" fmla="*/ 2996265 w 2996265"/>
              <a:gd name="connsiteY5" fmla="*/ 375814 h 462081"/>
              <a:gd name="connsiteX6" fmla="*/ 1476527 w 2996265"/>
              <a:gd name="connsiteY6" fmla="*/ 462081 h 462081"/>
              <a:gd name="connsiteX0" fmla="*/ 1385087 w 2996265"/>
              <a:gd name="connsiteY0" fmla="*/ 370641 h 375814"/>
              <a:gd name="connsiteX1" fmla="*/ 0 w 2996265"/>
              <a:gd name="connsiteY1" fmla="*/ 375814 h 375814"/>
              <a:gd name="connsiteX2" fmla="*/ 147076 w 2996265"/>
              <a:gd name="connsiteY2" fmla="*/ 329828 h 375814"/>
              <a:gd name="connsiteX3" fmla="*/ 1347136 w 2996265"/>
              <a:gd name="connsiteY3" fmla="*/ 21 h 375814"/>
              <a:gd name="connsiteX4" fmla="*/ 2993912 w 2996265"/>
              <a:gd name="connsiteY4" fmla="*/ 375508 h 375814"/>
              <a:gd name="connsiteX5" fmla="*/ 2996265 w 2996265"/>
              <a:gd name="connsiteY5" fmla="*/ 375814 h 375814"/>
              <a:gd name="connsiteX0" fmla="*/ 0 w 2996265"/>
              <a:gd name="connsiteY0" fmla="*/ 375814 h 375814"/>
              <a:gd name="connsiteX1" fmla="*/ 147076 w 2996265"/>
              <a:gd name="connsiteY1" fmla="*/ 329828 h 375814"/>
              <a:gd name="connsiteX2" fmla="*/ 1347136 w 2996265"/>
              <a:gd name="connsiteY2" fmla="*/ 21 h 375814"/>
              <a:gd name="connsiteX3" fmla="*/ 2993912 w 2996265"/>
              <a:gd name="connsiteY3" fmla="*/ 375508 h 375814"/>
              <a:gd name="connsiteX4" fmla="*/ 2996265 w 2996265"/>
              <a:gd name="connsiteY4" fmla="*/ 375814 h 37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6265" h="375814">
                <a:moveTo>
                  <a:pt x="0" y="375814"/>
                </a:moveTo>
                <a:lnTo>
                  <a:pt x="147076" y="329828"/>
                </a:lnTo>
                <a:cubicBezTo>
                  <a:pt x="523483" y="198882"/>
                  <a:pt x="876368" y="-2344"/>
                  <a:pt x="1347136" y="21"/>
                </a:cubicBezTo>
                <a:cubicBezTo>
                  <a:pt x="1817904" y="2386"/>
                  <a:pt x="2465830" y="292316"/>
                  <a:pt x="2993912" y="375508"/>
                </a:cubicBezTo>
                <a:lnTo>
                  <a:pt x="2996265" y="375814"/>
                </a:lnTo>
              </a:path>
            </a:pathLst>
          </a:custGeom>
          <a:solidFill>
            <a:schemeClr val="lt1"/>
          </a:solidFill>
          <a:ln w="25400" cap="flat" cmpd="sng" algn="ctr">
            <a:solidFill>
              <a:schemeClr val="accent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49" name="Bogen 148">
            <a:extLst>
              <a:ext uri="{FF2B5EF4-FFF2-40B4-BE49-F238E27FC236}">
                <a16:creationId xmlns:a16="http://schemas.microsoft.com/office/drawing/2014/main" id="{04339D19-5B81-421B-A895-0CF0D1FBDFE5}"/>
              </a:ext>
            </a:extLst>
          </p:cNvPr>
          <p:cNvSpPr/>
          <p:nvPr>
            <p:custDataLst>
              <p:tags r:id="rId22"/>
            </p:custDataLst>
          </p:nvPr>
        </p:nvSpPr>
        <p:spPr bwMode="gray">
          <a:xfrm>
            <a:off x="10020978" y="2529529"/>
            <a:ext cx="555926" cy="555926"/>
          </a:xfrm>
          <a:prstGeom prst="arc">
            <a:avLst>
              <a:gd name="adj1" fmla="val 5232568"/>
              <a:gd name="adj2" fmla="val 16956225"/>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50" name="Bogen 149">
            <a:extLst>
              <a:ext uri="{FF2B5EF4-FFF2-40B4-BE49-F238E27FC236}">
                <a16:creationId xmlns:a16="http://schemas.microsoft.com/office/drawing/2014/main" id="{1CDDDA41-0A79-4569-BFA4-CCD3BBCFCE93}"/>
              </a:ext>
            </a:extLst>
          </p:cNvPr>
          <p:cNvSpPr/>
          <p:nvPr>
            <p:custDataLst>
              <p:tags r:id="rId23"/>
            </p:custDataLst>
          </p:nvPr>
        </p:nvSpPr>
        <p:spPr bwMode="gray">
          <a:xfrm>
            <a:off x="10282771" y="2612246"/>
            <a:ext cx="927433" cy="927433"/>
          </a:xfrm>
          <a:prstGeom prst="arc">
            <a:avLst>
              <a:gd name="adj1" fmla="val 4534904"/>
              <a:gd name="adj2" fmla="val 12112462"/>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51" name="Bogen 150">
            <a:extLst>
              <a:ext uri="{FF2B5EF4-FFF2-40B4-BE49-F238E27FC236}">
                <a16:creationId xmlns:a16="http://schemas.microsoft.com/office/drawing/2014/main" id="{BECE1160-B643-4ACB-A3C7-49E75704BE43}"/>
              </a:ext>
            </a:extLst>
          </p:cNvPr>
          <p:cNvSpPr/>
          <p:nvPr>
            <p:custDataLst>
              <p:tags r:id="rId24"/>
            </p:custDataLst>
          </p:nvPr>
        </p:nvSpPr>
        <p:spPr bwMode="gray">
          <a:xfrm>
            <a:off x="10083811" y="2051221"/>
            <a:ext cx="555926" cy="555926"/>
          </a:xfrm>
          <a:prstGeom prst="arc">
            <a:avLst>
              <a:gd name="adj1" fmla="val 5232568"/>
              <a:gd name="adj2" fmla="val 20402565"/>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52" name="Bogen 151">
            <a:extLst>
              <a:ext uri="{FF2B5EF4-FFF2-40B4-BE49-F238E27FC236}">
                <a16:creationId xmlns:a16="http://schemas.microsoft.com/office/drawing/2014/main" id="{9D6B9793-B935-4EAE-B953-10160512AF1A}"/>
              </a:ext>
            </a:extLst>
          </p:cNvPr>
          <p:cNvSpPr/>
          <p:nvPr>
            <p:custDataLst>
              <p:tags r:id="rId25"/>
            </p:custDataLst>
          </p:nvPr>
        </p:nvSpPr>
        <p:spPr bwMode="gray">
          <a:xfrm>
            <a:off x="10448789" y="1753532"/>
            <a:ext cx="1024742" cy="1024742"/>
          </a:xfrm>
          <a:prstGeom prst="arc">
            <a:avLst>
              <a:gd name="adj1" fmla="val 10499992"/>
              <a:gd name="adj2" fmla="val 400725"/>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53" name="Bogen 152">
            <a:extLst>
              <a:ext uri="{FF2B5EF4-FFF2-40B4-BE49-F238E27FC236}">
                <a16:creationId xmlns:a16="http://schemas.microsoft.com/office/drawing/2014/main" id="{7042126A-270E-4436-B9D3-C30F6DB5E214}"/>
              </a:ext>
            </a:extLst>
          </p:cNvPr>
          <p:cNvSpPr/>
          <p:nvPr>
            <p:custDataLst>
              <p:tags r:id="rId26"/>
            </p:custDataLst>
          </p:nvPr>
        </p:nvSpPr>
        <p:spPr bwMode="gray">
          <a:xfrm>
            <a:off x="11094507" y="2182850"/>
            <a:ext cx="555926" cy="555926"/>
          </a:xfrm>
          <a:prstGeom prst="arc">
            <a:avLst>
              <a:gd name="adj1" fmla="val 15525695"/>
              <a:gd name="adj2" fmla="val 21115159"/>
            </a:avLst>
          </a:pr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48" name="Freihandform: Form 147">
            <a:extLst>
              <a:ext uri="{FF2B5EF4-FFF2-40B4-BE49-F238E27FC236}">
                <a16:creationId xmlns:a16="http://schemas.microsoft.com/office/drawing/2014/main" id="{DE647EDD-B7C9-4D10-8719-355D33619AA8}"/>
              </a:ext>
            </a:extLst>
          </p:cNvPr>
          <p:cNvSpPr/>
          <p:nvPr>
            <p:custDataLst>
              <p:tags r:id="rId27"/>
            </p:custDataLst>
          </p:nvPr>
        </p:nvSpPr>
        <p:spPr bwMode="gray">
          <a:xfrm flipH="1">
            <a:off x="10405234" y="2223626"/>
            <a:ext cx="950495" cy="3549853"/>
          </a:xfrm>
          <a:custGeom>
            <a:avLst/>
            <a:gdLst>
              <a:gd name="connsiteX0" fmla="*/ 1323474 w 1323474"/>
              <a:gd name="connsiteY0" fmla="*/ 4126831 h 4126831"/>
              <a:gd name="connsiteX1" fmla="*/ 336885 w 1323474"/>
              <a:gd name="connsiteY1" fmla="*/ 2261936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1323474 w 1325374"/>
              <a:gd name="connsiteY0" fmla="*/ 4126831 h 4126831"/>
              <a:gd name="connsiteX1" fmla="*/ 336885 w 1325374"/>
              <a:gd name="connsiteY1" fmla="*/ 2261936 h 4126831"/>
              <a:gd name="connsiteX2" fmla="*/ 397043 w 1325374"/>
              <a:gd name="connsiteY2" fmla="*/ 770021 h 4126831"/>
              <a:gd name="connsiteX3" fmla="*/ 950495 w 1325374"/>
              <a:gd name="connsiteY3" fmla="*/ 637673 h 4126831"/>
              <a:gd name="connsiteX4" fmla="*/ 360948 w 1325374"/>
              <a:gd name="connsiteY4" fmla="*/ 697831 h 4126831"/>
              <a:gd name="connsiteX5" fmla="*/ 469232 w 1325374"/>
              <a:gd name="connsiteY5" fmla="*/ 0 h 4126831"/>
              <a:gd name="connsiteX6" fmla="*/ 204537 w 1325374"/>
              <a:gd name="connsiteY6" fmla="*/ 902368 h 4126831"/>
              <a:gd name="connsiteX7" fmla="*/ 0 w 1325374"/>
              <a:gd name="connsiteY7" fmla="*/ 770021 h 4126831"/>
              <a:gd name="connsiteX8" fmla="*/ 216569 w 1325374"/>
              <a:gd name="connsiteY8" fmla="*/ 1034715 h 4126831"/>
              <a:gd name="connsiteX9" fmla="*/ 132348 w 1325374"/>
              <a:gd name="connsiteY9" fmla="*/ 2622884 h 4126831"/>
              <a:gd name="connsiteX10" fmla="*/ 24064 w 1325374"/>
              <a:gd name="connsiteY10" fmla="*/ 2478505 h 4126831"/>
              <a:gd name="connsiteX11" fmla="*/ 84222 w 1325374"/>
              <a:gd name="connsiteY11" fmla="*/ 2610852 h 4126831"/>
              <a:gd name="connsiteX12" fmla="*/ 0 w 1325374"/>
              <a:gd name="connsiteY12" fmla="*/ 2622884 h 4126831"/>
              <a:gd name="connsiteX13" fmla="*/ 60158 w 1325374"/>
              <a:gd name="connsiteY13" fmla="*/ 2707105 h 4126831"/>
              <a:gd name="connsiteX14" fmla="*/ 24064 w 1325374"/>
              <a:gd name="connsiteY14" fmla="*/ 2731168 h 4126831"/>
              <a:gd name="connsiteX15" fmla="*/ 120316 w 1325374"/>
              <a:gd name="connsiteY15" fmla="*/ 2851484 h 4126831"/>
              <a:gd name="connsiteX16" fmla="*/ 48127 w 1325374"/>
              <a:gd name="connsiteY16" fmla="*/ 4102768 h 4126831"/>
              <a:gd name="connsiteX17" fmla="*/ 1323474 w 1325374"/>
              <a:gd name="connsiteY17" fmla="*/ 4126831 h 4126831"/>
              <a:gd name="connsiteX0" fmla="*/ 1323474 w 1323474"/>
              <a:gd name="connsiteY0" fmla="*/ 4126831 h 4126831"/>
              <a:gd name="connsiteX1" fmla="*/ 336885 w 1323474"/>
              <a:gd name="connsiteY1" fmla="*/ 2261936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16" fmla="*/ 48127 w 1323474"/>
              <a:gd name="connsiteY16" fmla="*/ 4102768 h 4126831"/>
              <a:gd name="connsiteX17" fmla="*/ 1323474 w 1323474"/>
              <a:gd name="connsiteY17" fmla="*/ 4126831 h 4126831"/>
              <a:gd name="connsiteX0" fmla="*/ 48127 w 1323474"/>
              <a:gd name="connsiteY0" fmla="*/ 4102768 h 4194208"/>
              <a:gd name="connsiteX1" fmla="*/ 1323474 w 1323474"/>
              <a:gd name="connsiteY1" fmla="*/ 4126831 h 4194208"/>
              <a:gd name="connsiteX2" fmla="*/ 517358 w 1323474"/>
              <a:gd name="connsiteY2" fmla="*/ 2695073 h 4194208"/>
              <a:gd name="connsiteX3" fmla="*/ 397043 w 1323474"/>
              <a:gd name="connsiteY3" fmla="*/ 770021 h 4194208"/>
              <a:gd name="connsiteX4" fmla="*/ 950495 w 1323474"/>
              <a:gd name="connsiteY4" fmla="*/ 637673 h 4194208"/>
              <a:gd name="connsiteX5" fmla="*/ 360948 w 1323474"/>
              <a:gd name="connsiteY5" fmla="*/ 697831 h 4194208"/>
              <a:gd name="connsiteX6" fmla="*/ 469232 w 1323474"/>
              <a:gd name="connsiteY6" fmla="*/ 0 h 4194208"/>
              <a:gd name="connsiteX7" fmla="*/ 204537 w 1323474"/>
              <a:gd name="connsiteY7" fmla="*/ 902368 h 4194208"/>
              <a:gd name="connsiteX8" fmla="*/ 0 w 1323474"/>
              <a:gd name="connsiteY8" fmla="*/ 770021 h 4194208"/>
              <a:gd name="connsiteX9" fmla="*/ 216569 w 1323474"/>
              <a:gd name="connsiteY9" fmla="*/ 1034715 h 4194208"/>
              <a:gd name="connsiteX10" fmla="*/ 132348 w 1323474"/>
              <a:gd name="connsiteY10" fmla="*/ 2622884 h 4194208"/>
              <a:gd name="connsiteX11" fmla="*/ 24064 w 1323474"/>
              <a:gd name="connsiteY11" fmla="*/ 2478505 h 4194208"/>
              <a:gd name="connsiteX12" fmla="*/ 84222 w 1323474"/>
              <a:gd name="connsiteY12" fmla="*/ 2610852 h 4194208"/>
              <a:gd name="connsiteX13" fmla="*/ 0 w 1323474"/>
              <a:gd name="connsiteY13" fmla="*/ 2622884 h 4194208"/>
              <a:gd name="connsiteX14" fmla="*/ 60158 w 1323474"/>
              <a:gd name="connsiteY14" fmla="*/ 2707105 h 4194208"/>
              <a:gd name="connsiteX15" fmla="*/ 24064 w 1323474"/>
              <a:gd name="connsiteY15" fmla="*/ 2731168 h 4194208"/>
              <a:gd name="connsiteX16" fmla="*/ 120316 w 1323474"/>
              <a:gd name="connsiteY16" fmla="*/ 2851484 h 4194208"/>
              <a:gd name="connsiteX17" fmla="*/ 139567 w 1323474"/>
              <a:gd name="connsiteY17" fmla="*/ 4194208 h 4194208"/>
              <a:gd name="connsiteX0" fmla="*/ 48127 w 1323474"/>
              <a:gd name="connsiteY0" fmla="*/ 4102768 h 4126831"/>
              <a:gd name="connsiteX1" fmla="*/ 1323474 w 1323474"/>
              <a:gd name="connsiteY1" fmla="*/ 4126831 h 4126831"/>
              <a:gd name="connsiteX2" fmla="*/ 517358 w 1323474"/>
              <a:gd name="connsiteY2" fmla="*/ 2695073 h 4126831"/>
              <a:gd name="connsiteX3" fmla="*/ 397043 w 1323474"/>
              <a:gd name="connsiteY3" fmla="*/ 770021 h 4126831"/>
              <a:gd name="connsiteX4" fmla="*/ 950495 w 1323474"/>
              <a:gd name="connsiteY4" fmla="*/ 637673 h 4126831"/>
              <a:gd name="connsiteX5" fmla="*/ 360948 w 1323474"/>
              <a:gd name="connsiteY5" fmla="*/ 697831 h 4126831"/>
              <a:gd name="connsiteX6" fmla="*/ 469232 w 1323474"/>
              <a:gd name="connsiteY6" fmla="*/ 0 h 4126831"/>
              <a:gd name="connsiteX7" fmla="*/ 204537 w 1323474"/>
              <a:gd name="connsiteY7" fmla="*/ 902368 h 4126831"/>
              <a:gd name="connsiteX8" fmla="*/ 0 w 1323474"/>
              <a:gd name="connsiteY8" fmla="*/ 770021 h 4126831"/>
              <a:gd name="connsiteX9" fmla="*/ 216569 w 1323474"/>
              <a:gd name="connsiteY9" fmla="*/ 1034715 h 4126831"/>
              <a:gd name="connsiteX10" fmla="*/ 132348 w 1323474"/>
              <a:gd name="connsiteY10" fmla="*/ 2622884 h 4126831"/>
              <a:gd name="connsiteX11" fmla="*/ 24064 w 1323474"/>
              <a:gd name="connsiteY11" fmla="*/ 2478505 h 4126831"/>
              <a:gd name="connsiteX12" fmla="*/ 84222 w 1323474"/>
              <a:gd name="connsiteY12" fmla="*/ 2610852 h 4126831"/>
              <a:gd name="connsiteX13" fmla="*/ 0 w 1323474"/>
              <a:gd name="connsiteY13" fmla="*/ 2622884 h 4126831"/>
              <a:gd name="connsiteX14" fmla="*/ 60158 w 1323474"/>
              <a:gd name="connsiteY14" fmla="*/ 2707105 h 4126831"/>
              <a:gd name="connsiteX15" fmla="*/ 24064 w 1323474"/>
              <a:gd name="connsiteY15" fmla="*/ 2731168 h 4126831"/>
              <a:gd name="connsiteX16" fmla="*/ 120316 w 1323474"/>
              <a:gd name="connsiteY16" fmla="*/ 2851484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517358 w 1323474"/>
              <a:gd name="connsiteY1" fmla="*/ 26950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485608 w 1323474"/>
              <a:gd name="connsiteY1" fmla="*/ 27458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23474 w 1323474"/>
              <a:gd name="connsiteY0" fmla="*/ 4126831 h 4126831"/>
              <a:gd name="connsiteX1" fmla="*/ 485608 w 1323474"/>
              <a:gd name="connsiteY1" fmla="*/ 2745873 h 4126831"/>
              <a:gd name="connsiteX2" fmla="*/ 397043 w 1323474"/>
              <a:gd name="connsiteY2" fmla="*/ 770021 h 4126831"/>
              <a:gd name="connsiteX3" fmla="*/ 950495 w 1323474"/>
              <a:gd name="connsiteY3" fmla="*/ 637673 h 4126831"/>
              <a:gd name="connsiteX4" fmla="*/ 360948 w 1323474"/>
              <a:gd name="connsiteY4" fmla="*/ 697831 h 4126831"/>
              <a:gd name="connsiteX5" fmla="*/ 469232 w 1323474"/>
              <a:gd name="connsiteY5" fmla="*/ 0 h 4126831"/>
              <a:gd name="connsiteX6" fmla="*/ 204537 w 1323474"/>
              <a:gd name="connsiteY6" fmla="*/ 902368 h 4126831"/>
              <a:gd name="connsiteX7" fmla="*/ 0 w 1323474"/>
              <a:gd name="connsiteY7" fmla="*/ 770021 h 4126831"/>
              <a:gd name="connsiteX8" fmla="*/ 216569 w 1323474"/>
              <a:gd name="connsiteY8" fmla="*/ 1034715 h 4126831"/>
              <a:gd name="connsiteX9" fmla="*/ 132348 w 1323474"/>
              <a:gd name="connsiteY9" fmla="*/ 2622884 h 4126831"/>
              <a:gd name="connsiteX10" fmla="*/ 24064 w 1323474"/>
              <a:gd name="connsiteY10" fmla="*/ 2478505 h 4126831"/>
              <a:gd name="connsiteX11" fmla="*/ 84222 w 1323474"/>
              <a:gd name="connsiteY11" fmla="*/ 2610852 h 4126831"/>
              <a:gd name="connsiteX12" fmla="*/ 0 w 1323474"/>
              <a:gd name="connsiteY12" fmla="*/ 2622884 h 4126831"/>
              <a:gd name="connsiteX13" fmla="*/ 60158 w 1323474"/>
              <a:gd name="connsiteY13" fmla="*/ 2707105 h 4126831"/>
              <a:gd name="connsiteX14" fmla="*/ 24064 w 1323474"/>
              <a:gd name="connsiteY14" fmla="*/ 2731168 h 4126831"/>
              <a:gd name="connsiteX15" fmla="*/ 120316 w 1323474"/>
              <a:gd name="connsiteY15" fmla="*/ 2851484 h 4126831"/>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12" fmla="*/ 0 w 1311521"/>
              <a:gd name="connsiteY12" fmla="*/ 2622884 h 4102925"/>
              <a:gd name="connsiteX13" fmla="*/ 60158 w 1311521"/>
              <a:gd name="connsiteY13" fmla="*/ 2707105 h 4102925"/>
              <a:gd name="connsiteX14" fmla="*/ 24064 w 1311521"/>
              <a:gd name="connsiteY14" fmla="*/ 2731168 h 4102925"/>
              <a:gd name="connsiteX15" fmla="*/ 120316 w 1311521"/>
              <a:gd name="connsiteY15" fmla="*/ 2851484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12" fmla="*/ 0 w 1311521"/>
              <a:gd name="connsiteY12" fmla="*/ 2622884 h 4102925"/>
              <a:gd name="connsiteX13" fmla="*/ 60158 w 1311521"/>
              <a:gd name="connsiteY13" fmla="*/ 2707105 h 4102925"/>
              <a:gd name="connsiteX14" fmla="*/ 24064 w 1311521"/>
              <a:gd name="connsiteY14" fmla="*/ 2731168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12" fmla="*/ 0 w 1311521"/>
              <a:gd name="connsiteY12" fmla="*/ 2622884 h 4102925"/>
              <a:gd name="connsiteX13" fmla="*/ 60158 w 1311521"/>
              <a:gd name="connsiteY13" fmla="*/ 2707105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12" fmla="*/ 0 w 1311521"/>
              <a:gd name="connsiteY12" fmla="*/ 2622884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11" fmla="*/ 84222 w 1311521"/>
              <a:gd name="connsiteY11" fmla="*/ 2610852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10" fmla="*/ 24064 w 1311521"/>
              <a:gd name="connsiteY10" fmla="*/ 2478505 h 4102925"/>
              <a:gd name="connsiteX0" fmla="*/ 1311521 w 1311521"/>
              <a:gd name="connsiteY0" fmla="*/ 4102925 h 4102925"/>
              <a:gd name="connsiteX1" fmla="*/ 485608 w 1311521"/>
              <a:gd name="connsiteY1" fmla="*/ 2745873 h 4102925"/>
              <a:gd name="connsiteX2" fmla="*/ 397043 w 1311521"/>
              <a:gd name="connsiteY2" fmla="*/ 770021 h 4102925"/>
              <a:gd name="connsiteX3" fmla="*/ 950495 w 1311521"/>
              <a:gd name="connsiteY3" fmla="*/ 637673 h 4102925"/>
              <a:gd name="connsiteX4" fmla="*/ 360948 w 1311521"/>
              <a:gd name="connsiteY4" fmla="*/ 697831 h 4102925"/>
              <a:gd name="connsiteX5" fmla="*/ 469232 w 1311521"/>
              <a:gd name="connsiteY5" fmla="*/ 0 h 4102925"/>
              <a:gd name="connsiteX6" fmla="*/ 204537 w 1311521"/>
              <a:gd name="connsiteY6" fmla="*/ 902368 h 4102925"/>
              <a:gd name="connsiteX7" fmla="*/ 0 w 1311521"/>
              <a:gd name="connsiteY7" fmla="*/ 770021 h 4102925"/>
              <a:gd name="connsiteX8" fmla="*/ 216569 w 1311521"/>
              <a:gd name="connsiteY8" fmla="*/ 1034715 h 4102925"/>
              <a:gd name="connsiteX9" fmla="*/ 132348 w 1311521"/>
              <a:gd name="connsiteY9" fmla="*/ 2622884 h 4102925"/>
              <a:gd name="connsiteX0" fmla="*/ 1311521 w 1311521"/>
              <a:gd name="connsiteY0" fmla="*/ 4102925 h 4102925"/>
              <a:gd name="connsiteX1" fmla="*/ 765701 w 1311521"/>
              <a:gd name="connsiteY1" fmla="*/ 3549853 h 4102925"/>
              <a:gd name="connsiteX2" fmla="*/ 485608 w 1311521"/>
              <a:gd name="connsiteY2" fmla="*/ 2745873 h 4102925"/>
              <a:gd name="connsiteX3" fmla="*/ 397043 w 1311521"/>
              <a:gd name="connsiteY3" fmla="*/ 770021 h 4102925"/>
              <a:gd name="connsiteX4" fmla="*/ 950495 w 1311521"/>
              <a:gd name="connsiteY4" fmla="*/ 637673 h 4102925"/>
              <a:gd name="connsiteX5" fmla="*/ 360948 w 1311521"/>
              <a:gd name="connsiteY5" fmla="*/ 697831 h 4102925"/>
              <a:gd name="connsiteX6" fmla="*/ 469232 w 1311521"/>
              <a:gd name="connsiteY6" fmla="*/ 0 h 4102925"/>
              <a:gd name="connsiteX7" fmla="*/ 204537 w 1311521"/>
              <a:gd name="connsiteY7" fmla="*/ 902368 h 4102925"/>
              <a:gd name="connsiteX8" fmla="*/ 0 w 1311521"/>
              <a:gd name="connsiteY8" fmla="*/ 770021 h 4102925"/>
              <a:gd name="connsiteX9" fmla="*/ 216569 w 1311521"/>
              <a:gd name="connsiteY9" fmla="*/ 1034715 h 4102925"/>
              <a:gd name="connsiteX10" fmla="*/ 132348 w 1311521"/>
              <a:gd name="connsiteY10" fmla="*/ 2622884 h 4102925"/>
              <a:gd name="connsiteX0" fmla="*/ 765701 w 950495"/>
              <a:gd name="connsiteY0" fmla="*/ 3549853 h 3549853"/>
              <a:gd name="connsiteX1" fmla="*/ 485608 w 950495"/>
              <a:gd name="connsiteY1" fmla="*/ 2745873 h 3549853"/>
              <a:gd name="connsiteX2" fmla="*/ 397043 w 950495"/>
              <a:gd name="connsiteY2" fmla="*/ 770021 h 3549853"/>
              <a:gd name="connsiteX3" fmla="*/ 950495 w 950495"/>
              <a:gd name="connsiteY3" fmla="*/ 637673 h 3549853"/>
              <a:gd name="connsiteX4" fmla="*/ 360948 w 950495"/>
              <a:gd name="connsiteY4" fmla="*/ 697831 h 3549853"/>
              <a:gd name="connsiteX5" fmla="*/ 469232 w 950495"/>
              <a:gd name="connsiteY5" fmla="*/ 0 h 3549853"/>
              <a:gd name="connsiteX6" fmla="*/ 204537 w 950495"/>
              <a:gd name="connsiteY6" fmla="*/ 902368 h 3549853"/>
              <a:gd name="connsiteX7" fmla="*/ 0 w 950495"/>
              <a:gd name="connsiteY7" fmla="*/ 770021 h 3549853"/>
              <a:gd name="connsiteX8" fmla="*/ 216569 w 950495"/>
              <a:gd name="connsiteY8" fmla="*/ 1034715 h 3549853"/>
              <a:gd name="connsiteX9" fmla="*/ 132348 w 950495"/>
              <a:gd name="connsiteY9" fmla="*/ 2622884 h 354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0495" h="3549853">
                <a:moveTo>
                  <a:pt x="765701" y="3549853"/>
                </a:moveTo>
                <a:cubicBezTo>
                  <a:pt x="628049" y="3323678"/>
                  <a:pt x="547051" y="3209178"/>
                  <a:pt x="485608" y="2745873"/>
                </a:cubicBezTo>
                <a:cubicBezTo>
                  <a:pt x="424165" y="2282568"/>
                  <a:pt x="294775" y="1040732"/>
                  <a:pt x="397043" y="770021"/>
                </a:cubicBezTo>
                <a:lnTo>
                  <a:pt x="950495" y="637673"/>
                </a:lnTo>
                <a:lnTo>
                  <a:pt x="360948" y="697831"/>
                </a:lnTo>
                <a:lnTo>
                  <a:pt x="469232" y="0"/>
                </a:lnTo>
                <a:lnTo>
                  <a:pt x="204537" y="902368"/>
                </a:lnTo>
                <a:lnTo>
                  <a:pt x="0" y="770021"/>
                </a:lnTo>
                <a:lnTo>
                  <a:pt x="216569" y="1034715"/>
                </a:lnTo>
                <a:lnTo>
                  <a:pt x="132348" y="2622884"/>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72" name="Gruppieren 171">
            <a:extLst>
              <a:ext uri="{FF2B5EF4-FFF2-40B4-BE49-F238E27FC236}">
                <a16:creationId xmlns:a16="http://schemas.microsoft.com/office/drawing/2014/main" id="{5BF78922-0F5F-4E11-98AD-DB04A83B81DE}"/>
              </a:ext>
            </a:extLst>
          </p:cNvPr>
          <p:cNvGrpSpPr/>
          <p:nvPr>
            <p:custDataLst>
              <p:tags r:id="rId28"/>
            </p:custDataLst>
          </p:nvPr>
        </p:nvGrpSpPr>
        <p:grpSpPr bwMode="gray">
          <a:xfrm>
            <a:off x="9258384" y="5326811"/>
            <a:ext cx="2193346" cy="614075"/>
            <a:chOff x="9258384" y="5326811"/>
            <a:chExt cx="2193346" cy="614075"/>
          </a:xfrm>
        </p:grpSpPr>
        <p:grpSp>
          <p:nvGrpSpPr>
            <p:cNvPr id="173" name="Gruppieren 172">
              <a:extLst>
                <a:ext uri="{FF2B5EF4-FFF2-40B4-BE49-F238E27FC236}">
                  <a16:creationId xmlns:a16="http://schemas.microsoft.com/office/drawing/2014/main" id="{B97EBD1C-DF41-4162-AAD4-28703D4949F4}"/>
                </a:ext>
              </a:extLst>
            </p:cNvPr>
            <p:cNvGrpSpPr/>
            <p:nvPr/>
          </p:nvGrpSpPr>
          <p:grpSpPr bwMode="gray">
            <a:xfrm>
              <a:off x="10575140" y="5326811"/>
              <a:ext cx="876590" cy="614075"/>
              <a:chOff x="10575140" y="5326811"/>
              <a:chExt cx="876590" cy="614075"/>
            </a:xfrm>
          </p:grpSpPr>
          <p:sp>
            <p:nvSpPr>
              <p:cNvPr id="184" name="Freihandform: Form 183">
                <a:extLst>
                  <a:ext uri="{FF2B5EF4-FFF2-40B4-BE49-F238E27FC236}">
                    <a16:creationId xmlns:a16="http://schemas.microsoft.com/office/drawing/2014/main" id="{472D8489-4100-486A-8FDA-E266F3FE7A43}"/>
                  </a:ext>
                </a:extLst>
              </p:cNvPr>
              <p:cNvSpPr/>
              <p:nvPr>
                <p:custDataLst>
                  <p:tags r:id="rId75"/>
                </p:custDataLst>
              </p:nvPr>
            </p:nvSpPr>
            <p:spPr bwMode="gray">
              <a:xfrm rot="19686558">
                <a:off x="10575140" y="5365986"/>
                <a:ext cx="254599" cy="403325"/>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5" name="Freihandform: Form 184">
                <a:extLst>
                  <a:ext uri="{FF2B5EF4-FFF2-40B4-BE49-F238E27FC236}">
                    <a16:creationId xmlns:a16="http://schemas.microsoft.com/office/drawing/2014/main" id="{DC14222C-131A-4B83-92F4-D90D9C87180E}"/>
                  </a:ext>
                </a:extLst>
              </p:cNvPr>
              <p:cNvSpPr/>
              <p:nvPr>
                <p:custDataLst>
                  <p:tags r:id="rId76"/>
                </p:custDataLst>
              </p:nvPr>
            </p:nvSpPr>
            <p:spPr bwMode="gray">
              <a:xfrm>
                <a:off x="10955605" y="5326811"/>
                <a:ext cx="254599" cy="544640"/>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6" name="Freihandform: Form 185">
                <a:extLst>
                  <a:ext uri="{FF2B5EF4-FFF2-40B4-BE49-F238E27FC236}">
                    <a16:creationId xmlns:a16="http://schemas.microsoft.com/office/drawing/2014/main" id="{C0401963-B3FF-41D7-96AC-47CF48A356B3}"/>
                  </a:ext>
                </a:extLst>
              </p:cNvPr>
              <p:cNvSpPr/>
              <p:nvPr>
                <p:custDataLst>
                  <p:tags r:id="rId77"/>
                </p:custDataLst>
              </p:nvPr>
            </p:nvSpPr>
            <p:spPr bwMode="gray">
              <a:xfrm flipH="1">
                <a:off x="10837803" y="5522352"/>
                <a:ext cx="190408" cy="407322"/>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7" name="Freihandform: Form 186">
                <a:extLst>
                  <a:ext uri="{FF2B5EF4-FFF2-40B4-BE49-F238E27FC236}">
                    <a16:creationId xmlns:a16="http://schemas.microsoft.com/office/drawing/2014/main" id="{F966B555-0FDD-4E2F-867A-B8566D62AA99}"/>
                  </a:ext>
                </a:extLst>
              </p:cNvPr>
              <p:cNvSpPr/>
              <p:nvPr>
                <p:custDataLst>
                  <p:tags r:id="rId78"/>
                </p:custDataLst>
              </p:nvPr>
            </p:nvSpPr>
            <p:spPr bwMode="gray">
              <a:xfrm rot="1913442" flipH="1">
                <a:off x="11226185" y="5583587"/>
                <a:ext cx="225545" cy="357299"/>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74" name="Gruppieren 173">
              <a:extLst>
                <a:ext uri="{FF2B5EF4-FFF2-40B4-BE49-F238E27FC236}">
                  <a16:creationId xmlns:a16="http://schemas.microsoft.com/office/drawing/2014/main" id="{DCE1D971-BEDD-4E91-8975-234B0E45931E}"/>
                </a:ext>
              </a:extLst>
            </p:cNvPr>
            <p:cNvGrpSpPr/>
            <p:nvPr>
              <p:custDataLst>
                <p:tags r:id="rId65"/>
              </p:custDataLst>
            </p:nvPr>
          </p:nvGrpSpPr>
          <p:grpSpPr bwMode="gray">
            <a:xfrm>
              <a:off x="9899266" y="5326811"/>
              <a:ext cx="876590" cy="614075"/>
              <a:chOff x="10575140" y="5326811"/>
              <a:chExt cx="876590" cy="614075"/>
            </a:xfrm>
          </p:grpSpPr>
          <p:sp>
            <p:nvSpPr>
              <p:cNvPr id="180" name="Freihandform: Form 179">
                <a:extLst>
                  <a:ext uri="{FF2B5EF4-FFF2-40B4-BE49-F238E27FC236}">
                    <a16:creationId xmlns:a16="http://schemas.microsoft.com/office/drawing/2014/main" id="{3BE7DF15-84AA-4EE0-A5C6-00A0677231D3}"/>
                  </a:ext>
                </a:extLst>
              </p:cNvPr>
              <p:cNvSpPr/>
              <p:nvPr>
                <p:custDataLst>
                  <p:tags r:id="rId71"/>
                </p:custDataLst>
              </p:nvPr>
            </p:nvSpPr>
            <p:spPr bwMode="gray">
              <a:xfrm rot="19686558">
                <a:off x="10575140" y="5365986"/>
                <a:ext cx="254599" cy="403325"/>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1" name="Freihandform: Form 180">
                <a:extLst>
                  <a:ext uri="{FF2B5EF4-FFF2-40B4-BE49-F238E27FC236}">
                    <a16:creationId xmlns:a16="http://schemas.microsoft.com/office/drawing/2014/main" id="{EDA5F2A9-412F-4AF2-A685-C6030F129305}"/>
                  </a:ext>
                </a:extLst>
              </p:cNvPr>
              <p:cNvSpPr/>
              <p:nvPr>
                <p:custDataLst>
                  <p:tags r:id="rId72"/>
                </p:custDataLst>
              </p:nvPr>
            </p:nvSpPr>
            <p:spPr bwMode="gray">
              <a:xfrm>
                <a:off x="10955605" y="5326811"/>
                <a:ext cx="254599" cy="544640"/>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2" name="Freihandform: Form 181">
                <a:extLst>
                  <a:ext uri="{FF2B5EF4-FFF2-40B4-BE49-F238E27FC236}">
                    <a16:creationId xmlns:a16="http://schemas.microsoft.com/office/drawing/2014/main" id="{49BE8715-9AF1-45F9-8814-1D6EBCB80AF3}"/>
                  </a:ext>
                </a:extLst>
              </p:cNvPr>
              <p:cNvSpPr/>
              <p:nvPr>
                <p:custDataLst>
                  <p:tags r:id="rId73"/>
                </p:custDataLst>
              </p:nvPr>
            </p:nvSpPr>
            <p:spPr bwMode="gray">
              <a:xfrm flipH="1">
                <a:off x="10837803" y="5522352"/>
                <a:ext cx="190408" cy="407322"/>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83" name="Freihandform: Form 182">
                <a:extLst>
                  <a:ext uri="{FF2B5EF4-FFF2-40B4-BE49-F238E27FC236}">
                    <a16:creationId xmlns:a16="http://schemas.microsoft.com/office/drawing/2014/main" id="{6C4678BB-5B1B-42ED-BA82-E9375FDB2E5E}"/>
                  </a:ext>
                </a:extLst>
              </p:cNvPr>
              <p:cNvSpPr/>
              <p:nvPr>
                <p:custDataLst>
                  <p:tags r:id="rId74"/>
                </p:custDataLst>
              </p:nvPr>
            </p:nvSpPr>
            <p:spPr bwMode="gray">
              <a:xfrm rot="1913442" flipH="1">
                <a:off x="11226185" y="5583587"/>
                <a:ext cx="225545" cy="357299"/>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175" name="Gruppieren 174">
              <a:extLst>
                <a:ext uri="{FF2B5EF4-FFF2-40B4-BE49-F238E27FC236}">
                  <a16:creationId xmlns:a16="http://schemas.microsoft.com/office/drawing/2014/main" id="{C32F9188-2EB5-4F4E-94DB-9EC624D25D44}"/>
                </a:ext>
              </a:extLst>
            </p:cNvPr>
            <p:cNvGrpSpPr/>
            <p:nvPr>
              <p:custDataLst>
                <p:tags r:id="rId66"/>
              </p:custDataLst>
            </p:nvPr>
          </p:nvGrpSpPr>
          <p:grpSpPr bwMode="gray">
            <a:xfrm>
              <a:off x="9258384" y="5326811"/>
              <a:ext cx="876590" cy="614075"/>
              <a:chOff x="10575140" y="5326811"/>
              <a:chExt cx="876590" cy="614075"/>
            </a:xfrm>
          </p:grpSpPr>
          <p:sp>
            <p:nvSpPr>
              <p:cNvPr id="176" name="Freihandform: Form 175">
                <a:extLst>
                  <a:ext uri="{FF2B5EF4-FFF2-40B4-BE49-F238E27FC236}">
                    <a16:creationId xmlns:a16="http://schemas.microsoft.com/office/drawing/2014/main" id="{CB4C1FC2-2871-4678-8A1B-46CCA6671B48}"/>
                  </a:ext>
                </a:extLst>
              </p:cNvPr>
              <p:cNvSpPr/>
              <p:nvPr>
                <p:custDataLst>
                  <p:tags r:id="rId67"/>
                </p:custDataLst>
              </p:nvPr>
            </p:nvSpPr>
            <p:spPr bwMode="gray">
              <a:xfrm rot="19686558">
                <a:off x="10575140" y="5402082"/>
                <a:ext cx="254599" cy="403325"/>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7" name="Freihandform: Form 176">
                <a:extLst>
                  <a:ext uri="{FF2B5EF4-FFF2-40B4-BE49-F238E27FC236}">
                    <a16:creationId xmlns:a16="http://schemas.microsoft.com/office/drawing/2014/main" id="{9AC6BAA1-B47F-435A-A473-54004F8FD6FA}"/>
                  </a:ext>
                </a:extLst>
              </p:cNvPr>
              <p:cNvSpPr/>
              <p:nvPr>
                <p:custDataLst>
                  <p:tags r:id="rId68"/>
                </p:custDataLst>
              </p:nvPr>
            </p:nvSpPr>
            <p:spPr bwMode="gray">
              <a:xfrm>
                <a:off x="10955605" y="5326811"/>
                <a:ext cx="254599" cy="544640"/>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8" name="Freihandform: Form 177">
                <a:extLst>
                  <a:ext uri="{FF2B5EF4-FFF2-40B4-BE49-F238E27FC236}">
                    <a16:creationId xmlns:a16="http://schemas.microsoft.com/office/drawing/2014/main" id="{A4D84CD4-44BA-4B63-99E2-C7A1AA53EEF0}"/>
                  </a:ext>
                </a:extLst>
              </p:cNvPr>
              <p:cNvSpPr/>
              <p:nvPr>
                <p:custDataLst>
                  <p:tags r:id="rId69"/>
                </p:custDataLst>
              </p:nvPr>
            </p:nvSpPr>
            <p:spPr bwMode="gray">
              <a:xfrm flipH="1">
                <a:off x="10837803" y="5522352"/>
                <a:ext cx="190408" cy="407322"/>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1182" h="1200484">
                    <a:moveTo>
                      <a:pt x="520700" y="1200484"/>
                    </a:moveTo>
                    <a:cubicBezTo>
                      <a:pt x="401721" y="1176087"/>
                      <a:pt x="245931" y="999053"/>
                      <a:pt x="252663" y="889000"/>
                    </a:cubicBez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79" name="Freihandform: Form 178">
                <a:extLst>
                  <a:ext uri="{FF2B5EF4-FFF2-40B4-BE49-F238E27FC236}">
                    <a16:creationId xmlns:a16="http://schemas.microsoft.com/office/drawing/2014/main" id="{C4D9AAF4-24FA-4C77-8C0F-6BC3D773CE08}"/>
                  </a:ext>
                </a:extLst>
              </p:cNvPr>
              <p:cNvSpPr/>
              <p:nvPr>
                <p:custDataLst>
                  <p:tags r:id="rId70"/>
                </p:custDataLst>
              </p:nvPr>
            </p:nvSpPr>
            <p:spPr bwMode="gray">
              <a:xfrm rot="1913442" flipH="1">
                <a:off x="11226185" y="5583587"/>
                <a:ext cx="225545" cy="357299"/>
              </a:xfrm>
              <a:custGeom>
                <a:avLst/>
                <a:gdLst>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54242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9144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457200 w 457200"/>
                  <a:gd name="connsiteY0" fmla="*/ 1251284 h 1251284"/>
                  <a:gd name="connsiteX1" fmla="*/ 252663 w 457200"/>
                  <a:gd name="connsiteY1" fmla="*/ 889000 h 1251284"/>
                  <a:gd name="connsiteX2" fmla="*/ 397042 w 457200"/>
                  <a:gd name="connsiteY2" fmla="*/ 493294 h 1251284"/>
                  <a:gd name="connsiteX3" fmla="*/ 216568 w 457200"/>
                  <a:gd name="connsiteY3" fmla="*/ 661736 h 1251284"/>
                  <a:gd name="connsiteX4" fmla="*/ 324853 w 457200"/>
                  <a:gd name="connsiteY4" fmla="*/ 0 h 1251284"/>
                  <a:gd name="connsiteX5" fmla="*/ 96253 w 457200"/>
                  <a:gd name="connsiteY5" fmla="*/ 950494 h 1251284"/>
                  <a:gd name="connsiteX6" fmla="*/ 0 w 457200"/>
                  <a:gd name="connsiteY6" fmla="*/ 806115 h 1251284"/>
                  <a:gd name="connsiteX7" fmla="*/ 84221 w 457200"/>
                  <a:gd name="connsiteY7" fmla="*/ 1082842 h 12512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20700"/>
                  <a:gd name="connsiteY0" fmla="*/ 1200484 h 1200484"/>
                  <a:gd name="connsiteX1" fmla="*/ 252663 w 520700"/>
                  <a:gd name="connsiteY1" fmla="*/ 889000 h 1200484"/>
                  <a:gd name="connsiteX2" fmla="*/ 397042 w 520700"/>
                  <a:gd name="connsiteY2" fmla="*/ 493294 h 1200484"/>
                  <a:gd name="connsiteX3" fmla="*/ 216568 w 520700"/>
                  <a:gd name="connsiteY3" fmla="*/ 661736 h 1200484"/>
                  <a:gd name="connsiteX4" fmla="*/ 324853 w 520700"/>
                  <a:gd name="connsiteY4" fmla="*/ 0 h 1200484"/>
                  <a:gd name="connsiteX5" fmla="*/ 96253 w 520700"/>
                  <a:gd name="connsiteY5" fmla="*/ 950494 h 1200484"/>
                  <a:gd name="connsiteX6" fmla="*/ 0 w 520700"/>
                  <a:gd name="connsiteY6" fmla="*/ 806115 h 1200484"/>
                  <a:gd name="connsiteX7" fmla="*/ 84221 w 520700"/>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3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7" fmla="*/ 84221 w 561182"/>
                  <a:gd name="connsiteY7" fmla="*/ 1082842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96253 w 561182"/>
                  <a:gd name="connsiteY5" fmla="*/ 950494 h 1200484"/>
                  <a:gd name="connsiteX6" fmla="*/ 0 w 561182"/>
                  <a:gd name="connsiteY6" fmla="*/ 806115 h 1200484"/>
                  <a:gd name="connsiteX0" fmla="*/ 520700 w 561182"/>
                  <a:gd name="connsiteY0" fmla="*/ 1200484 h 1200484"/>
                  <a:gd name="connsiteX1" fmla="*/ 252663 w 561182"/>
                  <a:gd name="connsiteY1" fmla="*/ 889000 h 1200484"/>
                  <a:gd name="connsiteX2" fmla="*/ 561094 w 561182"/>
                  <a:gd name="connsiteY2" fmla="*/ 540165 h 1200484"/>
                  <a:gd name="connsiteX3" fmla="*/ 216568 w 561182"/>
                  <a:gd name="connsiteY3" fmla="*/ 661736 h 1200484"/>
                  <a:gd name="connsiteX4" fmla="*/ 324852 w 561182"/>
                  <a:gd name="connsiteY4" fmla="*/ 0 h 1200484"/>
                  <a:gd name="connsiteX5" fmla="*/ 0 w 561182"/>
                  <a:gd name="connsiteY5" fmla="*/ 806115 h 1200484"/>
                  <a:gd name="connsiteX0" fmla="*/ 252663 w 561182"/>
                  <a:gd name="connsiteY0" fmla="*/ 889000 h 889000"/>
                  <a:gd name="connsiteX1" fmla="*/ 561094 w 561182"/>
                  <a:gd name="connsiteY1" fmla="*/ 540165 h 889000"/>
                  <a:gd name="connsiteX2" fmla="*/ 216568 w 561182"/>
                  <a:gd name="connsiteY2" fmla="*/ 661736 h 889000"/>
                  <a:gd name="connsiteX3" fmla="*/ 324852 w 561182"/>
                  <a:gd name="connsiteY3" fmla="*/ 0 h 889000"/>
                  <a:gd name="connsiteX4" fmla="*/ 0 w 561182"/>
                  <a:gd name="connsiteY4" fmla="*/ 806115 h 88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182" h="889000">
                    <a:moveTo>
                      <a:pt x="252663" y="889000"/>
                    </a:moveTo>
                    <a:cubicBezTo>
                      <a:pt x="259395" y="778947"/>
                      <a:pt x="567110" y="572249"/>
                      <a:pt x="561094" y="540165"/>
                    </a:cubicBezTo>
                    <a:lnTo>
                      <a:pt x="216568" y="661736"/>
                    </a:lnTo>
                    <a:lnTo>
                      <a:pt x="324852" y="0"/>
                    </a:lnTo>
                    <a:lnTo>
                      <a:pt x="0" y="806115"/>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sp>
        <p:nvSpPr>
          <p:cNvPr id="145" name="Freihandform: Form 144">
            <a:extLst>
              <a:ext uri="{FF2B5EF4-FFF2-40B4-BE49-F238E27FC236}">
                <a16:creationId xmlns:a16="http://schemas.microsoft.com/office/drawing/2014/main" id="{59E55498-96B3-4018-9617-A76AB8A4D529}"/>
              </a:ext>
            </a:extLst>
          </p:cNvPr>
          <p:cNvSpPr/>
          <p:nvPr>
            <p:custDataLst>
              <p:tags r:id="rId29"/>
            </p:custDataLst>
          </p:nvPr>
        </p:nvSpPr>
        <p:spPr bwMode="gray">
          <a:xfrm flipH="1">
            <a:off x="8643711" y="5574330"/>
            <a:ext cx="2996265" cy="375814"/>
          </a:xfrm>
          <a:custGeom>
            <a:avLst/>
            <a:gdLst>
              <a:gd name="connsiteX0" fmla="*/ 1347136 w 2996265"/>
              <a:gd name="connsiteY0" fmla="*/ 21 h 375814"/>
              <a:gd name="connsiteX1" fmla="*/ 2993912 w 2996265"/>
              <a:gd name="connsiteY1" fmla="*/ 375508 h 375814"/>
              <a:gd name="connsiteX2" fmla="*/ 2996265 w 2996265"/>
              <a:gd name="connsiteY2" fmla="*/ 375814 h 375814"/>
              <a:gd name="connsiteX3" fmla="*/ 0 w 2996265"/>
              <a:gd name="connsiteY3" fmla="*/ 375814 h 375814"/>
              <a:gd name="connsiteX4" fmla="*/ 147076 w 2996265"/>
              <a:gd name="connsiteY4" fmla="*/ 329828 h 375814"/>
              <a:gd name="connsiteX5" fmla="*/ 1347136 w 2996265"/>
              <a:gd name="connsiteY5" fmla="*/ 21 h 375814"/>
              <a:gd name="connsiteX0" fmla="*/ 1347136 w 2996265"/>
              <a:gd name="connsiteY0" fmla="*/ 21 h 375814"/>
              <a:gd name="connsiteX1" fmla="*/ 2993912 w 2996265"/>
              <a:gd name="connsiteY1" fmla="*/ 375508 h 375814"/>
              <a:gd name="connsiteX2" fmla="*/ 2996265 w 2996265"/>
              <a:gd name="connsiteY2" fmla="*/ 375814 h 375814"/>
              <a:gd name="connsiteX3" fmla="*/ 1385087 w 2996265"/>
              <a:gd name="connsiteY3" fmla="*/ 370641 h 375814"/>
              <a:gd name="connsiteX4" fmla="*/ 0 w 2996265"/>
              <a:gd name="connsiteY4" fmla="*/ 375814 h 375814"/>
              <a:gd name="connsiteX5" fmla="*/ 147076 w 2996265"/>
              <a:gd name="connsiteY5" fmla="*/ 329828 h 375814"/>
              <a:gd name="connsiteX6" fmla="*/ 1347136 w 2996265"/>
              <a:gd name="connsiteY6" fmla="*/ 21 h 375814"/>
              <a:gd name="connsiteX0" fmla="*/ 1385087 w 2996265"/>
              <a:gd name="connsiteY0" fmla="*/ 370641 h 462081"/>
              <a:gd name="connsiteX1" fmla="*/ 0 w 2996265"/>
              <a:gd name="connsiteY1" fmla="*/ 375814 h 462081"/>
              <a:gd name="connsiteX2" fmla="*/ 147076 w 2996265"/>
              <a:gd name="connsiteY2" fmla="*/ 329828 h 462081"/>
              <a:gd name="connsiteX3" fmla="*/ 1347136 w 2996265"/>
              <a:gd name="connsiteY3" fmla="*/ 21 h 462081"/>
              <a:gd name="connsiteX4" fmla="*/ 2993912 w 2996265"/>
              <a:gd name="connsiteY4" fmla="*/ 375508 h 462081"/>
              <a:gd name="connsiteX5" fmla="*/ 2996265 w 2996265"/>
              <a:gd name="connsiteY5" fmla="*/ 375814 h 462081"/>
              <a:gd name="connsiteX6" fmla="*/ 1476527 w 2996265"/>
              <a:gd name="connsiteY6" fmla="*/ 462081 h 462081"/>
              <a:gd name="connsiteX0" fmla="*/ 1385087 w 2996265"/>
              <a:gd name="connsiteY0" fmla="*/ 370641 h 375814"/>
              <a:gd name="connsiteX1" fmla="*/ 0 w 2996265"/>
              <a:gd name="connsiteY1" fmla="*/ 375814 h 375814"/>
              <a:gd name="connsiteX2" fmla="*/ 147076 w 2996265"/>
              <a:gd name="connsiteY2" fmla="*/ 329828 h 375814"/>
              <a:gd name="connsiteX3" fmla="*/ 1347136 w 2996265"/>
              <a:gd name="connsiteY3" fmla="*/ 21 h 375814"/>
              <a:gd name="connsiteX4" fmla="*/ 2993912 w 2996265"/>
              <a:gd name="connsiteY4" fmla="*/ 375508 h 375814"/>
              <a:gd name="connsiteX5" fmla="*/ 2996265 w 2996265"/>
              <a:gd name="connsiteY5" fmla="*/ 375814 h 375814"/>
              <a:gd name="connsiteX0" fmla="*/ 0 w 2996265"/>
              <a:gd name="connsiteY0" fmla="*/ 375814 h 375814"/>
              <a:gd name="connsiteX1" fmla="*/ 147076 w 2996265"/>
              <a:gd name="connsiteY1" fmla="*/ 329828 h 375814"/>
              <a:gd name="connsiteX2" fmla="*/ 1347136 w 2996265"/>
              <a:gd name="connsiteY2" fmla="*/ 21 h 375814"/>
              <a:gd name="connsiteX3" fmla="*/ 2993912 w 2996265"/>
              <a:gd name="connsiteY3" fmla="*/ 375508 h 375814"/>
              <a:gd name="connsiteX4" fmla="*/ 2996265 w 2996265"/>
              <a:gd name="connsiteY4" fmla="*/ 375814 h 375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6265" h="375814">
                <a:moveTo>
                  <a:pt x="0" y="375814"/>
                </a:moveTo>
                <a:lnTo>
                  <a:pt x="147076" y="329828"/>
                </a:lnTo>
                <a:cubicBezTo>
                  <a:pt x="523483" y="198882"/>
                  <a:pt x="876368" y="-2344"/>
                  <a:pt x="1347136" y="21"/>
                </a:cubicBezTo>
                <a:cubicBezTo>
                  <a:pt x="1817904" y="2386"/>
                  <a:pt x="2465830" y="292316"/>
                  <a:pt x="2993912" y="375508"/>
                </a:cubicBezTo>
                <a:lnTo>
                  <a:pt x="2996265" y="375814"/>
                </a:lnTo>
              </a:path>
            </a:pathLst>
          </a:custGeom>
          <a:solidFill>
            <a:schemeClr val="lt1"/>
          </a:solidFill>
          <a:ln w="25400" cap="flat" cmpd="sng" algn="ctr">
            <a:solidFill>
              <a:srgbClr val="50B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cxnSp>
        <p:nvCxnSpPr>
          <p:cNvPr id="9" name="Gerader Verbinder 8">
            <a:extLst>
              <a:ext uri="{FF2B5EF4-FFF2-40B4-BE49-F238E27FC236}">
                <a16:creationId xmlns:a16="http://schemas.microsoft.com/office/drawing/2014/main" id="{AFB2F2AD-BFA1-46A8-B12C-3794BEFB693A}"/>
              </a:ext>
            </a:extLst>
          </p:cNvPr>
          <p:cNvCxnSpPr>
            <a:cxnSpLocks/>
          </p:cNvCxnSpPr>
          <p:nvPr>
            <p:custDataLst>
              <p:tags r:id="rId30"/>
            </p:custDataLst>
          </p:nvPr>
        </p:nvCxnSpPr>
        <p:spPr bwMode="gray">
          <a:xfrm>
            <a:off x="1084521" y="2520929"/>
            <a:ext cx="9926022" cy="0"/>
          </a:xfrm>
          <a:prstGeom prst="line">
            <a:avLst/>
          </a:prstGeom>
          <a:noFill/>
          <a:ln w="25400" cap="rnd" cmpd="sng" algn="ctr">
            <a:solidFill>
              <a:schemeClr val="dk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cxnSp>
      <p:cxnSp>
        <p:nvCxnSpPr>
          <p:cNvPr id="11" name="Gerader Verbinder 10">
            <a:extLst>
              <a:ext uri="{FF2B5EF4-FFF2-40B4-BE49-F238E27FC236}">
                <a16:creationId xmlns:a16="http://schemas.microsoft.com/office/drawing/2014/main" id="{5D635F3B-4E73-4993-B975-8B0F550C6CC1}"/>
              </a:ext>
            </a:extLst>
          </p:cNvPr>
          <p:cNvCxnSpPr>
            <a:cxnSpLocks/>
          </p:cNvCxnSpPr>
          <p:nvPr>
            <p:custDataLst>
              <p:tags r:id="rId31"/>
            </p:custDataLst>
          </p:nvPr>
        </p:nvCxnSpPr>
        <p:spPr bwMode="gray">
          <a:xfrm flipV="1">
            <a:off x="10955605" y="2705723"/>
            <a:ext cx="58138" cy="35187"/>
          </a:xfrm>
          <a:prstGeom prst="line">
            <a:avLst/>
          </a:prstGeom>
          <a:noFill/>
          <a:ln w="25400" cap="rnd" cmpd="sng" algn="ctr">
            <a:solidFill>
              <a:schemeClr val="dk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cxnSp>
      <p:sp>
        <p:nvSpPr>
          <p:cNvPr id="23" name="Freihandform: Form 22">
            <a:extLst>
              <a:ext uri="{FF2B5EF4-FFF2-40B4-BE49-F238E27FC236}">
                <a16:creationId xmlns:a16="http://schemas.microsoft.com/office/drawing/2014/main" id="{50E2C032-DB4B-455C-8FC3-08E5F0FB8FCA}"/>
              </a:ext>
            </a:extLst>
          </p:cNvPr>
          <p:cNvSpPr/>
          <p:nvPr>
            <p:custDataLst>
              <p:tags r:id="rId32"/>
            </p:custDataLst>
          </p:nvPr>
        </p:nvSpPr>
        <p:spPr bwMode="gray">
          <a:xfrm>
            <a:off x="905009" y="2495937"/>
            <a:ext cx="998428" cy="3460008"/>
          </a:xfrm>
          <a:custGeom>
            <a:avLst/>
            <a:gdLst>
              <a:gd name="connsiteX0" fmla="*/ 85060 w 329609"/>
              <a:gd name="connsiteY0" fmla="*/ 0 h 3211033"/>
              <a:gd name="connsiteX1" fmla="*/ 159488 w 329609"/>
              <a:gd name="connsiteY1" fmla="*/ 127591 h 3211033"/>
              <a:gd name="connsiteX2" fmla="*/ 0 w 329609"/>
              <a:gd name="connsiteY2" fmla="*/ 63795 h 3211033"/>
              <a:gd name="connsiteX3" fmla="*/ 329609 w 329609"/>
              <a:gd name="connsiteY3" fmla="*/ 3211033 h 3211033"/>
              <a:gd name="connsiteX0" fmla="*/ 132685 w 329609"/>
              <a:gd name="connsiteY0" fmla="*/ 0 h 3187220"/>
              <a:gd name="connsiteX1" fmla="*/ 159488 w 329609"/>
              <a:gd name="connsiteY1" fmla="*/ 103778 h 3187220"/>
              <a:gd name="connsiteX2" fmla="*/ 0 w 329609"/>
              <a:gd name="connsiteY2" fmla="*/ 39982 h 3187220"/>
              <a:gd name="connsiteX3" fmla="*/ 329609 w 329609"/>
              <a:gd name="connsiteY3" fmla="*/ 3187220 h 3187220"/>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27922 w 324846"/>
              <a:gd name="connsiteY0" fmla="*/ 5262 h 3192482"/>
              <a:gd name="connsiteX1" fmla="*/ 154725 w 324846"/>
              <a:gd name="connsiteY1" fmla="*/ 109040 h 3192482"/>
              <a:gd name="connsiteX2" fmla="*/ 0 w 324846"/>
              <a:gd name="connsiteY2" fmla="*/ 0 h 3192482"/>
              <a:gd name="connsiteX3" fmla="*/ 324846 w 324846"/>
              <a:gd name="connsiteY3" fmla="*/ 3192482 h 3192482"/>
              <a:gd name="connsiteX0" fmla="*/ 145675 w 342599"/>
              <a:gd name="connsiteY0" fmla="*/ 5262 h 3192482"/>
              <a:gd name="connsiteX1" fmla="*/ 172478 w 342599"/>
              <a:gd name="connsiteY1" fmla="*/ 109040 h 3192482"/>
              <a:gd name="connsiteX2" fmla="*/ 17753 w 342599"/>
              <a:gd name="connsiteY2" fmla="*/ 0 h 3192482"/>
              <a:gd name="connsiteX3" fmla="*/ 342599 w 342599"/>
              <a:gd name="connsiteY3" fmla="*/ 3192482 h 3192482"/>
              <a:gd name="connsiteX0" fmla="*/ 196260 w 393184"/>
              <a:gd name="connsiteY0" fmla="*/ 5262 h 3335198"/>
              <a:gd name="connsiteX1" fmla="*/ 223063 w 393184"/>
              <a:gd name="connsiteY1" fmla="*/ 109040 h 3335198"/>
              <a:gd name="connsiteX2" fmla="*/ 68338 w 393184"/>
              <a:gd name="connsiteY2" fmla="*/ 0 h 3335198"/>
              <a:gd name="connsiteX3" fmla="*/ 393184 w 393184"/>
              <a:gd name="connsiteY3" fmla="*/ 3192482 h 3335198"/>
              <a:gd name="connsiteX0" fmla="*/ 241006 w 437930"/>
              <a:gd name="connsiteY0" fmla="*/ 5262 h 3364476"/>
              <a:gd name="connsiteX1" fmla="*/ 267809 w 437930"/>
              <a:gd name="connsiteY1" fmla="*/ 109040 h 3364476"/>
              <a:gd name="connsiteX2" fmla="*/ 113084 w 437930"/>
              <a:gd name="connsiteY2" fmla="*/ 0 h 3364476"/>
              <a:gd name="connsiteX3" fmla="*/ 437930 w 437930"/>
              <a:gd name="connsiteY3" fmla="*/ 3192482 h 3364476"/>
              <a:gd name="connsiteX0" fmla="*/ 168432 w 891285"/>
              <a:gd name="connsiteY0" fmla="*/ 5262 h 3291479"/>
              <a:gd name="connsiteX1" fmla="*/ 195235 w 891285"/>
              <a:gd name="connsiteY1" fmla="*/ 109040 h 3291479"/>
              <a:gd name="connsiteX2" fmla="*/ 40510 w 891285"/>
              <a:gd name="connsiteY2" fmla="*/ 0 h 3291479"/>
              <a:gd name="connsiteX3" fmla="*/ 891285 w 891285"/>
              <a:gd name="connsiteY3" fmla="*/ 3114788 h 3291479"/>
              <a:gd name="connsiteX0" fmla="*/ 163553 w 988006"/>
              <a:gd name="connsiteY0" fmla="*/ 5262 h 3375727"/>
              <a:gd name="connsiteX1" fmla="*/ 190356 w 988006"/>
              <a:gd name="connsiteY1" fmla="*/ 109040 h 3375727"/>
              <a:gd name="connsiteX2" fmla="*/ 35631 w 988006"/>
              <a:gd name="connsiteY2" fmla="*/ 0 h 3375727"/>
              <a:gd name="connsiteX3" fmla="*/ 988006 w 988006"/>
              <a:gd name="connsiteY3" fmla="*/ 3204435 h 3375727"/>
              <a:gd name="connsiteX0" fmla="*/ 189982 w 1014435"/>
              <a:gd name="connsiteY0" fmla="*/ 5262 h 3329466"/>
              <a:gd name="connsiteX1" fmla="*/ 216785 w 1014435"/>
              <a:gd name="connsiteY1" fmla="*/ 109040 h 3329466"/>
              <a:gd name="connsiteX2" fmla="*/ 62060 w 1014435"/>
              <a:gd name="connsiteY2" fmla="*/ 0 h 3329466"/>
              <a:gd name="connsiteX3" fmla="*/ 1014435 w 1014435"/>
              <a:gd name="connsiteY3" fmla="*/ 3204435 h 3329466"/>
              <a:gd name="connsiteX0" fmla="*/ 198018 w 1022471"/>
              <a:gd name="connsiteY0" fmla="*/ 5262 h 3385376"/>
              <a:gd name="connsiteX1" fmla="*/ 224821 w 1022471"/>
              <a:gd name="connsiteY1" fmla="*/ 109040 h 3385376"/>
              <a:gd name="connsiteX2" fmla="*/ 70096 w 1022471"/>
              <a:gd name="connsiteY2" fmla="*/ 0 h 3385376"/>
              <a:gd name="connsiteX3" fmla="*/ 1022471 w 1022471"/>
              <a:gd name="connsiteY3" fmla="*/ 3204435 h 3385376"/>
              <a:gd name="connsiteX0" fmla="*/ 173975 w 998428"/>
              <a:gd name="connsiteY0" fmla="*/ 5262 h 3460008"/>
              <a:gd name="connsiteX1" fmla="*/ 200778 w 998428"/>
              <a:gd name="connsiteY1" fmla="*/ 109040 h 3460008"/>
              <a:gd name="connsiteX2" fmla="*/ 46053 w 998428"/>
              <a:gd name="connsiteY2" fmla="*/ 0 h 3460008"/>
              <a:gd name="connsiteX3" fmla="*/ 998428 w 998428"/>
              <a:gd name="connsiteY3" fmla="*/ 3204435 h 3460008"/>
            </a:gdLst>
            <a:ahLst/>
            <a:cxnLst>
              <a:cxn ang="0">
                <a:pos x="connsiteX0" y="connsiteY0"/>
              </a:cxn>
              <a:cxn ang="0">
                <a:pos x="connsiteX1" y="connsiteY1"/>
              </a:cxn>
              <a:cxn ang="0">
                <a:pos x="connsiteX2" y="connsiteY2"/>
              </a:cxn>
              <a:cxn ang="0">
                <a:pos x="connsiteX3" y="connsiteY3"/>
              </a:cxn>
            </a:cxnLst>
            <a:rect l="l" t="t" r="r" b="b"/>
            <a:pathLst>
              <a:path w="998428" h="3460008">
                <a:moveTo>
                  <a:pt x="173975" y="5262"/>
                </a:moveTo>
                <a:cubicBezTo>
                  <a:pt x="142428" y="18423"/>
                  <a:pt x="210894" y="74447"/>
                  <a:pt x="200778" y="109040"/>
                </a:cubicBezTo>
                <a:cubicBezTo>
                  <a:pt x="153966" y="101268"/>
                  <a:pt x="85722" y="41109"/>
                  <a:pt x="46053" y="0"/>
                </a:cubicBezTo>
                <a:cubicBezTo>
                  <a:pt x="-90700" y="2809290"/>
                  <a:pt x="35510" y="4034815"/>
                  <a:pt x="998428" y="3204435"/>
                </a:cubicBezTo>
              </a:path>
            </a:pathLst>
          </a:custGeom>
          <a:noFill/>
          <a:ln w="25400" cap="rnd" cmpd="sng" algn="ctr">
            <a:solidFill>
              <a:schemeClr val="dk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8" name="Gruppieren 107">
            <a:extLst>
              <a:ext uri="{FF2B5EF4-FFF2-40B4-BE49-F238E27FC236}">
                <a16:creationId xmlns:a16="http://schemas.microsoft.com/office/drawing/2014/main" id="{4DEA6F97-86A4-4AA0-8D42-CB8419597C89}"/>
              </a:ext>
            </a:extLst>
          </p:cNvPr>
          <p:cNvGrpSpPr/>
          <p:nvPr>
            <p:custDataLst>
              <p:tags r:id="rId33"/>
            </p:custDataLst>
          </p:nvPr>
        </p:nvGrpSpPr>
        <p:grpSpPr bwMode="gray">
          <a:xfrm>
            <a:off x="1633646" y="5292823"/>
            <a:ext cx="549321" cy="549321"/>
            <a:chOff x="1633948" y="3511644"/>
            <a:chExt cx="823482" cy="823482"/>
          </a:xfrm>
        </p:grpSpPr>
        <p:sp>
          <p:nvSpPr>
            <p:cNvPr id="109" name="Ellipse 108">
              <a:extLst>
                <a:ext uri="{FF2B5EF4-FFF2-40B4-BE49-F238E27FC236}">
                  <a16:creationId xmlns:a16="http://schemas.microsoft.com/office/drawing/2014/main" id="{59893A64-9B10-453A-81F0-38C48A3DB727}"/>
                </a:ext>
              </a:extLst>
            </p:cNvPr>
            <p:cNvSpPr/>
            <p:nvPr>
              <p:custDataLst>
                <p:tags r:id="rId63"/>
              </p:custDataLst>
            </p:nvPr>
          </p:nvSpPr>
          <p:spPr bwMode="gray">
            <a:xfrm>
              <a:off x="1636075" y="3513771"/>
              <a:ext cx="819228" cy="819228"/>
            </a:xfrm>
            <a:prstGeom prst="ellipse">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Freihandform: Form 109">
              <a:extLst>
                <a:ext uri="{FF2B5EF4-FFF2-40B4-BE49-F238E27FC236}">
                  <a16:creationId xmlns:a16="http://schemas.microsoft.com/office/drawing/2014/main" id="{D308B56D-54E0-47D1-9F9A-5DE6661C2346}"/>
                </a:ext>
              </a:extLst>
            </p:cNvPr>
            <p:cNvSpPr/>
            <p:nvPr>
              <p:custDataLst>
                <p:tags r:id="rId64"/>
              </p:custDataLst>
            </p:nvPr>
          </p:nvSpPr>
          <p:spPr bwMode="gray">
            <a:xfrm>
              <a:off x="1633948" y="3511644"/>
              <a:ext cx="823482" cy="823482"/>
            </a:xfrm>
            <a:custGeom>
              <a:avLst/>
              <a:gdLst>
                <a:gd name="connsiteX0" fmla="*/ 1733029 w 2016280"/>
                <a:gd name="connsiteY0" fmla="*/ 1447258 h 2016280"/>
                <a:gd name="connsiteX1" fmla="*/ 1642738 w 2016280"/>
                <a:gd name="connsiteY1" fmla="*/ 1515403 h 2016280"/>
                <a:gd name="connsiteX2" fmla="*/ 591486 w 2016280"/>
                <a:gd name="connsiteY2" fmla="*/ 1705908 h 2016280"/>
                <a:gd name="connsiteX3" fmla="*/ 532489 w 2016280"/>
                <a:gd name="connsiteY3" fmla="*/ 1689662 h 2016280"/>
                <a:gd name="connsiteX4" fmla="*/ 502041 w 2016280"/>
                <a:gd name="connsiteY4" fmla="*/ 1771747 h 2016280"/>
                <a:gd name="connsiteX5" fmla="*/ 571368 w 2016280"/>
                <a:gd name="connsiteY5" fmla="*/ 1813865 h 2016280"/>
                <a:gd name="connsiteX6" fmla="*/ 1008140 w 2016280"/>
                <a:gd name="connsiteY6" fmla="*/ 1924459 h 2016280"/>
                <a:gd name="connsiteX7" fmla="*/ 1058787 w 2016280"/>
                <a:gd name="connsiteY7" fmla="*/ 1921902 h 2016280"/>
                <a:gd name="connsiteX8" fmla="*/ 1177104 w 2016280"/>
                <a:gd name="connsiteY8" fmla="*/ 1906228 h 2016280"/>
                <a:gd name="connsiteX9" fmla="*/ 1291148 w 2016280"/>
                <a:gd name="connsiteY9" fmla="*/ 1879412 h 2016280"/>
                <a:gd name="connsiteX10" fmla="*/ 1364813 w 2016280"/>
                <a:gd name="connsiteY10" fmla="*/ 1852450 h 2016280"/>
                <a:gd name="connsiteX11" fmla="*/ 1715216 w 2016280"/>
                <a:gd name="connsiteY11" fmla="*/ 1591004 h 2016280"/>
                <a:gd name="connsiteX12" fmla="*/ 1759826 w 2016280"/>
                <a:gd name="connsiteY12" fmla="*/ 1529830 h 2016280"/>
                <a:gd name="connsiteX13" fmla="*/ 1628694 w 2016280"/>
                <a:gd name="connsiteY13" fmla="*/ 1211130 h 2016280"/>
                <a:gd name="connsiteX14" fmla="*/ 1520354 w 2016280"/>
                <a:gd name="connsiteY14" fmla="*/ 1275082 h 2016280"/>
                <a:gd name="connsiteX15" fmla="*/ 780821 w 2016280"/>
                <a:gd name="connsiteY15" fmla="*/ 1432039 h 2016280"/>
                <a:gd name="connsiteX16" fmla="*/ 685213 w 2016280"/>
                <a:gd name="connsiteY16" fmla="*/ 1421690 h 2016280"/>
                <a:gd name="connsiteX17" fmla="*/ 672164 w 2016280"/>
                <a:gd name="connsiteY17" fmla="*/ 1437966 h 2016280"/>
                <a:gd name="connsiteX18" fmla="*/ 599218 w 2016280"/>
                <a:gd name="connsiteY18" fmla="*/ 1551629 h 2016280"/>
                <a:gd name="connsiteX19" fmla="*/ 577542 w 2016280"/>
                <a:gd name="connsiteY19" fmla="*/ 1594967 h 2016280"/>
                <a:gd name="connsiteX20" fmla="*/ 617882 w 2016280"/>
                <a:gd name="connsiteY20" fmla="*/ 1603994 h 2016280"/>
                <a:gd name="connsiteX21" fmla="*/ 1618808 w 2016280"/>
                <a:gd name="connsiteY21" fmla="*/ 1436616 h 2016280"/>
                <a:gd name="connsiteX22" fmla="*/ 1711477 w 2016280"/>
                <a:gd name="connsiteY22" fmla="*/ 1380851 h 2016280"/>
                <a:gd name="connsiteX23" fmla="*/ 1709073 w 2016280"/>
                <a:gd name="connsiteY23" fmla="*/ 1373444 h 2016280"/>
                <a:gd name="connsiteX24" fmla="*/ 1635450 w 2016280"/>
                <a:gd name="connsiteY24" fmla="*/ 1221323 h 2016280"/>
                <a:gd name="connsiteX25" fmla="*/ 1441926 w 2016280"/>
                <a:gd name="connsiteY25" fmla="*/ 965458 h 2016280"/>
                <a:gd name="connsiteX26" fmla="*/ 1420604 w 2016280"/>
                <a:gd name="connsiteY26" fmla="*/ 978912 h 2016280"/>
                <a:gd name="connsiteX27" fmla="*/ 1058586 w 2016280"/>
                <a:gd name="connsiteY27" fmla="*/ 1119714 h 2016280"/>
                <a:gd name="connsiteX28" fmla="*/ 977652 w 2016280"/>
                <a:gd name="connsiteY28" fmla="*/ 1134728 h 2016280"/>
                <a:gd name="connsiteX29" fmla="*/ 961947 w 2016280"/>
                <a:gd name="connsiteY29" fmla="*/ 1145156 h 2016280"/>
                <a:gd name="connsiteX30" fmla="*/ 757343 w 2016280"/>
                <a:gd name="connsiteY30" fmla="*/ 1331720 h 2016280"/>
                <a:gd name="connsiteX31" fmla="*/ 746542 w 2016280"/>
                <a:gd name="connsiteY31" fmla="*/ 1345192 h 2016280"/>
                <a:gd name="connsiteX32" fmla="*/ 768823 w 2016280"/>
                <a:gd name="connsiteY32" fmla="*/ 1345535 h 2016280"/>
                <a:gd name="connsiteX33" fmla="*/ 1524303 w 2016280"/>
                <a:gd name="connsiteY33" fmla="*/ 1137166 h 2016280"/>
                <a:gd name="connsiteX34" fmla="*/ 1563116 w 2016280"/>
                <a:gd name="connsiteY34" fmla="*/ 1112185 h 2016280"/>
                <a:gd name="connsiteX35" fmla="*/ 1541238 w 2016280"/>
                <a:gd name="connsiteY35" fmla="*/ 1079175 h 2016280"/>
                <a:gd name="connsiteX36" fmla="*/ 1147910 w 2016280"/>
                <a:gd name="connsiteY36" fmla="*/ 735132 h 2016280"/>
                <a:gd name="connsiteX37" fmla="*/ 1042758 w 2016280"/>
                <a:gd name="connsiteY37" fmla="*/ 778030 h 2016280"/>
                <a:gd name="connsiteX38" fmla="*/ 324367 w 2016280"/>
                <a:gd name="connsiteY38" fmla="*/ 1508630 h 2016280"/>
                <a:gd name="connsiteX39" fmla="*/ 299994 w 2016280"/>
                <a:gd name="connsiteY39" fmla="*/ 1583099 h 2016280"/>
                <a:gd name="connsiteX40" fmla="*/ 360205 w 2016280"/>
                <a:gd name="connsiteY40" fmla="*/ 1656076 h 2016280"/>
                <a:gd name="connsiteX41" fmla="*/ 416045 w 2016280"/>
                <a:gd name="connsiteY41" fmla="*/ 1702148 h 2016280"/>
                <a:gd name="connsiteX42" fmla="*/ 441258 w 2016280"/>
                <a:gd name="connsiteY42" fmla="*/ 1633643 h 2016280"/>
                <a:gd name="connsiteX43" fmla="*/ 1158090 w 2016280"/>
                <a:gd name="connsiteY43" fmla="*/ 906821 h 2016280"/>
                <a:gd name="connsiteX44" fmla="*/ 1310154 w 2016280"/>
                <a:gd name="connsiteY44" fmla="*/ 846536 h 2016280"/>
                <a:gd name="connsiteX45" fmla="*/ 1285830 w 2016280"/>
                <a:gd name="connsiteY45" fmla="*/ 825310 h 2016280"/>
                <a:gd name="connsiteX46" fmla="*/ 808024 w 2016280"/>
                <a:gd name="connsiteY46" fmla="*/ 590527 h 2016280"/>
                <a:gd name="connsiteX47" fmla="*/ 616126 w 2016280"/>
                <a:gd name="connsiteY47" fmla="*/ 696763 h 2016280"/>
                <a:gd name="connsiteX48" fmla="*/ 158948 w 2016280"/>
                <a:gd name="connsiteY48" fmla="*/ 1178898 h 2016280"/>
                <a:gd name="connsiteX49" fmla="*/ 124193 w 2016280"/>
                <a:gd name="connsiteY49" fmla="*/ 1246307 h 2016280"/>
                <a:gd name="connsiteX50" fmla="*/ 133017 w 2016280"/>
                <a:gd name="connsiteY50" fmla="*/ 1280625 h 2016280"/>
                <a:gd name="connsiteX51" fmla="*/ 202416 w 2016280"/>
                <a:gd name="connsiteY51" fmla="*/ 1444912 h 2016280"/>
                <a:gd name="connsiteX52" fmla="*/ 233492 w 2016280"/>
                <a:gd name="connsiteY52" fmla="*/ 1496065 h 2016280"/>
                <a:gd name="connsiteX53" fmla="*/ 264885 w 2016280"/>
                <a:gd name="connsiteY53" fmla="*/ 1403560 h 2016280"/>
                <a:gd name="connsiteX54" fmla="*/ 995060 w 2016280"/>
                <a:gd name="connsiteY54" fmla="*/ 722887 h 2016280"/>
                <a:gd name="connsiteX55" fmla="*/ 1079330 w 2016280"/>
                <a:gd name="connsiteY55" fmla="*/ 697173 h 2016280"/>
                <a:gd name="connsiteX56" fmla="*/ 1006768 w 2016280"/>
                <a:gd name="connsiteY56" fmla="*/ 660801 h 2016280"/>
                <a:gd name="connsiteX57" fmla="*/ 884793 w 2016280"/>
                <a:gd name="connsiteY57" fmla="*/ 612967 h 2016280"/>
                <a:gd name="connsiteX58" fmla="*/ 371423 w 2016280"/>
                <a:gd name="connsiteY58" fmla="*/ 533728 h 2016280"/>
                <a:gd name="connsiteX59" fmla="*/ 321258 w 2016280"/>
                <a:gd name="connsiteY59" fmla="*/ 536954 h 2016280"/>
                <a:gd name="connsiteX60" fmla="*/ 294605 w 2016280"/>
                <a:gd name="connsiteY60" fmla="*/ 555532 h 2016280"/>
                <a:gd name="connsiteX61" fmla="*/ 165761 w 2016280"/>
                <a:gd name="connsiteY61" fmla="*/ 675633 h 2016280"/>
                <a:gd name="connsiteX62" fmla="*/ 146655 w 2016280"/>
                <a:gd name="connsiteY62" fmla="*/ 698392 h 2016280"/>
                <a:gd name="connsiteX63" fmla="*/ 133017 w 2016280"/>
                <a:gd name="connsiteY63" fmla="*/ 735655 h 2016280"/>
                <a:gd name="connsiteX64" fmla="*/ 91821 w 2016280"/>
                <a:gd name="connsiteY64" fmla="*/ 1008140 h 2016280"/>
                <a:gd name="connsiteX65" fmla="*/ 96552 w 2016280"/>
                <a:gd name="connsiteY65" fmla="*/ 1101828 h 2016280"/>
                <a:gd name="connsiteX66" fmla="*/ 98565 w 2016280"/>
                <a:gd name="connsiteY66" fmla="*/ 1115016 h 2016280"/>
                <a:gd name="connsiteX67" fmla="*/ 173486 w 2016280"/>
                <a:gd name="connsiteY67" fmla="*/ 978359 h 2016280"/>
                <a:gd name="connsiteX68" fmla="*/ 598677 w 2016280"/>
                <a:gd name="connsiteY68" fmla="*/ 581728 h 2016280"/>
                <a:gd name="connsiteX69" fmla="*/ 654465 w 2016280"/>
                <a:gd name="connsiteY69" fmla="*/ 555444 h 2016280"/>
                <a:gd name="connsiteX70" fmla="*/ 631436 w 2016280"/>
                <a:gd name="connsiteY70" fmla="*/ 550864 h 2016280"/>
                <a:gd name="connsiteX71" fmla="*/ 371423 w 2016280"/>
                <a:gd name="connsiteY71" fmla="*/ 533728 h 2016280"/>
                <a:gd name="connsiteX72" fmla="*/ 606578 w 2016280"/>
                <a:gd name="connsiteY72" fmla="*/ 273469 h 2016280"/>
                <a:gd name="connsiteX73" fmla="*/ 464698 w 2016280"/>
                <a:gd name="connsiteY73" fmla="*/ 273990 h 2016280"/>
                <a:gd name="connsiteX74" fmla="*/ 360205 w 2016280"/>
                <a:gd name="connsiteY74" fmla="*/ 360205 h 2016280"/>
                <a:gd name="connsiteX75" fmla="*/ 300181 w 2016280"/>
                <a:gd name="connsiteY75" fmla="*/ 432955 h 2016280"/>
                <a:gd name="connsiteX76" fmla="*/ 462760 w 2016280"/>
                <a:gd name="connsiteY76" fmla="*/ 429519 h 2016280"/>
                <a:gd name="connsiteX77" fmla="*/ 1181965 w 2016280"/>
                <a:gd name="connsiteY77" fmla="*/ 631741 h 2016280"/>
                <a:gd name="connsiteX78" fmla="*/ 1226513 w 2016280"/>
                <a:gd name="connsiteY78" fmla="*/ 661174 h 2016280"/>
                <a:gd name="connsiteX79" fmla="*/ 1227751 w 2016280"/>
                <a:gd name="connsiteY79" fmla="*/ 660932 h 2016280"/>
                <a:gd name="connsiteX80" fmla="*/ 1270974 w 2016280"/>
                <a:gd name="connsiteY80" fmla="*/ 690550 h 2016280"/>
                <a:gd name="connsiteX81" fmla="*/ 1354767 w 2016280"/>
                <a:gd name="connsiteY81" fmla="*/ 745913 h 2016280"/>
                <a:gd name="connsiteX82" fmla="*/ 1429606 w 2016280"/>
                <a:gd name="connsiteY82" fmla="*/ 811839 h 2016280"/>
                <a:gd name="connsiteX83" fmla="*/ 1464551 w 2016280"/>
                <a:gd name="connsiteY83" fmla="*/ 842382 h 2016280"/>
                <a:gd name="connsiteX84" fmla="*/ 1477755 w 2016280"/>
                <a:gd name="connsiteY84" fmla="*/ 855606 h 2016280"/>
                <a:gd name="connsiteX85" fmla="*/ 1485566 w 2016280"/>
                <a:gd name="connsiteY85" fmla="*/ 862644 h 2016280"/>
                <a:gd name="connsiteX86" fmla="*/ 1488954 w 2016280"/>
                <a:gd name="connsiteY86" fmla="*/ 866505 h 2016280"/>
                <a:gd name="connsiteX87" fmla="*/ 1501816 w 2016280"/>
                <a:gd name="connsiteY87" fmla="*/ 878299 h 2016280"/>
                <a:gd name="connsiteX88" fmla="*/ 1524738 w 2016280"/>
                <a:gd name="connsiteY88" fmla="*/ 898168 h 2016280"/>
                <a:gd name="connsiteX89" fmla="*/ 1635565 w 2016280"/>
                <a:gd name="connsiteY89" fmla="*/ 1030004 h 2016280"/>
                <a:gd name="connsiteX90" fmla="*/ 1812278 w 2016280"/>
                <a:gd name="connsiteY90" fmla="*/ 1348981 h 2016280"/>
                <a:gd name="connsiteX91" fmla="*/ 1832362 w 2016280"/>
                <a:gd name="connsiteY91" fmla="*/ 1408512 h 2016280"/>
                <a:gd name="connsiteX92" fmla="*/ 1834100 w 2016280"/>
                <a:gd name="connsiteY92" fmla="*/ 1405402 h 2016280"/>
                <a:gd name="connsiteX93" fmla="*/ 1905843 w 2016280"/>
                <a:gd name="connsiteY93" fmla="*/ 1192810 h 2016280"/>
                <a:gd name="connsiteX94" fmla="*/ 1910105 w 2016280"/>
                <a:gd name="connsiteY94" fmla="*/ 1164886 h 2016280"/>
                <a:gd name="connsiteX95" fmla="*/ 1855297 w 2016280"/>
                <a:gd name="connsiteY95" fmla="*/ 1037330 h 2016280"/>
                <a:gd name="connsiteX96" fmla="*/ 1329763 w 2016280"/>
                <a:gd name="connsiteY96" fmla="*/ 493730 h 2016280"/>
                <a:gd name="connsiteX97" fmla="*/ 606578 w 2016280"/>
                <a:gd name="connsiteY97" fmla="*/ 273469 h 2016280"/>
                <a:gd name="connsiteX98" fmla="*/ 1008140 w 2016280"/>
                <a:gd name="connsiteY98" fmla="*/ 91821 h 2016280"/>
                <a:gd name="connsiteX99" fmla="*/ 651468 w 2016280"/>
                <a:gd name="connsiteY99" fmla="*/ 163830 h 2016280"/>
                <a:gd name="connsiteX100" fmla="*/ 572256 w 2016280"/>
                <a:gd name="connsiteY100" fmla="*/ 201988 h 2016280"/>
                <a:gd name="connsiteX101" fmla="*/ 606310 w 2016280"/>
                <a:gd name="connsiteY101" fmla="*/ 197895 h 2016280"/>
                <a:gd name="connsiteX102" fmla="*/ 770343 w 2016280"/>
                <a:gd name="connsiteY102" fmla="*/ 197334 h 2016280"/>
                <a:gd name="connsiteX103" fmla="*/ 1394219 w 2016280"/>
                <a:gd name="connsiteY103" fmla="*/ 383521 h 2016280"/>
                <a:gd name="connsiteX104" fmla="*/ 1917266 w 2016280"/>
                <a:gd name="connsiteY104" fmla="*/ 982464 h 2016280"/>
                <a:gd name="connsiteX105" fmla="*/ 1924183 w 2016280"/>
                <a:gd name="connsiteY105" fmla="*/ 1002670 h 2016280"/>
                <a:gd name="connsiteX106" fmla="*/ 1919728 w 2016280"/>
                <a:gd name="connsiteY106" fmla="*/ 914452 h 2016280"/>
                <a:gd name="connsiteX107" fmla="*/ 1008140 w 2016280"/>
                <a:gd name="connsiteY107" fmla="*/ 91821 h 2016280"/>
                <a:gd name="connsiteX108" fmla="*/ 1008140 w 2016280"/>
                <a:gd name="connsiteY108" fmla="*/ 0 h 2016280"/>
                <a:gd name="connsiteX109" fmla="*/ 1008141 w 2016280"/>
                <a:gd name="connsiteY109" fmla="*/ 0 h 2016280"/>
                <a:gd name="connsiteX110" fmla="*/ 1008141 w 2016280"/>
                <a:gd name="connsiteY110" fmla="*/ 0 h 2016280"/>
                <a:gd name="connsiteX111" fmla="*/ 1008143 w 2016280"/>
                <a:gd name="connsiteY111" fmla="*/ 0 h 2016280"/>
                <a:gd name="connsiteX112" fmla="*/ 1111217 w 2016280"/>
                <a:gd name="connsiteY112" fmla="*/ 5205 h 2016280"/>
                <a:gd name="connsiteX113" fmla="*/ 1144920 w 2016280"/>
                <a:gd name="connsiteY113" fmla="*/ 10349 h 2016280"/>
                <a:gd name="connsiteX114" fmla="*/ 1161671 w 2016280"/>
                <a:gd name="connsiteY114" fmla="*/ 11616 h 2016280"/>
                <a:gd name="connsiteX115" fmla="*/ 1178230 w 2016280"/>
                <a:gd name="connsiteY115" fmla="*/ 15433 h 2016280"/>
                <a:gd name="connsiteX116" fmla="*/ 1211316 w 2016280"/>
                <a:gd name="connsiteY116" fmla="*/ 20482 h 2016280"/>
                <a:gd name="connsiteX117" fmla="*/ 1307921 w 2016280"/>
                <a:gd name="connsiteY117" fmla="*/ 45322 h 2016280"/>
                <a:gd name="connsiteX118" fmla="*/ 1307931 w 2016280"/>
                <a:gd name="connsiteY118" fmla="*/ 45324 h 2016280"/>
                <a:gd name="connsiteX119" fmla="*/ 1307946 w 2016280"/>
                <a:gd name="connsiteY119" fmla="*/ 45330 h 2016280"/>
                <a:gd name="connsiteX120" fmla="*/ 1400554 w 2016280"/>
                <a:gd name="connsiteY120" fmla="*/ 79225 h 2016280"/>
                <a:gd name="connsiteX121" fmla="*/ 1430118 w 2016280"/>
                <a:gd name="connsiteY121" fmla="*/ 93467 h 2016280"/>
                <a:gd name="connsiteX122" fmla="*/ 1445212 w 2016280"/>
                <a:gd name="connsiteY122" fmla="*/ 99414 h 2016280"/>
                <a:gd name="connsiteX123" fmla="*/ 1459440 w 2016280"/>
                <a:gd name="connsiteY123" fmla="*/ 107592 h 2016280"/>
                <a:gd name="connsiteX124" fmla="*/ 1488679 w 2016280"/>
                <a:gd name="connsiteY124" fmla="*/ 121677 h 2016280"/>
                <a:gd name="connsiteX125" fmla="*/ 1571778 w 2016280"/>
                <a:gd name="connsiteY125" fmla="*/ 172161 h 2016280"/>
                <a:gd name="connsiteX126" fmla="*/ 1571802 w 2016280"/>
                <a:gd name="connsiteY126" fmla="*/ 172175 h 2016280"/>
                <a:gd name="connsiteX127" fmla="*/ 1571828 w 2016280"/>
                <a:gd name="connsiteY127" fmla="*/ 172195 h 2016280"/>
                <a:gd name="connsiteX128" fmla="*/ 1649411 w 2016280"/>
                <a:gd name="connsiteY128" fmla="*/ 230210 h 2016280"/>
                <a:gd name="connsiteX129" fmla="*/ 1673315 w 2016280"/>
                <a:gd name="connsiteY129" fmla="*/ 251936 h 2016280"/>
                <a:gd name="connsiteX130" fmla="*/ 1685992 w 2016280"/>
                <a:gd name="connsiteY130" fmla="*/ 261897 h 2016280"/>
                <a:gd name="connsiteX131" fmla="*/ 1697140 w 2016280"/>
                <a:gd name="connsiteY131" fmla="*/ 273589 h 2016280"/>
                <a:gd name="connsiteX132" fmla="*/ 1721003 w 2016280"/>
                <a:gd name="connsiteY132" fmla="*/ 295278 h 2016280"/>
                <a:gd name="connsiteX133" fmla="*/ 1786040 w 2016280"/>
                <a:gd name="connsiteY133" fmla="*/ 366837 h 2016280"/>
                <a:gd name="connsiteX134" fmla="*/ 1786072 w 2016280"/>
                <a:gd name="connsiteY134" fmla="*/ 366870 h 2016280"/>
                <a:gd name="connsiteX135" fmla="*/ 1786100 w 2016280"/>
                <a:gd name="connsiteY135" fmla="*/ 366910 h 2016280"/>
                <a:gd name="connsiteX136" fmla="*/ 1844106 w 2016280"/>
                <a:gd name="connsiteY136" fmla="*/ 444480 h 2016280"/>
                <a:gd name="connsiteX137" fmla="*/ 1860882 w 2016280"/>
                <a:gd name="connsiteY137" fmla="*/ 472094 h 2016280"/>
                <a:gd name="connsiteX138" fmla="*/ 1870330 w 2016280"/>
                <a:gd name="connsiteY138" fmla="*/ 485383 h 2016280"/>
                <a:gd name="connsiteX139" fmla="*/ 1877693 w 2016280"/>
                <a:gd name="connsiteY139" fmla="*/ 499766 h 2016280"/>
                <a:gd name="connsiteX140" fmla="*/ 1894603 w 2016280"/>
                <a:gd name="connsiteY140" fmla="*/ 527601 h 2016280"/>
                <a:gd name="connsiteX141" fmla="*/ 1937032 w 2016280"/>
                <a:gd name="connsiteY141" fmla="*/ 615679 h 2016280"/>
                <a:gd name="connsiteX142" fmla="*/ 1937057 w 2016280"/>
                <a:gd name="connsiteY142" fmla="*/ 615727 h 2016280"/>
                <a:gd name="connsiteX143" fmla="*/ 1937066 w 2016280"/>
                <a:gd name="connsiteY143" fmla="*/ 615754 h 2016280"/>
                <a:gd name="connsiteX144" fmla="*/ 1970956 w 2016280"/>
                <a:gd name="connsiteY144" fmla="*/ 708350 h 2016280"/>
                <a:gd name="connsiteX145" fmla="*/ 2016280 w 2016280"/>
                <a:gd name="connsiteY145" fmla="*/ 1008140 h 2016280"/>
                <a:gd name="connsiteX146" fmla="*/ 1882713 w 2016280"/>
                <a:gd name="connsiteY146" fmla="*/ 1509949 h 2016280"/>
                <a:gd name="connsiteX147" fmla="*/ 1859478 w 2016280"/>
                <a:gd name="connsiteY147" fmla="*/ 1543478 h 2016280"/>
                <a:gd name="connsiteX148" fmla="*/ 1844105 w 2016280"/>
                <a:gd name="connsiteY148" fmla="*/ 1571801 h 2016280"/>
                <a:gd name="connsiteX149" fmla="*/ 1817536 w 2016280"/>
                <a:gd name="connsiteY149" fmla="*/ 1604003 h 2016280"/>
                <a:gd name="connsiteX150" fmla="*/ 1786070 w 2016280"/>
                <a:gd name="connsiteY150" fmla="*/ 1649411 h 2016280"/>
                <a:gd name="connsiteX151" fmla="*/ 1721023 w 2016280"/>
                <a:gd name="connsiteY151" fmla="*/ 1720980 h 2016280"/>
                <a:gd name="connsiteX152" fmla="*/ 1721004 w 2016280"/>
                <a:gd name="connsiteY152" fmla="*/ 1721003 h 2016280"/>
                <a:gd name="connsiteX153" fmla="*/ 1008141 w 2016280"/>
                <a:gd name="connsiteY153" fmla="*/ 2016280 h 2016280"/>
                <a:gd name="connsiteX154" fmla="*/ 1008141 w 2016280"/>
                <a:gd name="connsiteY154" fmla="*/ 2016280 h 2016280"/>
                <a:gd name="connsiteX155" fmla="*/ 1008140 w 2016280"/>
                <a:gd name="connsiteY155" fmla="*/ 2016280 h 2016280"/>
                <a:gd name="connsiteX156" fmla="*/ 905064 w 2016280"/>
                <a:gd name="connsiteY156" fmla="*/ 2011075 h 2016280"/>
                <a:gd name="connsiteX157" fmla="*/ 890574 w 2016280"/>
                <a:gd name="connsiteY157" fmla="*/ 2008864 h 2016280"/>
                <a:gd name="connsiteX158" fmla="*/ 879742 w 2016280"/>
                <a:gd name="connsiteY158" fmla="*/ 2008181 h 2016280"/>
                <a:gd name="connsiteX159" fmla="*/ 854691 w 2016280"/>
                <a:gd name="connsiteY159" fmla="*/ 2003387 h 2016280"/>
                <a:gd name="connsiteX160" fmla="*/ 804965 w 2016280"/>
                <a:gd name="connsiteY160" fmla="*/ 1995798 h 2016280"/>
                <a:gd name="connsiteX161" fmla="*/ 775704 w 2016280"/>
                <a:gd name="connsiteY161" fmla="*/ 1988275 h 2016280"/>
                <a:gd name="connsiteX162" fmla="*/ 756192 w 2016280"/>
                <a:gd name="connsiteY162" fmla="*/ 1984541 h 2016280"/>
                <a:gd name="connsiteX163" fmla="*/ 737119 w 2016280"/>
                <a:gd name="connsiteY163" fmla="*/ 1978353 h 2016280"/>
                <a:gd name="connsiteX164" fmla="*/ 708350 w 2016280"/>
                <a:gd name="connsiteY164" fmla="*/ 1970956 h 2016280"/>
                <a:gd name="connsiteX165" fmla="*/ 661771 w 2016280"/>
                <a:gd name="connsiteY165" fmla="*/ 1953908 h 2016280"/>
                <a:gd name="connsiteX166" fmla="*/ 638482 w 2016280"/>
                <a:gd name="connsiteY166" fmla="*/ 1946352 h 2016280"/>
                <a:gd name="connsiteX167" fmla="*/ 628869 w 2016280"/>
                <a:gd name="connsiteY167" fmla="*/ 1941866 h 2016280"/>
                <a:gd name="connsiteX168" fmla="*/ 615727 w 2016280"/>
                <a:gd name="connsiteY168" fmla="*/ 1937056 h 2016280"/>
                <a:gd name="connsiteX169" fmla="*/ 527601 w 2016280"/>
                <a:gd name="connsiteY169" fmla="*/ 1894603 h 2016280"/>
                <a:gd name="connsiteX170" fmla="*/ 516106 w 2016280"/>
                <a:gd name="connsiteY170" fmla="*/ 1887619 h 2016280"/>
                <a:gd name="connsiteX171" fmla="*/ 515830 w 2016280"/>
                <a:gd name="connsiteY171" fmla="*/ 1887452 h 2016280"/>
                <a:gd name="connsiteX172" fmla="*/ 477193 w 2016280"/>
                <a:gd name="connsiteY172" fmla="*/ 1863979 h 2016280"/>
                <a:gd name="connsiteX173" fmla="*/ 477192 w 2016280"/>
                <a:gd name="connsiteY173" fmla="*/ 1863980 h 2016280"/>
                <a:gd name="connsiteX174" fmla="*/ 444479 w 2016280"/>
                <a:gd name="connsiteY174" fmla="*/ 1844106 h 2016280"/>
                <a:gd name="connsiteX175" fmla="*/ 384485 w 2016280"/>
                <a:gd name="connsiteY175" fmla="*/ 1799244 h 2016280"/>
                <a:gd name="connsiteX176" fmla="*/ 384705 w 2016280"/>
                <a:gd name="connsiteY176" fmla="*/ 1798283 h 2016280"/>
                <a:gd name="connsiteX177" fmla="*/ 348388 w 2016280"/>
                <a:gd name="connsiteY177" fmla="*/ 1770443 h 2016280"/>
                <a:gd name="connsiteX178" fmla="*/ 0 w 2016280"/>
                <a:gd name="connsiteY178" fmla="*/ 1008140 h 2016280"/>
                <a:gd name="connsiteX179" fmla="*/ 1008140 w 2016280"/>
                <a:gd name="connsiteY179" fmla="*/ 0 h 201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2016280" h="2016280">
                  <a:moveTo>
                    <a:pt x="1733029" y="1447258"/>
                  </a:moveTo>
                  <a:lnTo>
                    <a:pt x="1642738" y="1515403"/>
                  </a:lnTo>
                  <a:cubicBezTo>
                    <a:pt x="1336150" y="1715988"/>
                    <a:pt x="952836" y="1783541"/>
                    <a:pt x="591486" y="1705908"/>
                  </a:cubicBezTo>
                  <a:lnTo>
                    <a:pt x="532489" y="1689662"/>
                  </a:lnTo>
                  <a:lnTo>
                    <a:pt x="502041" y="1771747"/>
                  </a:lnTo>
                  <a:lnTo>
                    <a:pt x="571368" y="1813865"/>
                  </a:lnTo>
                  <a:cubicBezTo>
                    <a:pt x="701205" y="1884396"/>
                    <a:pt x="849994" y="1924459"/>
                    <a:pt x="1008140" y="1924459"/>
                  </a:cubicBezTo>
                  <a:lnTo>
                    <a:pt x="1058787" y="1921902"/>
                  </a:lnTo>
                  <a:lnTo>
                    <a:pt x="1177104" y="1906228"/>
                  </a:lnTo>
                  <a:lnTo>
                    <a:pt x="1291148" y="1879412"/>
                  </a:lnTo>
                  <a:lnTo>
                    <a:pt x="1364813" y="1852450"/>
                  </a:lnTo>
                  <a:cubicBezTo>
                    <a:pt x="1501847" y="1794490"/>
                    <a:pt x="1621846" y="1704143"/>
                    <a:pt x="1715216" y="1591004"/>
                  </a:cubicBezTo>
                  <a:lnTo>
                    <a:pt x="1759826" y="1529830"/>
                  </a:lnTo>
                  <a:close/>
                  <a:moveTo>
                    <a:pt x="1628694" y="1211130"/>
                  </a:moveTo>
                  <a:lnTo>
                    <a:pt x="1520354" y="1275082"/>
                  </a:lnTo>
                  <a:cubicBezTo>
                    <a:pt x="1296175" y="1393402"/>
                    <a:pt x="1038608" y="1448067"/>
                    <a:pt x="780821" y="1432039"/>
                  </a:cubicBezTo>
                  <a:lnTo>
                    <a:pt x="685213" y="1421690"/>
                  </a:lnTo>
                  <a:lnTo>
                    <a:pt x="672164" y="1437966"/>
                  </a:lnTo>
                  <a:cubicBezTo>
                    <a:pt x="645776" y="1474669"/>
                    <a:pt x="621426" y="1512607"/>
                    <a:pt x="599218" y="1551629"/>
                  </a:cubicBezTo>
                  <a:lnTo>
                    <a:pt x="577542" y="1594967"/>
                  </a:lnTo>
                  <a:lnTo>
                    <a:pt x="617882" y="1603994"/>
                  </a:lnTo>
                  <a:cubicBezTo>
                    <a:pt x="963548" y="1658747"/>
                    <a:pt x="1317758" y="1598519"/>
                    <a:pt x="1618808" y="1436616"/>
                  </a:cubicBezTo>
                  <a:lnTo>
                    <a:pt x="1711477" y="1380851"/>
                  </a:lnTo>
                  <a:lnTo>
                    <a:pt x="1709073" y="1373444"/>
                  </a:lnTo>
                  <a:cubicBezTo>
                    <a:pt x="1688081" y="1321290"/>
                    <a:pt x="1663481" y="1270475"/>
                    <a:pt x="1635450" y="1221323"/>
                  </a:cubicBezTo>
                  <a:close/>
                  <a:moveTo>
                    <a:pt x="1441926" y="965458"/>
                  </a:moveTo>
                  <a:lnTo>
                    <a:pt x="1420604" y="978912"/>
                  </a:lnTo>
                  <a:cubicBezTo>
                    <a:pt x="1308111" y="1042454"/>
                    <a:pt x="1186015" y="1089866"/>
                    <a:pt x="1058586" y="1119714"/>
                  </a:cubicBezTo>
                  <a:lnTo>
                    <a:pt x="977652" y="1134728"/>
                  </a:lnTo>
                  <a:lnTo>
                    <a:pt x="961947" y="1145156"/>
                  </a:lnTo>
                  <a:cubicBezTo>
                    <a:pt x="886544" y="1200969"/>
                    <a:pt x="818070" y="1263566"/>
                    <a:pt x="757343" y="1331720"/>
                  </a:cubicBezTo>
                  <a:lnTo>
                    <a:pt x="746542" y="1345192"/>
                  </a:lnTo>
                  <a:lnTo>
                    <a:pt x="768823" y="1345535"/>
                  </a:lnTo>
                  <a:cubicBezTo>
                    <a:pt x="1037185" y="1340038"/>
                    <a:pt x="1297928" y="1267537"/>
                    <a:pt x="1524303" y="1137166"/>
                  </a:cubicBezTo>
                  <a:lnTo>
                    <a:pt x="1563116" y="1112185"/>
                  </a:lnTo>
                  <a:lnTo>
                    <a:pt x="1541238" y="1079175"/>
                  </a:lnTo>
                  <a:close/>
                  <a:moveTo>
                    <a:pt x="1147910" y="735132"/>
                  </a:moveTo>
                  <a:lnTo>
                    <a:pt x="1042758" y="778030"/>
                  </a:lnTo>
                  <a:cubicBezTo>
                    <a:pt x="713241" y="932498"/>
                    <a:pt x="458818" y="1194800"/>
                    <a:pt x="324367" y="1508630"/>
                  </a:cubicBezTo>
                  <a:lnTo>
                    <a:pt x="299994" y="1583099"/>
                  </a:lnTo>
                  <a:lnTo>
                    <a:pt x="360205" y="1656076"/>
                  </a:lnTo>
                  <a:lnTo>
                    <a:pt x="416045" y="1702148"/>
                  </a:lnTo>
                  <a:lnTo>
                    <a:pt x="441258" y="1633643"/>
                  </a:lnTo>
                  <a:cubicBezTo>
                    <a:pt x="574897" y="1323554"/>
                    <a:pt x="826307" y="1062438"/>
                    <a:pt x="1158090" y="906821"/>
                  </a:cubicBezTo>
                  <a:lnTo>
                    <a:pt x="1310154" y="846536"/>
                  </a:lnTo>
                  <a:lnTo>
                    <a:pt x="1285830" y="825310"/>
                  </a:lnTo>
                  <a:close/>
                  <a:moveTo>
                    <a:pt x="808024" y="590527"/>
                  </a:moveTo>
                  <a:lnTo>
                    <a:pt x="616126" y="696763"/>
                  </a:lnTo>
                  <a:cubicBezTo>
                    <a:pt x="424979" y="822598"/>
                    <a:pt x="268611" y="988296"/>
                    <a:pt x="158948" y="1178898"/>
                  </a:cubicBezTo>
                  <a:lnTo>
                    <a:pt x="124193" y="1246307"/>
                  </a:lnTo>
                  <a:lnTo>
                    <a:pt x="133017" y="1280625"/>
                  </a:lnTo>
                  <a:cubicBezTo>
                    <a:pt x="150866" y="1338011"/>
                    <a:pt x="174203" y="1392978"/>
                    <a:pt x="202416" y="1444912"/>
                  </a:cubicBezTo>
                  <a:lnTo>
                    <a:pt x="233492" y="1496065"/>
                  </a:lnTo>
                  <a:lnTo>
                    <a:pt x="264885" y="1403560"/>
                  </a:lnTo>
                  <a:cubicBezTo>
                    <a:pt x="393693" y="1098015"/>
                    <a:pt x="655732" y="847997"/>
                    <a:pt x="995060" y="722887"/>
                  </a:cubicBezTo>
                  <a:lnTo>
                    <a:pt x="1079330" y="697173"/>
                  </a:lnTo>
                  <a:lnTo>
                    <a:pt x="1006768" y="660801"/>
                  </a:lnTo>
                  <a:cubicBezTo>
                    <a:pt x="966779" y="642997"/>
                    <a:pt x="926072" y="627051"/>
                    <a:pt x="884793" y="612967"/>
                  </a:cubicBezTo>
                  <a:close/>
                  <a:moveTo>
                    <a:pt x="371423" y="533728"/>
                  </a:moveTo>
                  <a:lnTo>
                    <a:pt x="321258" y="536954"/>
                  </a:lnTo>
                  <a:lnTo>
                    <a:pt x="294605" y="555532"/>
                  </a:lnTo>
                  <a:cubicBezTo>
                    <a:pt x="248912" y="593223"/>
                    <a:pt x="205906" y="633350"/>
                    <a:pt x="165761" y="675633"/>
                  </a:cubicBezTo>
                  <a:lnTo>
                    <a:pt x="146655" y="698392"/>
                  </a:lnTo>
                  <a:lnTo>
                    <a:pt x="133017" y="735655"/>
                  </a:lnTo>
                  <a:cubicBezTo>
                    <a:pt x="106244" y="821733"/>
                    <a:pt x="91821" y="913252"/>
                    <a:pt x="91821" y="1008140"/>
                  </a:cubicBezTo>
                  <a:cubicBezTo>
                    <a:pt x="91821" y="1039769"/>
                    <a:pt x="93424" y="1071024"/>
                    <a:pt x="96552" y="1101828"/>
                  </a:cubicBezTo>
                  <a:lnTo>
                    <a:pt x="98565" y="1115016"/>
                  </a:lnTo>
                  <a:lnTo>
                    <a:pt x="173486" y="978359"/>
                  </a:lnTo>
                  <a:cubicBezTo>
                    <a:pt x="278028" y="819468"/>
                    <a:pt x="422619" y="682699"/>
                    <a:pt x="598677" y="581728"/>
                  </a:cubicBezTo>
                  <a:lnTo>
                    <a:pt x="654465" y="555444"/>
                  </a:lnTo>
                  <a:lnTo>
                    <a:pt x="631436" y="550864"/>
                  </a:lnTo>
                  <a:cubicBezTo>
                    <a:pt x="545482" y="537643"/>
                    <a:pt x="458418" y="531916"/>
                    <a:pt x="371423" y="533728"/>
                  </a:cubicBezTo>
                  <a:close/>
                  <a:moveTo>
                    <a:pt x="606578" y="273469"/>
                  </a:moveTo>
                  <a:lnTo>
                    <a:pt x="464698" y="273990"/>
                  </a:lnTo>
                  <a:lnTo>
                    <a:pt x="360205" y="360205"/>
                  </a:lnTo>
                  <a:lnTo>
                    <a:pt x="300181" y="432955"/>
                  </a:lnTo>
                  <a:lnTo>
                    <a:pt x="462760" y="429519"/>
                  </a:lnTo>
                  <a:cubicBezTo>
                    <a:pt x="713120" y="438842"/>
                    <a:pt x="960973" y="506552"/>
                    <a:pt x="1181965" y="631741"/>
                  </a:cubicBezTo>
                  <a:lnTo>
                    <a:pt x="1226513" y="661174"/>
                  </a:lnTo>
                  <a:lnTo>
                    <a:pt x="1227751" y="660932"/>
                  </a:lnTo>
                  <a:lnTo>
                    <a:pt x="1270974" y="690550"/>
                  </a:lnTo>
                  <a:lnTo>
                    <a:pt x="1354767" y="745913"/>
                  </a:lnTo>
                  <a:lnTo>
                    <a:pt x="1429606" y="811839"/>
                  </a:lnTo>
                  <a:cubicBezTo>
                    <a:pt x="1448240" y="825037"/>
                    <a:pt x="1454292" y="831605"/>
                    <a:pt x="1464551" y="842382"/>
                  </a:cubicBezTo>
                  <a:lnTo>
                    <a:pt x="1477755" y="855606"/>
                  </a:lnTo>
                  <a:lnTo>
                    <a:pt x="1485566" y="862644"/>
                  </a:lnTo>
                  <a:lnTo>
                    <a:pt x="1488954" y="866505"/>
                  </a:lnTo>
                  <a:lnTo>
                    <a:pt x="1501816" y="878299"/>
                  </a:lnTo>
                  <a:cubicBezTo>
                    <a:pt x="1508319" y="884095"/>
                    <a:pt x="1515873" y="890661"/>
                    <a:pt x="1524738" y="898168"/>
                  </a:cubicBezTo>
                  <a:cubicBezTo>
                    <a:pt x="1606613" y="991242"/>
                    <a:pt x="1598569" y="976198"/>
                    <a:pt x="1635565" y="1030004"/>
                  </a:cubicBezTo>
                  <a:cubicBezTo>
                    <a:pt x="1708960" y="1128823"/>
                    <a:pt x="1768365" y="1236070"/>
                    <a:pt x="1812278" y="1348981"/>
                  </a:cubicBezTo>
                  <a:lnTo>
                    <a:pt x="1832362" y="1408512"/>
                  </a:lnTo>
                  <a:lnTo>
                    <a:pt x="1834100" y="1405402"/>
                  </a:lnTo>
                  <a:cubicBezTo>
                    <a:pt x="1866271" y="1338637"/>
                    <a:pt x="1890585" y="1267373"/>
                    <a:pt x="1905843" y="1192810"/>
                  </a:cubicBezTo>
                  <a:lnTo>
                    <a:pt x="1910105" y="1164886"/>
                  </a:lnTo>
                  <a:lnTo>
                    <a:pt x="1855297" y="1037330"/>
                  </a:lnTo>
                  <a:cubicBezTo>
                    <a:pt x="1737428" y="820038"/>
                    <a:pt x="1558352" y="630983"/>
                    <a:pt x="1329763" y="493730"/>
                  </a:cubicBezTo>
                  <a:cubicBezTo>
                    <a:pt x="1109395" y="361414"/>
                    <a:pt x="859902" y="287525"/>
                    <a:pt x="606578" y="273469"/>
                  </a:cubicBezTo>
                  <a:close/>
                  <a:moveTo>
                    <a:pt x="1008140" y="91821"/>
                  </a:moveTo>
                  <a:cubicBezTo>
                    <a:pt x="881623" y="91821"/>
                    <a:pt x="761094" y="117462"/>
                    <a:pt x="651468" y="163830"/>
                  </a:cubicBezTo>
                  <a:lnTo>
                    <a:pt x="572256" y="201988"/>
                  </a:lnTo>
                  <a:lnTo>
                    <a:pt x="606310" y="197895"/>
                  </a:lnTo>
                  <a:cubicBezTo>
                    <a:pt x="660968" y="194537"/>
                    <a:pt x="715757" y="194356"/>
                    <a:pt x="770343" y="197334"/>
                  </a:cubicBezTo>
                  <a:cubicBezTo>
                    <a:pt x="988687" y="209246"/>
                    <a:pt x="1203779" y="271697"/>
                    <a:pt x="1394219" y="383521"/>
                  </a:cubicBezTo>
                  <a:cubicBezTo>
                    <a:pt x="1640052" y="527872"/>
                    <a:pt x="1820767" y="740145"/>
                    <a:pt x="1917266" y="982464"/>
                  </a:cubicBezTo>
                  <a:lnTo>
                    <a:pt x="1924183" y="1002670"/>
                  </a:lnTo>
                  <a:lnTo>
                    <a:pt x="1919728" y="914452"/>
                  </a:lnTo>
                  <a:cubicBezTo>
                    <a:pt x="1872804" y="452392"/>
                    <a:pt x="1482580" y="91821"/>
                    <a:pt x="1008140" y="91821"/>
                  </a:cubicBezTo>
                  <a:close/>
                  <a:moveTo>
                    <a:pt x="1008140" y="0"/>
                  </a:moveTo>
                  <a:lnTo>
                    <a:pt x="1008141" y="0"/>
                  </a:lnTo>
                  <a:lnTo>
                    <a:pt x="1008141" y="0"/>
                  </a:lnTo>
                  <a:lnTo>
                    <a:pt x="1008143" y="0"/>
                  </a:lnTo>
                  <a:lnTo>
                    <a:pt x="1111217" y="5205"/>
                  </a:lnTo>
                  <a:lnTo>
                    <a:pt x="1144920" y="10349"/>
                  </a:lnTo>
                  <a:lnTo>
                    <a:pt x="1161671" y="11616"/>
                  </a:lnTo>
                  <a:lnTo>
                    <a:pt x="1178230" y="15433"/>
                  </a:lnTo>
                  <a:lnTo>
                    <a:pt x="1211316" y="20482"/>
                  </a:lnTo>
                  <a:lnTo>
                    <a:pt x="1307921" y="45322"/>
                  </a:lnTo>
                  <a:lnTo>
                    <a:pt x="1307931" y="45324"/>
                  </a:lnTo>
                  <a:lnTo>
                    <a:pt x="1307946" y="45330"/>
                  </a:lnTo>
                  <a:lnTo>
                    <a:pt x="1400554" y="79225"/>
                  </a:lnTo>
                  <a:lnTo>
                    <a:pt x="1430118" y="93467"/>
                  </a:lnTo>
                  <a:lnTo>
                    <a:pt x="1445212" y="99414"/>
                  </a:lnTo>
                  <a:lnTo>
                    <a:pt x="1459440" y="107592"/>
                  </a:lnTo>
                  <a:lnTo>
                    <a:pt x="1488679" y="121677"/>
                  </a:lnTo>
                  <a:lnTo>
                    <a:pt x="1571778" y="172161"/>
                  </a:lnTo>
                  <a:lnTo>
                    <a:pt x="1571802" y="172175"/>
                  </a:lnTo>
                  <a:lnTo>
                    <a:pt x="1571828" y="172195"/>
                  </a:lnTo>
                  <a:lnTo>
                    <a:pt x="1649411" y="230210"/>
                  </a:lnTo>
                  <a:lnTo>
                    <a:pt x="1673315" y="251936"/>
                  </a:lnTo>
                  <a:lnTo>
                    <a:pt x="1685992" y="261897"/>
                  </a:lnTo>
                  <a:lnTo>
                    <a:pt x="1697140" y="273589"/>
                  </a:lnTo>
                  <a:lnTo>
                    <a:pt x="1721003" y="295278"/>
                  </a:lnTo>
                  <a:lnTo>
                    <a:pt x="1786040" y="366837"/>
                  </a:lnTo>
                  <a:lnTo>
                    <a:pt x="1786072" y="366870"/>
                  </a:lnTo>
                  <a:lnTo>
                    <a:pt x="1786100" y="366910"/>
                  </a:lnTo>
                  <a:lnTo>
                    <a:pt x="1844106" y="444480"/>
                  </a:lnTo>
                  <a:lnTo>
                    <a:pt x="1860882" y="472094"/>
                  </a:lnTo>
                  <a:lnTo>
                    <a:pt x="1870330" y="485383"/>
                  </a:lnTo>
                  <a:lnTo>
                    <a:pt x="1877693" y="499766"/>
                  </a:lnTo>
                  <a:lnTo>
                    <a:pt x="1894603" y="527601"/>
                  </a:lnTo>
                  <a:lnTo>
                    <a:pt x="1937032" y="615679"/>
                  </a:lnTo>
                  <a:lnTo>
                    <a:pt x="1937057" y="615727"/>
                  </a:lnTo>
                  <a:lnTo>
                    <a:pt x="1937066" y="615754"/>
                  </a:lnTo>
                  <a:lnTo>
                    <a:pt x="1970956" y="708350"/>
                  </a:lnTo>
                  <a:cubicBezTo>
                    <a:pt x="2000412" y="803054"/>
                    <a:pt x="2016280" y="903744"/>
                    <a:pt x="2016280" y="1008140"/>
                  </a:cubicBezTo>
                  <a:cubicBezTo>
                    <a:pt x="2016280" y="1190834"/>
                    <a:pt x="1967684" y="1362177"/>
                    <a:pt x="1882713" y="1509949"/>
                  </a:cubicBezTo>
                  <a:lnTo>
                    <a:pt x="1859478" y="1543478"/>
                  </a:lnTo>
                  <a:lnTo>
                    <a:pt x="1844105" y="1571801"/>
                  </a:lnTo>
                  <a:lnTo>
                    <a:pt x="1817536" y="1604003"/>
                  </a:lnTo>
                  <a:lnTo>
                    <a:pt x="1786070" y="1649411"/>
                  </a:lnTo>
                  <a:lnTo>
                    <a:pt x="1721023" y="1720980"/>
                  </a:lnTo>
                  <a:lnTo>
                    <a:pt x="1721004" y="1721003"/>
                  </a:lnTo>
                  <a:cubicBezTo>
                    <a:pt x="1538566" y="1903440"/>
                    <a:pt x="1286531" y="2016280"/>
                    <a:pt x="1008141" y="2016280"/>
                  </a:cubicBezTo>
                  <a:lnTo>
                    <a:pt x="1008141" y="2016280"/>
                  </a:lnTo>
                  <a:lnTo>
                    <a:pt x="1008140" y="2016280"/>
                  </a:lnTo>
                  <a:cubicBezTo>
                    <a:pt x="973341" y="2016280"/>
                    <a:pt x="938955" y="2014517"/>
                    <a:pt x="905064" y="2011075"/>
                  </a:cubicBezTo>
                  <a:lnTo>
                    <a:pt x="890574" y="2008864"/>
                  </a:lnTo>
                  <a:lnTo>
                    <a:pt x="879742" y="2008181"/>
                  </a:lnTo>
                  <a:lnTo>
                    <a:pt x="854691" y="2003387"/>
                  </a:lnTo>
                  <a:lnTo>
                    <a:pt x="804965" y="1995798"/>
                  </a:lnTo>
                  <a:lnTo>
                    <a:pt x="775704" y="1988275"/>
                  </a:lnTo>
                  <a:lnTo>
                    <a:pt x="756192" y="1984541"/>
                  </a:lnTo>
                  <a:lnTo>
                    <a:pt x="737119" y="1978353"/>
                  </a:lnTo>
                  <a:lnTo>
                    <a:pt x="708350" y="1970956"/>
                  </a:lnTo>
                  <a:lnTo>
                    <a:pt x="661771" y="1953908"/>
                  </a:lnTo>
                  <a:lnTo>
                    <a:pt x="638482" y="1946352"/>
                  </a:lnTo>
                  <a:lnTo>
                    <a:pt x="628869" y="1941866"/>
                  </a:lnTo>
                  <a:lnTo>
                    <a:pt x="615727" y="1937056"/>
                  </a:lnTo>
                  <a:cubicBezTo>
                    <a:pt x="585574" y="1924302"/>
                    <a:pt x="556170" y="1910123"/>
                    <a:pt x="527601" y="1894603"/>
                  </a:cubicBezTo>
                  <a:lnTo>
                    <a:pt x="516106" y="1887619"/>
                  </a:lnTo>
                  <a:lnTo>
                    <a:pt x="515830" y="1887452"/>
                  </a:lnTo>
                  <a:lnTo>
                    <a:pt x="477193" y="1863979"/>
                  </a:lnTo>
                  <a:lnTo>
                    <a:pt x="477192" y="1863980"/>
                  </a:lnTo>
                  <a:lnTo>
                    <a:pt x="444479" y="1844106"/>
                  </a:lnTo>
                  <a:lnTo>
                    <a:pt x="384485" y="1799244"/>
                  </a:lnTo>
                  <a:lnTo>
                    <a:pt x="384705" y="1798283"/>
                  </a:lnTo>
                  <a:lnTo>
                    <a:pt x="348388" y="1770443"/>
                  </a:lnTo>
                  <a:cubicBezTo>
                    <a:pt x="134989" y="1585590"/>
                    <a:pt x="0" y="1312629"/>
                    <a:pt x="0" y="1008140"/>
                  </a:cubicBezTo>
                  <a:cubicBezTo>
                    <a:pt x="0" y="451360"/>
                    <a:pt x="451360" y="0"/>
                    <a:pt x="1008140" y="0"/>
                  </a:cubicBezTo>
                  <a:close/>
                </a:path>
              </a:pathLst>
            </a:cu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Freihandform: Form 25">
            <a:extLst>
              <a:ext uri="{FF2B5EF4-FFF2-40B4-BE49-F238E27FC236}">
                <a16:creationId xmlns:a16="http://schemas.microsoft.com/office/drawing/2014/main" id="{7A02E5A4-279A-4033-8358-6BFADB1AB638}"/>
              </a:ext>
            </a:extLst>
          </p:cNvPr>
          <p:cNvSpPr/>
          <p:nvPr>
            <p:custDataLst>
              <p:tags r:id="rId34"/>
            </p:custDataLst>
          </p:nvPr>
        </p:nvSpPr>
        <p:spPr bwMode="gray">
          <a:xfrm>
            <a:off x="1015124" y="2387281"/>
            <a:ext cx="96131" cy="134790"/>
          </a:xfrm>
          <a:custGeom>
            <a:avLst/>
            <a:gdLst>
              <a:gd name="connsiteX0" fmla="*/ 107576 w 107576"/>
              <a:gd name="connsiteY0" fmla="*/ 77695 h 77695"/>
              <a:gd name="connsiteX1" fmla="*/ 0 w 107576"/>
              <a:gd name="connsiteY1" fmla="*/ 23906 h 77695"/>
              <a:gd name="connsiteX2" fmla="*/ 59764 w 107576"/>
              <a:gd name="connsiteY2" fmla="*/ 0 h 77695"/>
              <a:gd name="connsiteX3" fmla="*/ 107576 w 107576"/>
              <a:gd name="connsiteY3" fmla="*/ 77695 h 77695"/>
              <a:gd name="connsiteX0" fmla="*/ 108432 w 110006"/>
              <a:gd name="connsiteY0" fmla="*/ 79939 h 79939"/>
              <a:gd name="connsiteX1" fmla="*/ 856 w 110006"/>
              <a:gd name="connsiteY1" fmla="*/ 26150 h 79939"/>
              <a:gd name="connsiteX2" fmla="*/ 60620 w 110006"/>
              <a:gd name="connsiteY2" fmla="*/ 2244 h 79939"/>
              <a:gd name="connsiteX3" fmla="*/ 108432 w 110006"/>
              <a:gd name="connsiteY3" fmla="*/ 79939 h 79939"/>
              <a:gd name="connsiteX0" fmla="*/ 108088 w 113984"/>
              <a:gd name="connsiteY0" fmla="*/ 132236 h 132236"/>
              <a:gd name="connsiteX1" fmla="*/ 512 w 113984"/>
              <a:gd name="connsiteY1" fmla="*/ 78447 h 132236"/>
              <a:gd name="connsiteX2" fmla="*/ 97927 w 113984"/>
              <a:gd name="connsiteY2" fmla="*/ 753 h 132236"/>
              <a:gd name="connsiteX3" fmla="*/ 108088 w 113984"/>
              <a:gd name="connsiteY3" fmla="*/ 132236 h 132236"/>
              <a:gd name="connsiteX0" fmla="*/ 10161 w 16057"/>
              <a:gd name="connsiteY0" fmla="*/ 131483 h 131483"/>
              <a:gd name="connsiteX1" fmla="*/ 0 w 16057"/>
              <a:gd name="connsiteY1" fmla="*/ 0 h 131483"/>
              <a:gd name="connsiteX2" fmla="*/ 10161 w 16057"/>
              <a:gd name="connsiteY2" fmla="*/ 131483 h 131483"/>
              <a:gd name="connsiteX0" fmla="*/ 54664 w 96131"/>
              <a:gd name="connsiteY0" fmla="*/ 134790 h 134790"/>
              <a:gd name="connsiteX1" fmla="*/ 44503 w 96131"/>
              <a:gd name="connsiteY1" fmla="*/ 3307 h 134790"/>
              <a:gd name="connsiteX2" fmla="*/ 54664 w 96131"/>
              <a:gd name="connsiteY2" fmla="*/ 134790 h 134790"/>
            </a:gdLst>
            <a:ahLst/>
            <a:cxnLst>
              <a:cxn ang="0">
                <a:pos x="connsiteX0" y="connsiteY0"/>
              </a:cxn>
              <a:cxn ang="0">
                <a:pos x="connsiteX1" y="connsiteY1"/>
              </a:cxn>
              <a:cxn ang="0">
                <a:pos x="connsiteX2" y="connsiteY2"/>
              </a:cxn>
            </a:cxnLst>
            <a:rect l="l" t="t" r="r" b="b"/>
            <a:pathLst>
              <a:path w="96131" h="134790">
                <a:moveTo>
                  <a:pt x="54664" y="134790"/>
                </a:moveTo>
                <a:cubicBezTo>
                  <a:pt x="51277" y="90962"/>
                  <a:pt x="-59687" y="30999"/>
                  <a:pt x="44503" y="3307"/>
                </a:cubicBezTo>
                <a:cubicBezTo>
                  <a:pt x="148693" y="-24385"/>
                  <a:pt x="64625" y="130806"/>
                  <a:pt x="54664" y="134790"/>
                </a:cubicBezTo>
                <a:close/>
              </a:path>
            </a:pathLst>
          </a:custGeom>
          <a:noFill/>
          <a:ln w="25400" cap="rnd" cmpd="sng" algn="ctr">
            <a:solidFill>
              <a:schemeClr val="dk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Freihandform: Form 113">
            <a:extLst>
              <a:ext uri="{FF2B5EF4-FFF2-40B4-BE49-F238E27FC236}">
                <a16:creationId xmlns:a16="http://schemas.microsoft.com/office/drawing/2014/main" id="{490D3487-9CC0-4B6B-830E-B8DE316FDAD6}"/>
              </a:ext>
            </a:extLst>
          </p:cNvPr>
          <p:cNvSpPr/>
          <p:nvPr>
            <p:custDataLst>
              <p:tags r:id="rId35"/>
            </p:custDataLst>
          </p:nvPr>
        </p:nvSpPr>
        <p:spPr bwMode="gray">
          <a:xfrm rot="4711810">
            <a:off x="1100289" y="2431664"/>
            <a:ext cx="96131" cy="134790"/>
          </a:xfrm>
          <a:custGeom>
            <a:avLst/>
            <a:gdLst>
              <a:gd name="connsiteX0" fmla="*/ 107576 w 107576"/>
              <a:gd name="connsiteY0" fmla="*/ 77695 h 77695"/>
              <a:gd name="connsiteX1" fmla="*/ 0 w 107576"/>
              <a:gd name="connsiteY1" fmla="*/ 23906 h 77695"/>
              <a:gd name="connsiteX2" fmla="*/ 59764 w 107576"/>
              <a:gd name="connsiteY2" fmla="*/ 0 h 77695"/>
              <a:gd name="connsiteX3" fmla="*/ 107576 w 107576"/>
              <a:gd name="connsiteY3" fmla="*/ 77695 h 77695"/>
              <a:gd name="connsiteX0" fmla="*/ 108432 w 110006"/>
              <a:gd name="connsiteY0" fmla="*/ 79939 h 79939"/>
              <a:gd name="connsiteX1" fmla="*/ 856 w 110006"/>
              <a:gd name="connsiteY1" fmla="*/ 26150 h 79939"/>
              <a:gd name="connsiteX2" fmla="*/ 60620 w 110006"/>
              <a:gd name="connsiteY2" fmla="*/ 2244 h 79939"/>
              <a:gd name="connsiteX3" fmla="*/ 108432 w 110006"/>
              <a:gd name="connsiteY3" fmla="*/ 79939 h 79939"/>
              <a:gd name="connsiteX0" fmla="*/ 108088 w 113984"/>
              <a:gd name="connsiteY0" fmla="*/ 132236 h 132236"/>
              <a:gd name="connsiteX1" fmla="*/ 512 w 113984"/>
              <a:gd name="connsiteY1" fmla="*/ 78447 h 132236"/>
              <a:gd name="connsiteX2" fmla="*/ 97927 w 113984"/>
              <a:gd name="connsiteY2" fmla="*/ 753 h 132236"/>
              <a:gd name="connsiteX3" fmla="*/ 108088 w 113984"/>
              <a:gd name="connsiteY3" fmla="*/ 132236 h 132236"/>
              <a:gd name="connsiteX0" fmla="*/ 10161 w 16057"/>
              <a:gd name="connsiteY0" fmla="*/ 131483 h 131483"/>
              <a:gd name="connsiteX1" fmla="*/ 0 w 16057"/>
              <a:gd name="connsiteY1" fmla="*/ 0 h 131483"/>
              <a:gd name="connsiteX2" fmla="*/ 10161 w 16057"/>
              <a:gd name="connsiteY2" fmla="*/ 131483 h 131483"/>
              <a:gd name="connsiteX0" fmla="*/ 54664 w 96131"/>
              <a:gd name="connsiteY0" fmla="*/ 134790 h 134790"/>
              <a:gd name="connsiteX1" fmla="*/ 44503 w 96131"/>
              <a:gd name="connsiteY1" fmla="*/ 3307 h 134790"/>
              <a:gd name="connsiteX2" fmla="*/ 54664 w 96131"/>
              <a:gd name="connsiteY2" fmla="*/ 134790 h 134790"/>
            </a:gdLst>
            <a:ahLst/>
            <a:cxnLst>
              <a:cxn ang="0">
                <a:pos x="connsiteX0" y="connsiteY0"/>
              </a:cxn>
              <a:cxn ang="0">
                <a:pos x="connsiteX1" y="connsiteY1"/>
              </a:cxn>
              <a:cxn ang="0">
                <a:pos x="connsiteX2" y="connsiteY2"/>
              </a:cxn>
            </a:cxnLst>
            <a:rect l="l" t="t" r="r" b="b"/>
            <a:pathLst>
              <a:path w="96131" h="134790">
                <a:moveTo>
                  <a:pt x="54664" y="134790"/>
                </a:moveTo>
                <a:cubicBezTo>
                  <a:pt x="51277" y="90962"/>
                  <a:pt x="-59687" y="30999"/>
                  <a:pt x="44503" y="3307"/>
                </a:cubicBezTo>
                <a:cubicBezTo>
                  <a:pt x="148693" y="-24385"/>
                  <a:pt x="64625" y="130806"/>
                  <a:pt x="54664" y="134790"/>
                </a:cubicBezTo>
                <a:close/>
              </a:path>
            </a:pathLst>
          </a:custGeom>
          <a:noFill/>
          <a:ln w="25400" cap="rnd" cmpd="sng" algn="ctr">
            <a:solidFill>
              <a:schemeClr val="dk2"/>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uppieren 6">
            <a:extLst>
              <a:ext uri="{FF2B5EF4-FFF2-40B4-BE49-F238E27FC236}">
                <a16:creationId xmlns:a16="http://schemas.microsoft.com/office/drawing/2014/main" id="{230D8A53-DBC1-4135-9C8D-FFB32D422804}"/>
              </a:ext>
            </a:extLst>
          </p:cNvPr>
          <p:cNvGrpSpPr/>
          <p:nvPr/>
        </p:nvGrpSpPr>
        <p:grpSpPr bwMode="gray">
          <a:xfrm>
            <a:off x="6284003" y="3071316"/>
            <a:ext cx="531303" cy="206521"/>
            <a:chOff x="6262376" y="3071316"/>
            <a:chExt cx="531303" cy="206521"/>
          </a:xfrm>
        </p:grpSpPr>
        <p:sp>
          <p:nvSpPr>
            <p:cNvPr id="84" name="Contact">
              <a:extLst>
                <a:ext uri="{FF2B5EF4-FFF2-40B4-BE49-F238E27FC236}">
                  <a16:creationId xmlns:a16="http://schemas.microsoft.com/office/drawing/2014/main" id="{158B09FC-7D0E-4C6D-AEBC-3C8A4EA02193}"/>
                </a:ext>
              </a:extLst>
            </p:cNvPr>
            <p:cNvSpPr>
              <a:spLocks noChangeAspect="1"/>
            </p:cNvSpPr>
            <p:nvPr>
              <p:custDataLst>
                <p:tags r:id="rId60"/>
              </p:custDataLst>
            </p:nvPr>
          </p:nvSpPr>
          <p:spPr bwMode="gray">
            <a:xfrm>
              <a:off x="626237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85" name="Contact">
              <a:extLst>
                <a:ext uri="{FF2B5EF4-FFF2-40B4-BE49-F238E27FC236}">
                  <a16:creationId xmlns:a16="http://schemas.microsoft.com/office/drawing/2014/main" id="{830F0EBA-C92B-4154-BFC9-4D736E7E54FD}"/>
                </a:ext>
              </a:extLst>
            </p:cNvPr>
            <p:cNvSpPr>
              <a:spLocks noChangeAspect="1"/>
            </p:cNvSpPr>
            <p:nvPr>
              <p:custDataLst>
                <p:tags r:id="rId61"/>
              </p:custDataLst>
            </p:nvPr>
          </p:nvSpPr>
          <p:spPr bwMode="gray">
            <a:xfrm>
              <a:off x="644440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1" name="Contact">
              <a:extLst>
                <a:ext uri="{FF2B5EF4-FFF2-40B4-BE49-F238E27FC236}">
                  <a16:creationId xmlns:a16="http://schemas.microsoft.com/office/drawing/2014/main" id="{CDDDCF28-D5A0-4519-B1FC-1B38D4695DC9}"/>
                </a:ext>
              </a:extLst>
            </p:cNvPr>
            <p:cNvSpPr>
              <a:spLocks noChangeAspect="1"/>
            </p:cNvSpPr>
            <p:nvPr>
              <p:custDataLst>
                <p:tags r:id="rId62"/>
              </p:custDataLst>
            </p:nvPr>
          </p:nvSpPr>
          <p:spPr bwMode="gray">
            <a:xfrm>
              <a:off x="6631928"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Gruppieren 101">
            <a:extLst>
              <a:ext uri="{FF2B5EF4-FFF2-40B4-BE49-F238E27FC236}">
                <a16:creationId xmlns:a16="http://schemas.microsoft.com/office/drawing/2014/main" id="{3624035C-50E2-4B02-B4D2-C98A7078A5C5}"/>
              </a:ext>
            </a:extLst>
          </p:cNvPr>
          <p:cNvGrpSpPr/>
          <p:nvPr/>
        </p:nvGrpSpPr>
        <p:grpSpPr bwMode="gray">
          <a:xfrm>
            <a:off x="6284003" y="3297357"/>
            <a:ext cx="531303" cy="206521"/>
            <a:chOff x="6262376" y="3071316"/>
            <a:chExt cx="531303" cy="206521"/>
          </a:xfrm>
        </p:grpSpPr>
        <p:sp>
          <p:nvSpPr>
            <p:cNvPr id="103" name="Contact">
              <a:extLst>
                <a:ext uri="{FF2B5EF4-FFF2-40B4-BE49-F238E27FC236}">
                  <a16:creationId xmlns:a16="http://schemas.microsoft.com/office/drawing/2014/main" id="{6C7585C8-1CB2-43C9-9C81-B46ABF2BA03A}"/>
                </a:ext>
              </a:extLst>
            </p:cNvPr>
            <p:cNvSpPr>
              <a:spLocks noChangeAspect="1"/>
            </p:cNvSpPr>
            <p:nvPr>
              <p:custDataLst>
                <p:tags r:id="rId57"/>
              </p:custDataLst>
            </p:nvPr>
          </p:nvSpPr>
          <p:spPr bwMode="gray">
            <a:xfrm>
              <a:off x="626237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4" name="Contact">
              <a:extLst>
                <a:ext uri="{FF2B5EF4-FFF2-40B4-BE49-F238E27FC236}">
                  <a16:creationId xmlns:a16="http://schemas.microsoft.com/office/drawing/2014/main" id="{557A7AD6-27BB-4C2E-B2CF-6C8136FD2D4E}"/>
                </a:ext>
              </a:extLst>
            </p:cNvPr>
            <p:cNvSpPr>
              <a:spLocks noChangeAspect="1"/>
            </p:cNvSpPr>
            <p:nvPr>
              <p:custDataLst>
                <p:tags r:id="rId58"/>
              </p:custDataLst>
            </p:nvPr>
          </p:nvSpPr>
          <p:spPr bwMode="gray">
            <a:xfrm>
              <a:off x="644440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05" name="Contact">
              <a:extLst>
                <a:ext uri="{FF2B5EF4-FFF2-40B4-BE49-F238E27FC236}">
                  <a16:creationId xmlns:a16="http://schemas.microsoft.com/office/drawing/2014/main" id="{55D554E4-8DB1-4BF5-9789-B3C570E5AE36}"/>
                </a:ext>
              </a:extLst>
            </p:cNvPr>
            <p:cNvSpPr>
              <a:spLocks noChangeAspect="1"/>
            </p:cNvSpPr>
            <p:nvPr>
              <p:custDataLst>
                <p:tags r:id="rId59"/>
              </p:custDataLst>
            </p:nvPr>
          </p:nvSpPr>
          <p:spPr bwMode="gray">
            <a:xfrm>
              <a:off x="6631928"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07" name="Gruppieren 106">
            <a:extLst>
              <a:ext uri="{FF2B5EF4-FFF2-40B4-BE49-F238E27FC236}">
                <a16:creationId xmlns:a16="http://schemas.microsoft.com/office/drawing/2014/main" id="{5BDDC4E3-448E-48CC-8EFD-595BB36F87F9}"/>
              </a:ext>
            </a:extLst>
          </p:cNvPr>
          <p:cNvGrpSpPr/>
          <p:nvPr/>
        </p:nvGrpSpPr>
        <p:grpSpPr bwMode="gray">
          <a:xfrm>
            <a:off x="6284003" y="3526723"/>
            <a:ext cx="531303" cy="206521"/>
            <a:chOff x="6262376" y="3071316"/>
            <a:chExt cx="531303" cy="206521"/>
          </a:xfrm>
        </p:grpSpPr>
        <p:sp>
          <p:nvSpPr>
            <p:cNvPr id="111" name="Contact">
              <a:extLst>
                <a:ext uri="{FF2B5EF4-FFF2-40B4-BE49-F238E27FC236}">
                  <a16:creationId xmlns:a16="http://schemas.microsoft.com/office/drawing/2014/main" id="{5209114C-D4EC-45F4-BDD5-04ADAE4F77B1}"/>
                </a:ext>
              </a:extLst>
            </p:cNvPr>
            <p:cNvSpPr>
              <a:spLocks noChangeAspect="1"/>
            </p:cNvSpPr>
            <p:nvPr>
              <p:custDataLst>
                <p:tags r:id="rId54"/>
              </p:custDataLst>
            </p:nvPr>
          </p:nvSpPr>
          <p:spPr bwMode="gray">
            <a:xfrm>
              <a:off x="626237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2" name="Contact">
              <a:extLst>
                <a:ext uri="{FF2B5EF4-FFF2-40B4-BE49-F238E27FC236}">
                  <a16:creationId xmlns:a16="http://schemas.microsoft.com/office/drawing/2014/main" id="{A49FB8D3-8FB2-44DB-8DD7-D58301F37C3F}"/>
                </a:ext>
              </a:extLst>
            </p:cNvPr>
            <p:cNvSpPr>
              <a:spLocks noChangeAspect="1"/>
            </p:cNvSpPr>
            <p:nvPr>
              <p:custDataLst>
                <p:tags r:id="rId55"/>
              </p:custDataLst>
            </p:nvPr>
          </p:nvSpPr>
          <p:spPr bwMode="gray">
            <a:xfrm>
              <a:off x="6444406"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13" name="Contact">
              <a:extLst>
                <a:ext uri="{FF2B5EF4-FFF2-40B4-BE49-F238E27FC236}">
                  <a16:creationId xmlns:a16="http://schemas.microsoft.com/office/drawing/2014/main" id="{6B17E91F-22FA-43DE-9F18-FED6D7894D28}"/>
                </a:ext>
              </a:extLst>
            </p:cNvPr>
            <p:cNvSpPr>
              <a:spLocks noChangeAspect="1"/>
            </p:cNvSpPr>
            <p:nvPr>
              <p:custDataLst>
                <p:tags r:id="rId56"/>
              </p:custDataLst>
            </p:nvPr>
          </p:nvSpPr>
          <p:spPr bwMode="gray">
            <a:xfrm>
              <a:off x="6631928" y="3071316"/>
              <a:ext cx="161751" cy="206521"/>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w="1270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uppieren 9">
            <a:extLst>
              <a:ext uri="{FF2B5EF4-FFF2-40B4-BE49-F238E27FC236}">
                <a16:creationId xmlns:a16="http://schemas.microsoft.com/office/drawing/2014/main" id="{3DF527BC-9CFD-44AF-BA88-89059F527EE2}"/>
              </a:ext>
            </a:extLst>
          </p:cNvPr>
          <p:cNvGrpSpPr/>
          <p:nvPr/>
        </p:nvGrpSpPr>
        <p:grpSpPr bwMode="gray">
          <a:xfrm>
            <a:off x="6583368" y="3468719"/>
            <a:ext cx="468343" cy="468343"/>
            <a:chOff x="6583368" y="3468719"/>
            <a:chExt cx="468343" cy="468343"/>
          </a:xfrm>
        </p:grpSpPr>
        <p:sp>
          <p:nvSpPr>
            <p:cNvPr id="8" name="Ellipse 7">
              <a:extLst>
                <a:ext uri="{FF2B5EF4-FFF2-40B4-BE49-F238E27FC236}">
                  <a16:creationId xmlns:a16="http://schemas.microsoft.com/office/drawing/2014/main" id="{E4FC5A36-39CC-463B-A777-5B1AABE1B2F1}"/>
                </a:ext>
              </a:extLst>
            </p:cNvPr>
            <p:cNvSpPr/>
            <p:nvPr/>
          </p:nvSpPr>
          <p:spPr bwMode="gray">
            <a:xfrm>
              <a:off x="6625703" y="3508877"/>
              <a:ext cx="294533" cy="2945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5" name="Search">
              <a:extLst>
                <a:ext uri="{FF2B5EF4-FFF2-40B4-BE49-F238E27FC236}">
                  <a16:creationId xmlns:a16="http://schemas.microsoft.com/office/drawing/2014/main" id="{BEC03F03-2394-4851-8E2C-5D127F229B56}"/>
                </a:ext>
              </a:extLst>
            </p:cNvPr>
            <p:cNvGrpSpPr>
              <a:grpSpLocks noChangeAspect="1"/>
            </p:cNvGrpSpPr>
            <p:nvPr>
              <p:custDataLst>
                <p:tags r:id="rId51"/>
              </p:custDataLst>
            </p:nvPr>
          </p:nvGrpSpPr>
          <p:grpSpPr bwMode="gray">
            <a:xfrm>
              <a:off x="6583368" y="3468719"/>
              <a:ext cx="468343" cy="468343"/>
              <a:chOff x="8975725" y="3960813"/>
              <a:chExt cx="1371600" cy="1371600"/>
            </a:xfrm>
          </p:grpSpPr>
          <p:sp>
            <p:nvSpPr>
              <p:cNvPr id="116" name="Freeform 40">
                <a:extLst>
                  <a:ext uri="{FF2B5EF4-FFF2-40B4-BE49-F238E27FC236}">
                    <a16:creationId xmlns:a16="http://schemas.microsoft.com/office/drawing/2014/main" id="{86A1D483-E2DA-43AB-BBBC-EFA3916B842A}"/>
                  </a:ext>
                </a:extLst>
              </p:cNvPr>
              <p:cNvSpPr>
                <a:spLocks/>
              </p:cNvSpPr>
              <p:nvPr>
                <p:custDataLst>
                  <p:tags r:id="rId52"/>
                </p:custDataLst>
              </p:nvPr>
            </p:nvSpPr>
            <p:spPr bwMode="gray">
              <a:xfrm>
                <a:off x="9220200" y="4205288"/>
                <a:ext cx="287338" cy="287338"/>
              </a:xfrm>
              <a:custGeom>
                <a:avLst/>
                <a:gdLst>
                  <a:gd name="T0" fmla="*/ 0 w 786"/>
                  <a:gd name="T1" fmla="*/ 786 h 786"/>
                  <a:gd name="T2" fmla="*/ 350 w 786"/>
                  <a:gd name="T3" fmla="*/ 786 h 786"/>
                  <a:gd name="T4" fmla="*/ 786 w 786"/>
                  <a:gd name="T5" fmla="*/ 350 h 786"/>
                  <a:gd name="T6" fmla="*/ 786 w 786"/>
                  <a:gd name="T7" fmla="*/ 0 h 786"/>
                  <a:gd name="T8" fmla="*/ 0 w 786"/>
                  <a:gd name="T9" fmla="*/ 786 h 786"/>
                </a:gdLst>
                <a:ahLst/>
                <a:cxnLst>
                  <a:cxn ang="0">
                    <a:pos x="T0" y="T1"/>
                  </a:cxn>
                  <a:cxn ang="0">
                    <a:pos x="T2" y="T3"/>
                  </a:cxn>
                  <a:cxn ang="0">
                    <a:pos x="T4" y="T5"/>
                  </a:cxn>
                  <a:cxn ang="0">
                    <a:pos x="T6" y="T7"/>
                  </a:cxn>
                  <a:cxn ang="0">
                    <a:pos x="T8" y="T9"/>
                  </a:cxn>
                </a:cxnLst>
                <a:rect l="0" t="0" r="r" b="b"/>
                <a:pathLst>
                  <a:path w="786" h="786">
                    <a:moveTo>
                      <a:pt x="0" y="786"/>
                    </a:moveTo>
                    <a:lnTo>
                      <a:pt x="350" y="786"/>
                    </a:lnTo>
                    <a:cubicBezTo>
                      <a:pt x="350" y="546"/>
                      <a:pt x="546" y="350"/>
                      <a:pt x="786" y="350"/>
                    </a:cubicBezTo>
                    <a:lnTo>
                      <a:pt x="786" y="0"/>
                    </a:lnTo>
                    <a:cubicBezTo>
                      <a:pt x="353" y="0"/>
                      <a:pt x="0" y="353"/>
                      <a:pt x="0" y="786"/>
                    </a:cubicBez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41">
                <a:extLst>
                  <a:ext uri="{FF2B5EF4-FFF2-40B4-BE49-F238E27FC236}">
                    <a16:creationId xmlns:a16="http://schemas.microsoft.com/office/drawing/2014/main" id="{39AB6995-4ACE-4DBC-94F9-A588DCBED2D5}"/>
                  </a:ext>
                </a:extLst>
              </p:cNvPr>
              <p:cNvSpPr>
                <a:spLocks/>
              </p:cNvSpPr>
              <p:nvPr>
                <p:custDataLst>
                  <p:tags r:id="rId53"/>
                </p:custDataLst>
              </p:nvPr>
            </p:nvSpPr>
            <p:spPr bwMode="gray">
              <a:xfrm>
                <a:off x="8975725" y="3960813"/>
                <a:ext cx="1371600" cy="1371600"/>
              </a:xfrm>
              <a:custGeom>
                <a:avLst/>
                <a:gdLst>
                  <a:gd name="T0" fmla="*/ 2604 w 3760"/>
                  <a:gd name="T1" fmla="*/ 2356 h 3760"/>
                  <a:gd name="T2" fmla="*/ 2915 w 3760"/>
                  <a:gd name="T3" fmla="*/ 1457 h 3760"/>
                  <a:gd name="T4" fmla="*/ 1457 w 3760"/>
                  <a:gd name="T5" fmla="*/ 0 h 3760"/>
                  <a:gd name="T6" fmla="*/ 0 w 3760"/>
                  <a:gd name="T7" fmla="*/ 1457 h 3760"/>
                  <a:gd name="T8" fmla="*/ 1457 w 3760"/>
                  <a:gd name="T9" fmla="*/ 2915 h 3760"/>
                  <a:gd name="T10" fmla="*/ 2046 w 3760"/>
                  <a:gd name="T11" fmla="*/ 2790 h 3760"/>
                  <a:gd name="T12" fmla="*/ 1773 w 3760"/>
                  <a:gd name="T13" fmla="*/ 2518 h 3760"/>
                  <a:gd name="T14" fmla="*/ 1457 w 3760"/>
                  <a:gd name="T15" fmla="*/ 2564 h 3760"/>
                  <a:gd name="T16" fmla="*/ 351 w 3760"/>
                  <a:gd name="T17" fmla="*/ 1457 h 3760"/>
                  <a:gd name="T18" fmla="*/ 1457 w 3760"/>
                  <a:gd name="T19" fmla="*/ 351 h 3760"/>
                  <a:gd name="T20" fmla="*/ 2564 w 3760"/>
                  <a:gd name="T21" fmla="*/ 1457 h 3760"/>
                  <a:gd name="T22" fmla="*/ 2105 w 3760"/>
                  <a:gd name="T23" fmla="*/ 2354 h 3760"/>
                  <a:gd name="T24" fmla="*/ 3512 w 3760"/>
                  <a:gd name="T25" fmla="*/ 3760 h 3760"/>
                  <a:gd name="T26" fmla="*/ 3760 w 3760"/>
                  <a:gd name="T27" fmla="*/ 3512 h 3760"/>
                  <a:gd name="T28" fmla="*/ 2604 w 3760"/>
                  <a:gd name="T29" fmla="*/ 2356 h 3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60" h="3760">
                    <a:moveTo>
                      <a:pt x="2604" y="2356"/>
                    </a:moveTo>
                    <a:cubicBezTo>
                      <a:pt x="2798" y="2108"/>
                      <a:pt x="2915" y="1797"/>
                      <a:pt x="2915" y="1457"/>
                    </a:cubicBezTo>
                    <a:cubicBezTo>
                      <a:pt x="2915" y="652"/>
                      <a:pt x="2262" y="0"/>
                      <a:pt x="1457" y="0"/>
                    </a:cubicBezTo>
                    <a:cubicBezTo>
                      <a:pt x="652" y="0"/>
                      <a:pt x="0" y="652"/>
                      <a:pt x="0" y="1457"/>
                    </a:cubicBezTo>
                    <a:cubicBezTo>
                      <a:pt x="0" y="2262"/>
                      <a:pt x="652" y="2915"/>
                      <a:pt x="1457" y="2915"/>
                    </a:cubicBezTo>
                    <a:cubicBezTo>
                      <a:pt x="1667" y="2915"/>
                      <a:pt x="1866" y="2870"/>
                      <a:pt x="2046" y="2790"/>
                    </a:cubicBezTo>
                    <a:lnTo>
                      <a:pt x="1773" y="2518"/>
                    </a:lnTo>
                    <a:cubicBezTo>
                      <a:pt x="1673" y="2548"/>
                      <a:pt x="1567" y="2564"/>
                      <a:pt x="1457" y="2564"/>
                    </a:cubicBezTo>
                    <a:cubicBezTo>
                      <a:pt x="847" y="2564"/>
                      <a:pt x="351" y="2068"/>
                      <a:pt x="351" y="1457"/>
                    </a:cubicBezTo>
                    <a:cubicBezTo>
                      <a:pt x="351" y="847"/>
                      <a:pt x="847" y="351"/>
                      <a:pt x="1457" y="351"/>
                    </a:cubicBezTo>
                    <a:cubicBezTo>
                      <a:pt x="2068" y="351"/>
                      <a:pt x="2564" y="847"/>
                      <a:pt x="2564" y="1457"/>
                    </a:cubicBezTo>
                    <a:cubicBezTo>
                      <a:pt x="2564" y="1826"/>
                      <a:pt x="2383" y="2153"/>
                      <a:pt x="2105" y="2354"/>
                    </a:cubicBezTo>
                    <a:lnTo>
                      <a:pt x="3512" y="3760"/>
                    </a:lnTo>
                    <a:lnTo>
                      <a:pt x="3760" y="3512"/>
                    </a:lnTo>
                    <a:lnTo>
                      <a:pt x="2604" y="2356"/>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18" name="Contact">
            <a:extLst>
              <a:ext uri="{FF2B5EF4-FFF2-40B4-BE49-F238E27FC236}">
                <a16:creationId xmlns:a16="http://schemas.microsoft.com/office/drawing/2014/main" id="{71DF418E-5FDE-4115-940E-C127989A4CF2}"/>
              </a:ext>
            </a:extLst>
          </p:cNvPr>
          <p:cNvSpPr>
            <a:spLocks noChangeAspect="1"/>
          </p:cNvSpPr>
          <p:nvPr>
            <p:custDataLst>
              <p:tags r:id="rId36"/>
            </p:custDataLst>
          </p:nvPr>
        </p:nvSpPr>
        <p:spPr bwMode="gray">
          <a:xfrm>
            <a:off x="9271538" y="3227001"/>
            <a:ext cx="305640" cy="390238"/>
          </a:xfrm>
          <a:custGeom>
            <a:avLst/>
            <a:gdLst>
              <a:gd name="T0" fmla="*/ 3858 w 3920"/>
              <a:gd name="T1" fmla="*/ 4070 h 5000"/>
              <a:gd name="T2" fmla="*/ 3484 w 3920"/>
              <a:gd name="T3" fmla="*/ 3627 h 5000"/>
              <a:gd name="T4" fmla="*/ 2697 w 3920"/>
              <a:gd name="T5" fmla="*/ 3106 h 5000"/>
              <a:gd name="T6" fmla="*/ 2969 w 3920"/>
              <a:gd name="T7" fmla="*/ 2280 h 5000"/>
              <a:gd name="T8" fmla="*/ 3103 w 3920"/>
              <a:gd name="T9" fmla="*/ 1957 h 5000"/>
              <a:gd name="T10" fmla="*/ 3022 w 3920"/>
              <a:gd name="T11" fmla="*/ 1361 h 5000"/>
              <a:gd name="T12" fmla="*/ 2946 w 3920"/>
              <a:gd name="T13" fmla="*/ 518 h 5000"/>
              <a:gd name="T14" fmla="*/ 1960 w 3920"/>
              <a:gd name="T15" fmla="*/ 0 h 5000"/>
              <a:gd name="T16" fmla="*/ 893 w 3920"/>
              <a:gd name="T17" fmla="*/ 950 h 5000"/>
              <a:gd name="T18" fmla="*/ 811 w 3920"/>
              <a:gd name="T19" fmla="*/ 1617 h 5000"/>
              <a:gd name="T20" fmla="*/ 943 w 3920"/>
              <a:gd name="T21" fmla="*/ 2271 h 5000"/>
              <a:gd name="T22" fmla="*/ 1217 w 3920"/>
              <a:gd name="T23" fmla="*/ 3106 h 5000"/>
              <a:gd name="T24" fmla="*/ 430 w 3920"/>
              <a:gd name="T25" fmla="*/ 3627 h 5000"/>
              <a:gd name="T26" fmla="*/ 395 w 3920"/>
              <a:gd name="T27" fmla="*/ 4173 h 5000"/>
              <a:gd name="T28" fmla="*/ 1322 w 3920"/>
              <a:gd name="T29" fmla="*/ 3536 h 5000"/>
              <a:gd name="T30" fmla="*/ 1567 w 3920"/>
              <a:gd name="T31" fmla="*/ 2733 h 5000"/>
              <a:gd name="T32" fmla="*/ 1269 w 3920"/>
              <a:gd name="T33" fmla="*/ 2126 h 5000"/>
              <a:gd name="T34" fmla="*/ 1194 w 3920"/>
              <a:gd name="T35" fmla="*/ 2013 h 5000"/>
              <a:gd name="T36" fmla="*/ 1162 w 3920"/>
              <a:gd name="T37" fmla="*/ 1617 h 5000"/>
              <a:gd name="T38" fmla="*/ 1243 w 3920"/>
              <a:gd name="T39" fmla="*/ 1511 h 5000"/>
              <a:gd name="T40" fmla="*/ 1349 w 3920"/>
              <a:gd name="T41" fmla="*/ 571 h 5000"/>
              <a:gd name="T42" fmla="*/ 1960 w 3920"/>
              <a:gd name="T43" fmla="*/ 364 h 5000"/>
              <a:gd name="T44" fmla="*/ 2565 w 3920"/>
              <a:gd name="T45" fmla="*/ 571 h 5000"/>
              <a:gd name="T46" fmla="*/ 2672 w 3920"/>
              <a:gd name="T47" fmla="*/ 1511 h 5000"/>
              <a:gd name="T48" fmla="*/ 2753 w 3920"/>
              <a:gd name="T49" fmla="*/ 1617 h 5000"/>
              <a:gd name="T50" fmla="*/ 2721 w 3920"/>
              <a:gd name="T51" fmla="*/ 2013 h 5000"/>
              <a:gd name="T52" fmla="*/ 2645 w 3920"/>
              <a:gd name="T53" fmla="*/ 2126 h 5000"/>
              <a:gd name="T54" fmla="*/ 2347 w 3920"/>
              <a:gd name="T55" fmla="*/ 2733 h 5000"/>
              <a:gd name="T56" fmla="*/ 2347 w 3920"/>
              <a:gd name="T57" fmla="*/ 3109 h 5000"/>
              <a:gd name="T58" fmla="*/ 3316 w 3920"/>
              <a:gd name="T59" fmla="*/ 3949 h 5000"/>
              <a:gd name="T60" fmla="*/ 3520 w 3920"/>
              <a:gd name="T61" fmla="*/ 4175 h 5000"/>
              <a:gd name="T62" fmla="*/ 3570 w 3920"/>
              <a:gd name="T63" fmla="*/ 4496 h 5000"/>
              <a:gd name="T64" fmla="*/ 1973 w 3920"/>
              <a:gd name="T65" fmla="*/ 4527 h 5000"/>
              <a:gd name="T66" fmla="*/ 839 w 3920"/>
              <a:gd name="T67" fmla="*/ 4619 h 5000"/>
              <a:gd name="T68" fmla="*/ 0 w 3920"/>
              <a:gd name="T69" fmla="*/ 4819 h 5000"/>
              <a:gd name="T70" fmla="*/ 1146 w 3920"/>
              <a:gd name="T71" fmla="*/ 5000 h 5000"/>
              <a:gd name="T72" fmla="*/ 2837 w 3920"/>
              <a:gd name="T73" fmla="*/ 4778 h 5000"/>
              <a:gd name="T74" fmla="*/ 3920 w 3920"/>
              <a:gd name="T75" fmla="*/ 4956 h 5000"/>
              <a:gd name="T76" fmla="*/ 3859 w 3920"/>
              <a:gd name="T77" fmla="*/ 4072 h 5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20" h="5000">
                <a:moveTo>
                  <a:pt x="3859" y="4072"/>
                </a:moveTo>
                <a:cubicBezTo>
                  <a:pt x="3859" y="4072"/>
                  <a:pt x="3858" y="4071"/>
                  <a:pt x="3858" y="4070"/>
                </a:cubicBezTo>
                <a:cubicBezTo>
                  <a:pt x="3853" y="4058"/>
                  <a:pt x="3848" y="4046"/>
                  <a:pt x="3842" y="4033"/>
                </a:cubicBezTo>
                <a:cubicBezTo>
                  <a:pt x="3770" y="3863"/>
                  <a:pt x="3646" y="3719"/>
                  <a:pt x="3484" y="3627"/>
                </a:cubicBezTo>
                <a:lnTo>
                  <a:pt x="2760" y="3216"/>
                </a:lnTo>
                <a:cubicBezTo>
                  <a:pt x="2721" y="3194"/>
                  <a:pt x="2697" y="3152"/>
                  <a:pt x="2697" y="3106"/>
                </a:cubicBezTo>
                <a:lnTo>
                  <a:pt x="2697" y="2859"/>
                </a:lnTo>
                <a:cubicBezTo>
                  <a:pt x="2764" y="2764"/>
                  <a:pt x="2895" y="2552"/>
                  <a:pt x="2969" y="2280"/>
                </a:cubicBezTo>
                <a:cubicBezTo>
                  <a:pt x="2969" y="2280"/>
                  <a:pt x="2971" y="2274"/>
                  <a:pt x="2971" y="2273"/>
                </a:cubicBezTo>
                <a:cubicBezTo>
                  <a:pt x="3055" y="2191"/>
                  <a:pt x="3103" y="2078"/>
                  <a:pt x="3103" y="1957"/>
                </a:cubicBezTo>
                <a:lnTo>
                  <a:pt x="3103" y="1617"/>
                </a:lnTo>
                <a:cubicBezTo>
                  <a:pt x="3103" y="1524"/>
                  <a:pt x="3074" y="1435"/>
                  <a:pt x="3022" y="1361"/>
                </a:cubicBezTo>
                <a:cubicBezTo>
                  <a:pt x="3022" y="1361"/>
                  <a:pt x="3024" y="917"/>
                  <a:pt x="3024" y="889"/>
                </a:cubicBezTo>
                <a:cubicBezTo>
                  <a:pt x="3024" y="762"/>
                  <a:pt x="2998" y="634"/>
                  <a:pt x="2946" y="518"/>
                </a:cubicBezTo>
                <a:cubicBezTo>
                  <a:pt x="2917" y="454"/>
                  <a:pt x="2880" y="385"/>
                  <a:pt x="2835" y="331"/>
                </a:cubicBezTo>
                <a:cubicBezTo>
                  <a:pt x="2649" y="111"/>
                  <a:pt x="2355" y="0"/>
                  <a:pt x="1960" y="0"/>
                </a:cubicBezTo>
                <a:cubicBezTo>
                  <a:pt x="1565" y="0"/>
                  <a:pt x="1271" y="111"/>
                  <a:pt x="1085" y="331"/>
                </a:cubicBezTo>
                <a:cubicBezTo>
                  <a:pt x="876" y="579"/>
                  <a:pt x="886" y="879"/>
                  <a:pt x="893" y="950"/>
                </a:cubicBezTo>
                <a:lnTo>
                  <a:pt x="893" y="1361"/>
                </a:lnTo>
                <a:cubicBezTo>
                  <a:pt x="840" y="1435"/>
                  <a:pt x="811" y="1525"/>
                  <a:pt x="811" y="1617"/>
                </a:cubicBezTo>
                <a:lnTo>
                  <a:pt x="811" y="1954"/>
                </a:lnTo>
                <a:cubicBezTo>
                  <a:pt x="811" y="2076"/>
                  <a:pt x="860" y="2189"/>
                  <a:pt x="943" y="2271"/>
                </a:cubicBezTo>
                <a:cubicBezTo>
                  <a:pt x="1016" y="2548"/>
                  <a:pt x="1150" y="2763"/>
                  <a:pt x="1217" y="2860"/>
                </a:cubicBezTo>
                <a:lnTo>
                  <a:pt x="1217" y="3106"/>
                </a:lnTo>
                <a:cubicBezTo>
                  <a:pt x="1217" y="3152"/>
                  <a:pt x="1193" y="3194"/>
                  <a:pt x="1154" y="3216"/>
                </a:cubicBezTo>
                <a:lnTo>
                  <a:pt x="430" y="3627"/>
                </a:lnTo>
                <a:cubicBezTo>
                  <a:pt x="256" y="3726"/>
                  <a:pt x="125" y="3885"/>
                  <a:pt x="56" y="4072"/>
                </a:cubicBezTo>
                <a:cubicBezTo>
                  <a:pt x="68" y="4077"/>
                  <a:pt x="203" y="4125"/>
                  <a:pt x="395" y="4173"/>
                </a:cubicBezTo>
                <a:cubicBezTo>
                  <a:pt x="437" y="4079"/>
                  <a:pt x="507" y="3999"/>
                  <a:pt x="598" y="3947"/>
                </a:cubicBezTo>
                <a:lnTo>
                  <a:pt x="1322" y="3536"/>
                </a:lnTo>
                <a:cubicBezTo>
                  <a:pt x="1473" y="3451"/>
                  <a:pt x="1567" y="3286"/>
                  <a:pt x="1567" y="3106"/>
                </a:cubicBezTo>
                <a:lnTo>
                  <a:pt x="1567" y="2733"/>
                </a:lnTo>
                <a:lnTo>
                  <a:pt x="1527" y="2681"/>
                </a:lnTo>
                <a:cubicBezTo>
                  <a:pt x="1525" y="2679"/>
                  <a:pt x="1339" y="2442"/>
                  <a:pt x="1269" y="2126"/>
                </a:cubicBezTo>
                <a:lnTo>
                  <a:pt x="1253" y="2054"/>
                </a:lnTo>
                <a:lnTo>
                  <a:pt x="1194" y="2013"/>
                </a:lnTo>
                <a:cubicBezTo>
                  <a:pt x="1174" y="2000"/>
                  <a:pt x="1162" y="1978"/>
                  <a:pt x="1162" y="1954"/>
                </a:cubicBezTo>
                <a:lnTo>
                  <a:pt x="1162" y="1617"/>
                </a:lnTo>
                <a:cubicBezTo>
                  <a:pt x="1162" y="1591"/>
                  <a:pt x="1176" y="1573"/>
                  <a:pt x="1185" y="1565"/>
                </a:cubicBezTo>
                <a:lnTo>
                  <a:pt x="1243" y="1511"/>
                </a:lnTo>
                <a:lnTo>
                  <a:pt x="1241" y="918"/>
                </a:lnTo>
                <a:cubicBezTo>
                  <a:pt x="1241" y="916"/>
                  <a:pt x="1221" y="724"/>
                  <a:pt x="1349" y="571"/>
                </a:cubicBezTo>
                <a:cubicBezTo>
                  <a:pt x="1464" y="435"/>
                  <a:pt x="1668" y="366"/>
                  <a:pt x="1954" y="365"/>
                </a:cubicBezTo>
                <a:cubicBezTo>
                  <a:pt x="1956" y="365"/>
                  <a:pt x="1958" y="364"/>
                  <a:pt x="1960" y="364"/>
                </a:cubicBezTo>
                <a:cubicBezTo>
                  <a:pt x="2103" y="364"/>
                  <a:pt x="2253" y="382"/>
                  <a:pt x="2385" y="441"/>
                </a:cubicBezTo>
                <a:cubicBezTo>
                  <a:pt x="2458" y="474"/>
                  <a:pt x="2519" y="517"/>
                  <a:pt x="2565" y="571"/>
                </a:cubicBezTo>
                <a:cubicBezTo>
                  <a:pt x="2693" y="723"/>
                  <a:pt x="2673" y="916"/>
                  <a:pt x="2673" y="918"/>
                </a:cubicBezTo>
                <a:lnTo>
                  <a:pt x="2672" y="1511"/>
                </a:lnTo>
                <a:lnTo>
                  <a:pt x="2730" y="1565"/>
                </a:lnTo>
                <a:cubicBezTo>
                  <a:pt x="2738" y="1573"/>
                  <a:pt x="2753" y="1591"/>
                  <a:pt x="2753" y="1617"/>
                </a:cubicBezTo>
                <a:lnTo>
                  <a:pt x="2753" y="1954"/>
                </a:lnTo>
                <a:cubicBezTo>
                  <a:pt x="2753" y="1978"/>
                  <a:pt x="2741" y="2000"/>
                  <a:pt x="2721" y="2013"/>
                </a:cubicBezTo>
                <a:lnTo>
                  <a:pt x="2661" y="2054"/>
                </a:lnTo>
                <a:lnTo>
                  <a:pt x="2645" y="2126"/>
                </a:lnTo>
                <a:cubicBezTo>
                  <a:pt x="2575" y="2442"/>
                  <a:pt x="2390" y="2679"/>
                  <a:pt x="2388" y="2681"/>
                </a:cubicBezTo>
                <a:lnTo>
                  <a:pt x="2347" y="2733"/>
                </a:lnTo>
                <a:lnTo>
                  <a:pt x="2347" y="3106"/>
                </a:lnTo>
                <a:lnTo>
                  <a:pt x="2347" y="3109"/>
                </a:lnTo>
                <a:cubicBezTo>
                  <a:pt x="2347" y="3288"/>
                  <a:pt x="2441" y="3453"/>
                  <a:pt x="2593" y="3539"/>
                </a:cubicBezTo>
                <a:lnTo>
                  <a:pt x="3316" y="3949"/>
                </a:lnTo>
                <a:cubicBezTo>
                  <a:pt x="3399" y="3996"/>
                  <a:pt x="3464" y="4067"/>
                  <a:pt x="3507" y="4150"/>
                </a:cubicBezTo>
                <a:cubicBezTo>
                  <a:pt x="3512" y="4159"/>
                  <a:pt x="3516" y="4167"/>
                  <a:pt x="3520" y="4175"/>
                </a:cubicBezTo>
                <a:cubicBezTo>
                  <a:pt x="3552" y="4243"/>
                  <a:pt x="3570" y="4318"/>
                  <a:pt x="3570" y="4398"/>
                </a:cubicBezTo>
                <a:lnTo>
                  <a:pt x="3570" y="4496"/>
                </a:lnTo>
                <a:cubicBezTo>
                  <a:pt x="3396" y="4461"/>
                  <a:pt x="3111" y="4414"/>
                  <a:pt x="2837" y="4414"/>
                </a:cubicBezTo>
                <a:cubicBezTo>
                  <a:pt x="2416" y="4414"/>
                  <a:pt x="1991" y="4522"/>
                  <a:pt x="1973" y="4527"/>
                </a:cubicBezTo>
                <a:cubicBezTo>
                  <a:pt x="1956" y="4532"/>
                  <a:pt x="1555" y="4636"/>
                  <a:pt x="1146" y="4636"/>
                </a:cubicBezTo>
                <a:cubicBezTo>
                  <a:pt x="1041" y="4636"/>
                  <a:pt x="839" y="4619"/>
                  <a:pt x="839" y="4619"/>
                </a:cubicBezTo>
                <a:cubicBezTo>
                  <a:pt x="480" y="4586"/>
                  <a:pt x="136" y="4482"/>
                  <a:pt x="0" y="4437"/>
                </a:cubicBezTo>
                <a:lnTo>
                  <a:pt x="0" y="4819"/>
                </a:lnTo>
                <a:lnTo>
                  <a:pt x="233" y="4880"/>
                </a:lnTo>
                <a:cubicBezTo>
                  <a:pt x="251" y="4885"/>
                  <a:pt x="692" y="5000"/>
                  <a:pt x="1146" y="5000"/>
                </a:cubicBezTo>
                <a:cubicBezTo>
                  <a:pt x="1591" y="5000"/>
                  <a:pt x="2012" y="4893"/>
                  <a:pt x="2058" y="4881"/>
                </a:cubicBezTo>
                <a:cubicBezTo>
                  <a:pt x="2062" y="4880"/>
                  <a:pt x="2459" y="4778"/>
                  <a:pt x="2837" y="4778"/>
                </a:cubicBezTo>
                <a:cubicBezTo>
                  <a:pt x="3214" y="4778"/>
                  <a:pt x="3631" y="4882"/>
                  <a:pt x="3648" y="4886"/>
                </a:cubicBezTo>
                <a:lnTo>
                  <a:pt x="3920" y="4956"/>
                </a:lnTo>
                <a:lnTo>
                  <a:pt x="3920" y="4398"/>
                </a:lnTo>
                <a:cubicBezTo>
                  <a:pt x="3920" y="4283"/>
                  <a:pt x="3898" y="4173"/>
                  <a:pt x="3859" y="4072"/>
                </a:cubicBez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Phone">
            <a:extLst>
              <a:ext uri="{FF2B5EF4-FFF2-40B4-BE49-F238E27FC236}">
                <a16:creationId xmlns:a16="http://schemas.microsoft.com/office/drawing/2014/main" id="{E74E8889-5F50-447B-B929-ED43BA8A7E86}"/>
              </a:ext>
            </a:extLst>
          </p:cNvPr>
          <p:cNvSpPr>
            <a:spLocks noChangeAspect="1"/>
          </p:cNvSpPr>
          <p:nvPr>
            <p:custDataLst>
              <p:tags r:id="rId37"/>
            </p:custDataLst>
          </p:nvPr>
        </p:nvSpPr>
        <p:spPr bwMode="gray">
          <a:xfrm>
            <a:off x="9567734" y="3190117"/>
            <a:ext cx="140122" cy="198153"/>
          </a:xfrm>
          <a:custGeom>
            <a:avLst/>
            <a:gdLst>
              <a:gd name="T0" fmla="*/ 2813 w 3470"/>
              <a:gd name="T1" fmla="*/ 2639 h 4915"/>
              <a:gd name="T2" fmla="*/ 2162 w 3470"/>
              <a:gd name="T3" fmla="*/ 2976 h 4915"/>
              <a:gd name="T4" fmla="*/ 1606 w 3470"/>
              <a:gd name="T5" fmla="*/ 1707 h 4915"/>
              <a:gd name="T6" fmla="*/ 2274 w 3470"/>
              <a:gd name="T7" fmla="*/ 1393 h 4915"/>
              <a:gd name="T8" fmla="*/ 1623 w 3470"/>
              <a:gd name="T9" fmla="*/ 0 h 4915"/>
              <a:gd name="T10" fmla="*/ 606 w 3470"/>
              <a:gd name="T11" fmla="*/ 474 h 4915"/>
              <a:gd name="T12" fmla="*/ 581 w 3470"/>
              <a:gd name="T13" fmla="*/ 525 h 4915"/>
              <a:gd name="T14" fmla="*/ 1164 w 3470"/>
              <a:gd name="T15" fmla="*/ 3481 h 4915"/>
              <a:gd name="T16" fmla="*/ 977 w 3470"/>
              <a:gd name="T17" fmla="*/ 3645 h 4915"/>
              <a:gd name="T18" fmla="*/ 666 w 3470"/>
              <a:gd name="T19" fmla="*/ 4017 h 4915"/>
              <a:gd name="T20" fmla="*/ 396 w 3470"/>
              <a:gd name="T21" fmla="*/ 4341 h 4915"/>
              <a:gd name="T22" fmla="*/ 68 w 3470"/>
              <a:gd name="T23" fmla="*/ 4605 h 4915"/>
              <a:gd name="T24" fmla="*/ 0 w 3470"/>
              <a:gd name="T25" fmla="*/ 4649 h 4915"/>
              <a:gd name="T26" fmla="*/ 171 w 3470"/>
              <a:gd name="T27" fmla="*/ 4915 h 4915"/>
              <a:gd name="T28" fmla="*/ 239 w 3470"/>
              <a:gd name="T29" fmla="*/ 4871 h 4915"/>
              <a:gd name="T30" fmla="*/ 616 w 3470"/>
              <a:gd name="T31" fmla="*/ 4568 h 4915"/>
              <a:gd name="T32" fmla="*/ 926 w 3470"/>
              <a:gd name="T33" fmla="*/ 4196 h 4915"/>
              <a:gd name="T34" fmla="*/ 1196 w 3470"/>
              <a:gd name="T35" fmla="*/ 3872 h 4915"/>
              <a:gd name="T36" fmla="*/ 1525 w 3470"/>
              <a:gd name="T37" fmla="*/ 3608 h 4915"/>
              <a:gd name="T38" fmla="*/ 1595 w 3470"/>
              <a:gd name="T39" fmla="*/ 3558 h 4915"/>
              <a:gd name="T40" fmla="*/ 1549 w 3470"/>
              <a:gd name="T41" fmla="*/ 3491 h 4915"/>
              <a:gd name="T42" fmla="*/ 847 w 3470"/>
              <a:gd name="T43" fmla="*/ 710 h 4915"/>
              <a:gd name="T44" fmla="*/ 1471 w 3470"/>
              <a:gd name="T45" fmla="*/ 420 h 4915"/>
              <a:gd name="T46" fmla="*/ 1855 w 3470"/>
              <a:gd name="T47" fmla="*/ 1240 h 4915"/>
              <a:gd name="T48" fmla="*/ 1242 w 3470"/>
              <a:gd name="T49" fmla="*/ 1528 h 4915"/>
              <a:gd name="T50" fmla="*/ 1269 w 3470"/>
              <a:gd name="T51" fmla="*/ 1652 h 4915"/>
              <a:gd name="T52" fmla="*/ 2037 w 3470"/>
              <a:gd name="T53" fmla="*/ 3301 h 4915"/>
              <a:gd name="T54" fmla="*/ 2049 w 3470"/>
              <a:gd name="T55" fmla="*/ 3315 h 4915"/>
              <a:gd name="T56" fmla="*/ 2065 w 3470"/>
              <a:gd name="T57" fmla="*/ 3333 h 4915"/>
              <a:gd name="T58" fmla="*/ 2096 w 3470"/>
              <a:gd name="T59" fmla="*/ 3366 h 4915"/>
              <a:gd name="T60" fmla="*/ 2668 w 3470"/>
              <a:gd name="T61" fmla="*/ 3070 h 4915"/>
              <a:gd name="T62" fmla="*/ 3052 w 3470"/>
              <a:gd name="T63" fmla="*/ 3886 h 4915"/>
              <a:gd name="T64" fmla="*/ 2432 w 3470"/>
              <a:gd name="T65" fmla="*/ 4188 h 4915"/>
              <a:gd name="T66" fmla="*/ 1827 w 3470"/>
              <a:gd name="T67" fmla="*/ 3812 h 4915"/>
              <a:gd name="T68" fmla="*/ 1765 w 3470"/>
              <a:gd name="T69" fmla="*/ 3857 h 4915"/>
              <a:gd name="T70" fmla="*/ 1567 w 3470"/>
              <a:gd name="T71" fmla="*/ 4004 h 4915"/>
              <a:gd name="T72" fmla="*/ 2408 w 3470"/>
              <a:gd name="T73" fmla="*/ 4513 h 4915"/>
              <a:gd name="T74" fmla="*/ 2463 w 3470"/>
              <a:gd name="T75" fmla="*/ 4525 h 4915"/>
              <a:gd name="T76" fmla="*/ 3470 w 3470"/>
              <a:gd name="T77" fmla="*/ 4034 h 4915"/>
              <a:gd name="T78" fmla="*/ 2813 w 3470"/>
              <a:gd name="T79" fmla="*/ 2639 h 4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70" h="4915">
                <a:moveTo>
                  <a:pt x="2813" y="2639"/>
                </a:moveTo>
                <a:lnTo>
                  <a:pt x="2162" y="2976"/>
                </a:lnTo>
                <a:cubicBezTo>
                  <a:pt x="2028" y="2783"/>
                  <a:pt x="1766" y="2347"/>
                  <a:pt x="1606" y="1707"/>
                </a:cubicBezTo>
                <a:lnTo>
                  <a:pt x="2274" y="1393"/>
                </a:lnTo>
                <a:lnTo>
                  <a:pt x="1623" y="0"/>
                </a:lnTo>
                <a:lnTo>
                  <a:pt x="606" y="474"/>
                </a:lnTo>
                <a:lnTo>
                  <a:pt x="581" y="525"/>
                </a:lnTo>
                <a:cubicBezTo>
                  <a:pt x="559" y="573"/>
                  <a:pt x="42" y="1714"/>
                  <a:pt x="1164" y="3481"/>
                </a:cubicBezTo>
                <a:cubicBezTo>
                  <a:pt x="1095" y="3536"/>
                  <a:pt x="1032" y="3591"/>
                  <a:pt x="977" y="3645"/>
                </a:cubicBezTo>
                <a:cubicBezTo>
                  <a:pt x="805" y="3813"/>
                  <a:pt x="672" y="4009"/>
                  <a:pt x="666" y="4017"/>
                </a:cubicBezTo>
                <a:cubicBezTo>
                  <a:pt x="665" y="4019"/>
                  <a:pt x="543" y="4197"/>
                  <a:pt x="396" y="4341"/>
                </a:cubicBezTo>
                <a:cubicBezTo>
                  <a:pt x="252" y="4483"/>
                  <a:pt x="75" y="4600"/>
                  <a:pt x="68" y="4605"/>
                </a:cubicBezTo>
                <a:lnTo>
                  <a:pt x="0" y="4649"/>
                </a:lnTo>
                <a:lnTo>
                  <a:pt x="171" y="4915"/>
                </a:lnTo>
                <a:lnTo>
                  <a:pt x="239" y="4871"/>
                </a:lnTo>
                <a:cubicBezTo>
                  <a:pt x="260" y="4857"/>
                  <a:pt x="451" y="4730"/>
                  <a:pt x="616" y="4568"/>
                </a:cubicBezTo>
                <a:cubicBezTo>
                  <a:pt x="784" y="4403"/>
                  <a:pt x="920" y="4205"/>
                  <a:pt x="926" y="4196"/>
                </a:cubicBezTo>
                <a:cubicBezTo>
                  <a:pt x="931" y="4189"/>
                  <a:pt x="1052" y="4014"/>
                  <a:pt x="1196" y="3872"/>
                </a:cubicBezTo>
                <a:cubicBezTo>
                  <a:pt x="1342" y="3729"/>
                  <a:pt x="1523" y="3609"/>
                  <a:pt x="1525" y="3608"/>
                </a:cubicBezTo>
                <a:lnTo>
                  <a:pt x="1595" y="3558"/>
                </a:lnTo>
                <a:lnTo>
                  <a:pt x="1549" y="3491"/>
                </a:lnTo>
                <a:cubicBezTo>
                  <a:pt x="517" y="1986"/>
                  <a:pt x="764" y="955"/>
                  <a:pt x="847" y="710"/>
                </a:cubicBezTo>
                <a:lnTo>
                  <a:pt x="1471" y="420"/>
                </a:lnTo>
                <a:lnTo>
                  <a:pt x="1855" y="1240"/>
                </a:lnTo>
                <a:lnTo>
                  <a:pt x="1242" y="1528"/>
                </a:lnTo>
                <a:lnTo>
                  <a:pt x="1269" y="1652"/>
                </a:lnTo>
                <a:cubicBezTo>
                  <a:pt x="1477" y="2595"/>
                  <a:pt x="1921" y="3164"/>
                  <a:pt x="2037" y="3301"/>
                </a:cubicBezTo>
                <a:cubicBezTo>
                  <a:pt x="2043" y="3308"/>
                  <a:pt x="2047" y="3313"/>
                  <a:pt x="2049" y="3315"/>
                </a:cubicBezTo>
                <a:cubicBezTo>
                  <a:pt x="2058" y="3325"/>
                  <a:pt x="2063" y="3331"/>
                  <a:pt x="2065" y="3333"/>
                </a:cubicBezTo>
                <a:lnTo>
                  <a:pt x="2096" y="3366"/>
                </a:lnTo>
                <a:lnTo>
                  <a:pt x="2668" y="3070"/>
                </a:lnTo>
                <a:lnTo>
                  <a:pt x="3052" y="3886"/>
                </a:lnTo>
                <a:lnTo>
                  <a:pt x="2432" y="4188"/>
                </a:lnTo>
                <a:cubicBezTo>
                  <a:pt x="2335" y="4154"/>
                  <a:pt x="2100" y="4052"/>
                  <a:pt x="1827" y="3812"/>
                </a:cubicBezTo>
                <a:lnTo>
                  <a:pt x="1765" y="3857"/>
                </a:lnTo>
                <a:cubicBezTo>
                  <a:pt x="1763" y="3858"/>
                  <a:pt x="1672" y="3918"/>
                  <a:pt x="1567" y="4004"/>
                </a:cubicBezTo>
                <a:cubicBezTo>
                  <a:pt x="2012" y="4416"/>
                  <a:pt x="2392" y="4509"/>
                  <a:pt x="2408" y="4513"/>
                </a:cubicBezTo>
                <a:lnTo>
                  <a:pt x="2463" y="4525"/>
                </a:lnTo>
                <a:lnTo>
                  <a:pt x="3470" y="4034"/>
                </a:lnTo>
                <a:lnTo>
                  <a:pt x="2813" y="2639"/>
                </a:lnTo>
                <a:close/>
              </a:path>
            </a:pathLst>
          </a:custGeom>
          <a:solidFill>
            <a:srgbClr val="0071B9"/>
          </a:solidFill>
          <a:ln w="6350">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1" name="Share">
            <a:extLst>
              <a:ext uri="{FF2B5EF4-FFF2-40B4-BE49-F238E27FC236}">
                <a16:creationId xmlns:a16="http://schemas.microsoft.com/office/drawing/2014/main" id="{CFD757D5-947A-4CFD-B99F-2ABB4EE17DF0}"/>
              </a:ext>
            </a:extLst>
          </p:cNvPr>
          <p:cNvSpPr>
            <a:spLocks noChangeAspect="1" noEditPoints="1"/>
          </p:cNvSpPr>
          <p:nvPr>
            <p:custDataLst>
              <p:tags r:id="rId38"/>
            </p:custDataLst>
          </p:nvPr>
        </p:nvSpPr>
        <p:spPr bwMode="gray">
          <a:xfrm rot="1346489">
            <a:off x="9124740" y="3221078"/>
            <a:ext cx="144803" cy="127932"/>
          </a:xfrm>
          <a:custGeom>
            <a:avLst/>
            <a:gdLst>
              <a:gd name="T0" fmla="*/ 3065 w 3590"/>
              <a:gd name="T1" fmla="*/ 2819 h 3170"/>
              <a:gd name="T2" fmla="*/ 2889 w 3590"/>
              <a:gd name="T3" fmla="*/ 2644 h 3170"/>
              <a:gd name="T4" fmla="*/ 3065 w 3590"/>
              <a:gd name="T5" fmla="*/ 2469 h 3170"/>
              <a:gd name="T6" fmla="*/ 3240 w 3590"/>
              <a:gd name="T7" fmla="*/ 2644 h 3170"/>
              <a:gd name="T8" fmla="*/ 3065 w 3590"/>
              <a:gd name="T9" fmla="*/ 2819 h 3170"/>
              <a:gd name="T10" fmla="*/ 701 w 3590"/>
              <a:gd name="T11" fmla="*/ 1935 h 3170"/>
              <a:gd name="T12" fmla="*/ 350 w 3590"/>
              <a:gd name="T13" fmla="*/ 1585 h 3170"/>
              <a:gd name="T14" fmla="*/ 701 w 3590"/>
              <a:gd name="T15" fmla="*/ 1235 h 3170"/>
              <a:gd name="T16" fmla="*/ 1051 w 3590"/>
              <a:gd name="T17" fmla="*/ 1585 h 3170"/>
              <a:gd name="T18" fmla="*/ 701 w 3590"/>
              <a:gd name="T19" fmla="*/ 1935 h 3170"/>
              <a:gd name="T20" fmla="*/ 3065 w 3590"/>
              <a:gd name="T21" fmla="*/ 351 h 3170"/>
              <a:gd name="T22" fmla="*/ 3240 w 3590"/>
              <a:gd name="T23" fmla="*/ 526 h 3170"/>
              <a:gd name="T24" fmla="*/ 3065 w 3590"/>
              <a:gd name="T25" fmla="*/ 701 h 3170"/>
              <a:gd name="T26" fmla="*/ 2889 w 3590"/>
              <a:gd name="T27" fmla="*/ 526 h 3170"/>
              <a:gd name="T28" fmla="*/ 3065 w 3590"/>
              <a:gd name="T29" fmla="*/ 351 h 3170"/>
              <a:gd name="T30" fmla="*/ 3065 w 3590"/>
              <a:gd name="T31" fmla="*/ 2118 h 3170"/>
              <a:gd name="T32" fmla="*/ 2727 w 3590"/>
              <a:gd name="T33" fmla="*/ 2242 h 3170"/>
              <a:gd name="T34" fmla="*/ 2408 w 3590"/>
              <a:gd name="T35" fmla="*/ 2080 h 3170"/>
              <a:gd name="T36" fmla="*/ 2005 w 3590"/>
              <a:gd name="T37" fmla="*/ 1984 h 3170"/>
              <a:gd name="T38" fmla="*/ 1665 w 3590"/>
              <a:gd name="T39" fmla="*/ 1903 h 3170"/>
              <a:gd name="T40" fmla="*/ 1379 w 3590"/>
              <a:gd name="T41" fmla="*/ 1756 h 3170"/>
              <a:gd name="T42" fmla="*/ 1401 w 3590"/>
              <a:gd name="T43" fmla="*/ 1585 h 3170"/>
              <a:gd name="T44" fmla="*/ 1390 w 3590"/>
              <a:gd name="T45" fmla="*/ 1468 h 3170"/>
              <a:gd name="T46" fmla="*/ 2685 w 3590"/>
              <a:gd name="T47" fmla="*/ 888 h 3170"/>
              <a:gd name="T48" fmla="*/ 3065 w 3590"/>
              <a:gd name="T49" fmla="*/ 1052 h 3170"/>
              <a:gd name="T50" fmla="*/ 3590 w 3590"/>
              <a:gd name="T51" fmla="*/ 526 h 3170"/>
              <a:gd name="T52" fmla="*/ 3065 w 3590"/>
              <a:gd name="T53" fmla="*/ 0 h 3170"/>
              <a:gd name="T54" fmla="*/ 2539 w 3590"/>
              <a:gd name="T55" fmla="*/ 526 h 3170"/>
              <a:gd name="T56" fmla="*/ 2541 w 3590"/>
              <a:gd name="T57" fmla="*/ 568 h 3170"/>
              <a:gd name="T58" fmla="*/ 1247 w 3590"/>
              <a:gd name="T59" fmla="*/ 1148 h 3170"/>
              <a:gd name="T60" fmla="*/ 701 w 3590"/>
              <a:gd name="T61" fmla="*/ 884 h 3170"/>
              <a:gd name="T62" fmla="*/ 0 w 3590"/>
              <a:gd name="T63" fmla="*/ 1585 h 3170"/>
              <a:gd name="T64" fmla="*/ 701 w 3590"/>
              <a:gd name="T65" fmla="*/ 2286 h 3170"/>
              <a:gd name="T66" fmla="*/ 1210 w 3590"/>
              <a:gd name="T67" fmla="*/ 2064 h 3170"/>
              <a:gd name="T68" fmla="*/ 1542 w 3590"/>
              <a:gd name="T69" fmla="*/ 2232 h 3170"/>
              <a:gd name="T70" fmla="*/ 1965 w 3590"/>
              <a:gd name="T71" fmla="*/ 2333 h 3170"/>
              <a:gd name="T72" fmla="*/ 2284 w 3590"/>
              <a:gd name="T73" fmla="*/ 2409 h 3170"/>
              <a:gd name="T74" fmla="*/ 2549 w 3590"/>
              <a:gd name="T75" fmla="*/ 2544 h 3170"/>
              <a:gd name="T76" fmla="*/ 2539 w 3590"/>
              <a:gd name="T77" fmla="*/ 2644 h 3170"/>
              <a:gd name="T78" fmla="*/ 3065 w 3590"/>
              <a:gd name="T79" fmla="*/ 3170 h 3170"/>
              <a:gd name="T80" fmla="*/ 3590 w 3590"/>
              <a:gd name="T81" fmla="*/ 2644 h 3170"/>
              <a:gd name="T82" fmla="*/ 3065 w 3590"/>
              <a:gd name="T83" fmla="*/ 2118 h 3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90" h="3170">
                <a:moveTo>
                  <a:pt x="3065" y="2819"/>
                </a:moveTo>
                <a:cubicBezTo>
                  <a:pt x="2968" y="2819"/>
                  <a:pt x="2889" y="2741"/>
                  <a:pt x="2889" y="2644"/>
                </a:cubicBezTo>
                <a:cubicBezTo>
                  <a:pt x="2889" y="2547"/>
                  <a:pt x="2968" y="2469"/>
                  <a:pt x="3065" y="2469"/>
                </a:cubicBezTo>
                <a:cubicBezTo>
                  <a:pt x="3161" y="2469"/>
                  <a:pt x="3240" y="2547"/>
                  <a:pt x="3240" y="2644"/>
                </a:cubicBezTo>
                <a:cubicBezTo>
                  <a:pt x="3240" y="2741"/>
                  <a:pt x="3161" y="2819"/>
                  <a:pt x="3065" y="2819"/>
                </a:cubicBezTo>
                <a:close/>
                <a:moveTo>
                  <a:pt x="701" y="1935"/>
                </a:moveTo>
                <a:cubicBezTo>
                  <a:pt x="507" y="1935"/>
                  <a:pt x="350" y="1778"/>
                  <a:pt x="350" y="1585"/>
                </a:cubicBezTo>
                <a:cubicBezTo>
                  <a:pt x="350" y="1392"/>
                  <a:pt x="507" y="1235"/>
                  <a:pt x="701" y="1235"/>
                </a:cubicBezTo>
                <a:cubicBezTo>
                  <a:pt x="894" y="1235"/>
                  <a:pt x="1051" y="1392"/>
                  <a:pt x="1051" y="1585"/>
                </a:cubicBezTo>
                <a:cubicBezTo>
                  <a:pt x="1051" y="1778"/>
                  <a:pt x="894" y="1935"/>
                  <a:pt x="701" y="1935"/>
                </a:cubicBezTo>
                <a:close/>
                <a:moveTo>
                  <a:pt x="3065" y="351"/>
                </a:moveTo>
                <a:cubicBezTo>
                  <a:pt x="3161" y="351"/>
                  <a:pt x="3240" y="429"/>
                  <a:pt x="3240" y="526"/>
                </a:cubicBezTo>
                <a:cubicBezTo>
                  <a:pt x="3240" y="623"/>
                  <a:pt x="3161" y="701"/>
                  <a:pt x="3065" y="701"/>
                </a:cubicBezTo>
                <a:cubicBezTo>
                  <a:pt x="2968" y="701"/>
                  <a:pt x="2889" y="623"/>
                  <a:pt x="2889" y="526"/>
                </a:cubicBezTo>
                <a:cubicBezTo>
                  <a:pt x="2889" y="429"/>
                  <a:pt x="2968" y="351"/>
                  <a:pt x="3065" y="351"/>
                </a:cubicBezTo>
                <a:close/>
                <a:moveTo>
                  <a:pt x="3065" y="2118"/>
                </a:moveTo>
                <a:cubicBezTo>
                  <a:pt x="2936" y="2118"/>
                  <a:pt x="2818" y="2165"/>
                  <a:pt x="2727" y="2242"/>
                </a:cubicBezTo>
                <a:cubicBezTo>
                  <a:pt x="2657" y="2199"/>
                  <a:pt x="2534" y="2128"/>
                  <a:pt x="2408" y="2080"/>
                </a:cubicBezTo>
                <a:cubicBezTo>
                  <a:pt x="2225" y="2012"/>
                  <a:pt x="2028" y="1987"/>
                  <a:pt x="2005" y="1984"/>
                </a:cubicBezTo>
                <a:cubicBezTo>
                  <a:pt x="2003" y="1984"/>
                  <a:pt x="1826" y="1964"/>
                  <a:pt x="1665" y="1903"/>
                </a:cubicBezTo>
                <a:cubicBezTo>
                  <a:pt x="1541" y="1857"/>
                  <a:pt x="1426" y="1787"/>
                  <a:pt x="1379" y="1756"/>
                </a:cubicBezTo>
                <a:cubicBezTo>
                  <a:pt x="1393" y="1701"/>
                  <a:pt x="1401" y="1644"/>
                  <a:pt x="1401" y="1585"/>
                </a:cubicBezTo>
                <a:cubicBezTo>
                  <a:pt x="1401" y="1545"/>
                  <a:pt x="1397" y="1506"/>
                  <a:pt x="1390" y="1468"/>
                </a:cubicBezTo>
                <a:lnTo>
                  <a:pt x="2685" y="888"/>
                </a:lnTo>
                <a:cubicBezTo>
                  <a:pt x="2780" y="989"/>
                  <a:pt x="2915" y="1052"/>
                  <a:pt x="3065" y="1052"/>
                </a:cubicBezTo>
                <a:cubicBezTo>
                  <a:pt x="3354" y="1052"/>
                  <a:pt x="3590" y="816"/>
                  <a:pt x="3590" y="526"/>
                </a:cubicBezTo>
                <a:cubicBezTo>
                  <a:pt x="3590" y="236"/>
                  <a:pt x="3354" y="0"/>
                  <a:pt x="3065" y="0"/>
                </a:cubicBezTo>
                <a:cubicBezTo>
                  <a:pt x="2775" y="0"/>
                  <a:pt x="2539" y="236"/>
                  <a:pt x="2539" y="526"/>
                </a:cubicBezTo>
                <a:cubicBezTo>
                  <a:pt x="2539" y="540"/>
                  <a:pt x="2540" y="554"/>
                  <a:pt x="2541" y="568"/>
                </a:cubicBezTo>
                <a:lnTo>
                  <a:pt x="1247" y="1148"/>
                </a:lnTo>
                <a:cubicBezTo>
                  <a:pt x="1119" y="987"/>
                  <a:pt x="922" y="884"/>
                  <a:pt x="701" y="884"/>
                </a:cubicBezTo>
                <a:cubicBezTo>
                  <a:pt x="314" y="884"/>
                  <a:pt x="0" y="1198"/>
                  <a:pt x="0" y="1585"/>
                </a:cubicBezTo>
                <a:cubicBezTo>
                  <a:pt x="0" y="1972"/>
                  <a:pt x="314" y="2286"/>
                  <a:pt x="701" y="2286"/>
                </a:cubicBezTo>
                <a:cubicBezTo>
                  <a:pt x="902" y="2286"/>
                  <a:pt x="1083" y="2200"/>
                  <a:pt x="1210" y="2064"/>
                </a:cubicBezTo>
                <a:cubicBezTo>
                  <a:pt x="1279" y="2107"/>
                  <a:pt x="1404" y="2180"/>
                  <a:pt x="1542" y="2232"/>
                </a:cubicBezTo>
                <a:cubicBezTo>
                  <a:pt x="1740" y="2306"/>
                  <a:pt x="1944" y="2330"/>
                  <a:pt x="1965" y="2333"/>
                </a:cubicBezTo>
                <a:cubicBezTo>
                  <a:pt x="1972" y="2334"/>
                  <a:pt x="2138" y="2354"/>
                  <a:pt x="2284" y="2409"/>
                </a:cubicBezTo>
                <a:cubicBezTo>
                  <a:pt x="2388" y="2448"/>
                  <a:pt x="2494" y="2510"/>
                  <a:pt x="2549" y="2544"/>
                </a:cubicBezTo>
                <a:cubicBezTo>
                  <a:pt x="2543" y="2577"/>
                  <a:pt x="2539" y="2610"/>
                  <a:pt x="2539" y="2644"/>
                </a:cubicBezTo>
                <a:cubicBezTo>
                  <a:pt x="2539" y="2934"/>
                  <a:pt x="2775" y="3170"/>
                  <a:pt x="3065" y="3170"/>
                </a:cubicBezTo>
                <a:cubicBezTo>
                  <a:pt x="3354" y="3170"/>
                  <a:pt x="3590" y="2934"/>
                  <a:pt x="3590" y="2644"/>
                </a:cubicBezTo>
                <a:cubicBezTo>
                  <a:pt x="3590" y="2354"/>
                  <a:pt x="3354" y="2118"/>
                  <a:pt x="3065" y="2118"/>
                </a:cubicBezTo>
                <a:close/>
              </a:path>
            </a:pathLst>
          </a:custGeom>
          <a:solidFill>
            <a:srgbClr val="0071B9"/>
          </a:solidFill>
          <a:ln w="6350">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 name="Ellipse 11">
            <a:extLst>
              <a:ext uri="{FF2B5EF4-FFF2-40B4-BE49-F238E27FC236}">
                <a16:creationId xmlns:a16="http://schemas.microsoft.com/office/drawing/2014/main" id="{39223CFD-A231-4C91-B8F8-52E665F38B59}"/>
              </a:ext>
            </a:extLst>
          </p:cNvPr>
          <p:cNvSpPr/>
          <p:nvPr/>
        </p:nvSpPr>
        <p:spPr bwMode="gray">
          <a:xfrm>
            <a:off x="9469716" y="3508551"/>
            <a:ext cx="157133" cy="1571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Certificate">
            <a:extLst>
              <a:ext uri="{FF2B5EF4-FFF2-40B4-BE49-F238E27FC236}">
                <a16:creationId xmlns:a16="http://schemas.microsoft.com/office/drawing/2014/main" id="{F22AB06F-42BD-41C0-8B89-86886F852FDD}"/>
              </a:ext>
            </a:extLst>
          </p:cNvPr>
          <p:cNvSpPr>
            <a:spLocks noChangeAspect="1" noEditPoints="1"/>
          </p:cNvSpPr>
          <p:nvPr>
            <p:custDataLst>
              <p:tags r:id="rId39"/>
            </p:custDataLst>
          </p:nvPr>
        </p:nvSpPr>
        <p:spPr bwMode="gray">
          <a:xfrm>
            <a:off x="9459347" y="3503544"/>
            <a:ext cx="178645" cy="301608"/>
          </a:xfrm>
          <a:custGeom>
            <a:avLst/>
            <a:gdLst>
              <a:gd name="T0" fmla="*/ 351 w 2670"/>
              <a:gd name="T1" fmla="*/ 1333 h 4540"/>
              <a:gd name="T2" fmla="*/ 1335 w 2670"/>
              <a:gd name="T3" fmla="*/ 351 h 4540"/>
              <a:gd name="T4" fmla="*/ 2319 w 2670"/>
              <a:gd name="T5" fmla="*/ 1333 h 4540"/>
              <a:gd name="T6" fmla="*/ 1335 w 2670"/>
              <a:gd name="T7" fmla="*/ 2316 h 4540"/>
              <a:gd name="T8" fmla="*/ 351 w 2670"/>
              <a:gd name="T9" fmla="*/ 1333 h 4540"/>
              <a:gd name="T10" fmla="*/ 1335 w 2670"/>
              <a:gd name="T11" fmla="*/ 2667 h 4540"/>
              <a:gd name="T12" fmla="*/ 2670 w 2670"/>
              <a:gd name="T13" fmla="*/ 1333 h 4540"/>
              <a:gd name="T14" fmla="*/ 1335 w 2670"/>
              <a:gd name="T15" fmla="*/ 0 h 4540"/>
              <a:gd name="T16" fmla="*/ 0 w 2670"/>
              <a:gd name="T17" fmla="*/ 1333 h 4540"/>
              <a:gd name="T18" fmla="*/ 550 w 2670"/>
              <a:gd name="T19" fmla="*/ 2411 h 4540"/>
              <a:gd name="T20" fmla="*/ 550 w 2670"/>
              <a:gd name="T21" fmla="*/ 4540 h 4540"/>
              <a:gd name="T22" fmla="*/ 1367 w 2670"/>
              <a:gd name="T23" fmla="*/ 4240 h 4540"/>
              <a:gd name="T24" fmla="*/ 2184 w 2670"/>
              <a:gd name="T25" fmla="*/ 4540 h 4540"/>
              <a:gd name="T26" fmla="*/ 2184 w 2670"/>
              <a:gd name="T27" fmla="*/ 2834 h 4540"/>
              <a:gd name="T28" fmla="*/ 1833 w 2670"/>
              <a:gd name="T29" fmla="*/ 2983 h 4540"/>
              <a:gd name="T30" fmla="*/ 1833 w 2670"/>
              <a:gd name="T31" fmla="*/ 4037 h 4540"/>
              <a:gd name="T32" fmla="*/ 1489 w 2670"/>
              <a:gd name="T33" fmla="*/ 3911 h 4540"/>
              <a:gd name="T34" fmla="*/ 1367 w 2670"/>
              <a:gd name="T35" fmla="*/ 3866 h 4540"/>
              <a:gd name="T36" fmla="*/ 1246 w 2670"/>
              <a:gd name="T37" fmla="*/ 3911 h 4540"/>
              <a:gd name="T38" fmla="*/ 901 w 2670"/>
              <a:gd name="T39" fmla="*/ 4037 h 4540"/>
              <a:gd name="T40" fmla="*/ 901 w 2670"/>
              <a:gd name="T41" fmla="*/ 2594 h 4540"/>
              <a:gd name="T42" fmla="*/ 1335 w 2670"/>
              <a:gd name="T43" fmla="*/ 2667 h 4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70" h="4540">
                <a:moveTo>
                  <a:pt x="351" y="1333"/>
                </a:moveTo>
                <a:cubicBezTo>
                  <a:pt x="351" y="791"/>
                  <a:pt x="792" y="351"/>
                  <a:pt x="1335" y="351"/>
                </a:cubicBezTo>
                <a:cubicBezTo>
                  <a:pt x="1878" y="351"/>
                  <a:pt x="2319" y="791"/>
                  <a:pt x="2319" y="1333"/>
                </a:cubicBezTo>
                <a:cubicBezTo>
                  <a:pt x="2319" y="1875"/>
                  <a:pt x="1878" y="2316"/>
                  <a:pt x="1335" y="2316"/>
                </a:cubicBezTo>
                <a:cubicBezTo>
                  <a:pt x="792" y="2316"/>
                  <a:pt x="351" y="1875"/>
                  <a:pt x="351" y="1333"/>
                </a:cubicBezTo>
                <a:close/>
                <a:moveTo>
                  <a:pt x="1335" y="2667"/>
                </a:moveTo>
                <a:cubicBezTo>
                  <a:pt x="2071" y="2667"/>
                  <a:pt x="2670" y="2069"/>
                  <a:pt x="2670" y="1333"/>
                </a:cubicBezTo>
                <a:cubicBezTo>
                  <a:pt x="2670" y="598"/>
                  <a:pt x="2071" y="0"/>
                  <a:pt x="1335" y="0"/>
                </a:cubicBezTo>
                <a:cubicBezTo>
                  <a:pt x="599" y="0"/>
                  <a:pt x="0" y="598"/>
                  <a:pt x="0" y="1333"/>
                </a:cubicBezTo>
                <a:cubicBezTo>
                  <a:pt x="0" y="1776"/>
                  <a:pt x="217" y="2169"/>
                  <a:pt x="550" y="2411"/>
                </a:cubicBezTo>
                <a:lnTo>
                  <a:pt x="550" y="4540"/>
                </a:lnTo>
                <a:lnTo>
                  <a:pt x="1367" y="4240"/>
                </a:lnTo>
                <a:lnTo>
                  <a:pt x="2184" y="4540"/>
                </a:lnTo>
                <a:lnTo>
                  <a:pt x="2184" y="2834"/>
                </a:lnTo>
                <a:cubicBezTo>
                  <a:pt x="2074" y="2896"/>
                  <a:pt x="1956" y="2946"/>
                  <a:pt x="1833" y="2983"/>
                </a:cubicBezTo>
                <a:lnTo>
                  <a:pt x="1833" y="4037"/>
                </a:lnTo>
                <a:lnTo>
                  <a:pt x="1489" y="3911"/>
                </a:lnTo>
                <a:lnTo>
                  <a:pt x="1367" y="3866"/>
                </a:lnTo>
                <a:lnTo>
                  <a:pt x="1246" y="3911"/>
                </a:lnTo>
                <a:lnTo>
                  <a:pt x="901" y="4037"/>
                </a:lnTo>
                <a:lnTo>
                  <a:pt x="901" y="2594"/>
                </a:lnTo>
                <a:cubicBezTo>
                  <a:pt x="1037" y="2641"/>
                  <a:pt x="1183" y="2667"/>
                  <a:pt x="1335" y="2667"/>
                </a:cubicBez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2" name="Online Shop">
            <a:extLst>
              <a:ext uri="{FF2B5EF4-FFF2-40B4-BE49-F238E27FC236}">
                <a16:creationId xmlns:a16="http://schemas.microsoft.com/office/drawing/2014/main" id="{30B39E7A-5F71-43D3-AE3E-574FE9C4484D}"/>
              </a:ext>
            </a:extLst>
          </p:cNvPr>
          <p:cNvGrpSpPr>
            <a:grpSpLocks noChangeAspect="1"/>
          </p:cNvGrpSpPr>
          <p:nvPr>
            <p:custDataLst>
              <p:tags r:id="rId40"/>
            </p:custDataLst>
          </p:nvPr>
        </p:nvGrpSpPr>
        <p:grpSpPr bwMode="gray">
          <a:xfrm>
            <a:off x="4682360" y="3169562"/>
            <a:ext cx="275305" cy="236802"/>
            <a:chOff x="5807075" y="3513138"/>
            <a:chExt cx="1816100" cy="1562101"/>
          </a:xfrm>
        </p:grpSpPr>
        <p:sp>
          <p:nvSpPr>
            <p:cNvPr id="123" name="Freeform 13">
              <a:extLst>
                <a:ext uri="{FF2B5EF4-FFF2-40B4-BE49-F238E27FC236}">
                  <a16:creationId xmlns:a16="http://schemas.microsoft.com/office/drawing/2014/main" id="{8F41CD62-723E-4AE4-9F49-79F130D107AF}"/>
                </a:ext>
              </a:extLst>
            </p:cNvPr>
            <p:cNvSpPr>
              <a:spLocks/>
            </p:cNvSpPr>
            <p:nvPr>
              <p:custDataLst>
                <p:tags r:id="rId48"/>
              </p:custDataLst>
            </p:nvPr>
          </p:nvSpPr>
          <p:spPr bwMode="gray">
            <a:xfrm>
              <a:off x="5807075" y="3513138"/>
              <a:ext cx="1816100" cy="1046163"/>
            </a:xfrm>
            <a:custGeom>
              <a:avLst/>
              <a:gdLst>
                <a:gd name="T0" fmla="*/ 1351 w 5010"/>
                <a:gd name="T1" fmla="*/ 593 h 2892"/>
                <a:gd name="T2" fmla="*/ 1505 w 5010"/>
                <a:gd name="T3" fmla="*/ 961 h 2892"/>
                <a:gd name="T4" fmla="*/ 4478 w 5010"/>
                <a:gd name="T5" fmla="*/ 961 h 2892"/>
                <a:gd name="T6" fmla="*/ 3886 w 5010"/>
                <a:gd name="T7" fmla="*/ 2404 h 2892"/>
                <a:gd name="T8" fmla="*/ 3436 w 5010"/>
                <a:gd name="T9" fmla="*/ 2362 h 2892"/>
                <a:gd name="T10" fmla="*/ 2753 w 5010"/>
                <a:gd name="T11" fmla="*/ 2452 h 2892"/>
                <a:gd name="T12" fmla="*/ 2207 w 5010"/>
                <a:gd name="T13" fmla="*/ 2524 h 2892"/>
                <a:gd name="T14" fmla="*/ 1752 w 5010"/>
                <a:gd name="T15" fmla="*/ 2473 h 2892"/>
                <a:gd name="T16" fmla="*/ 720 w 5010"/>
                <a:gd name="T17" fmla="*/ 0 h 2892"/>
                <a:gd name="T18" fmla="*/ 0 w 5010"/>
                <a:gd name="T19" fmla="*/ 0 h 2892"/>
                <a:gd name="T20" fmla="*/ 0 w 5010"/>
                <a:gd name="T21" fmla="*/ 368 h 2892"/>
                <a:gd name="T22" fmla="*/ 491 w 5010"/>
                <a:gd name="T23" fmla="*/ 368 h 2892"/>
                <a:gd name="T24" fmla="*/ 1501 w 5010"/>
                <a:gd name="T25" fmla="*/ 2789 h 2892"/>
                <a:gd name="T26" fmla="*/ 1574 w 5010"/>
                <a:gd name="T27" fmla="*/ 2809 h 2892"/>
                <a:gd name="T28" fmla="*/ 2207 w 5010"/>
                <a:gd name="T29" fmla="*/ 2892 h 2892"/>
                <a:gd name="T30" fmla="*/ 2839 w 5010"/>
                <a:gd name="T31" fmla="*/ 2809 h 2892"/>
                <a:gd name="T32" fmla="*/ 3436 w 5010"/>
                <a:gd name="T33" fmla="*/ 2730 h 2892"/>
                <a:gd name="T34" fmla="*/ 4056 w 5010"/>
                <a:gd name="T35" fmla="*/ 2813 h 2892"/>
                <a:gd name="T36" fmla="*/ 4096 w 5010"/>
                <a:gd name="T37" fmla="*/ 2823 h 2892"/>
                <a:gd name="T38" fmla="*/ 5010 w 5010"/>
                <a:gd name="T39" fmla="*/ 593 h 2892"/>
                <a:gd name="T40" fmla="*/ 1351 w 5010"/>
                <a:gd name="T41" fmla="*/ 593 h 2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10" h="2892">
                  <a:moveTo>
                    <a:pt x="1351" y="593"/>
                  </a:moveTo>
                  <a:lnTo>
                    <a:pt x="1505" y="961"/>
                  </a:lnTo>
                  <a:lnTo>
                    <a:pt x="4478" y="961"/>
                  </a:lnTo>
                  <a:lnTo>
                    <a:pt x="3886" y="2404"/>
                  </a:lnTo>
                  <a:cubicBezTo>
                    <a:pt x="3757" y="2382"/>
                    <a:pt x="3594" y="2362"/>
                    <a:pt x="3436" y="2362"/>
                  </a:cubicBezTo>
                  <a:cubicBezTo>
                    <a:pt x="3109" y="2362"/>
                    <a:pt x="2790" y="2442"/>
                    <a:pt x="2753" y="2452"/>
                  </a:cubicBezTo>
                  <a:cubicBezTo>
                    <a:pt x="2750" y="2453"/>
                    <a:pt x="2477" y="2524"/>
                    <a:pt x="2207" y="2524"/>
                  </a:cubicBezTo>
                  <a:cubicBezTo>
                    <a:pt x="2032" y="2524"/>
                    <a:pt x="1855" y="2494"/>
                    <a:pt x="1752" y="2473"/>
                  </a:cubicBezTo>
                  <a:lnTo>
                    <a:pt x="720" y="0"/>
                  </a:lnTo>
                  <a:lnTo>
                    <a:pt x="0" y="0"/>
                  </a:lnTo>
                  <a:lnTo>
                    <a:pt x="0" y="368"/>
                  </a:lnTo>
                  <a:lnTo>
                    <a:pt x="491" y="368"/>
                  </a:lnTo>
                  <a:lnTo>
                    <a:pt x="1501" y="2789"/>
                  </a:lnTo>
                  <a:lnTo>
                    <a:pt x="1574" y="2809"/>
                  </a:lnTo>
                  <a:cubicBezTo>
                    <a:pt x="1587" y="2812"/>
                    <a:pt x="1892" y="2892"/>
                    <a:pt x="2207" y="2892"/>
                  </a:cubicBezTo>
                  <a:cubicBezTo>
                    <a:pt x="2521" y="2892"/>
                    <a:pt x="2826" y="2812"/>
                    <a:pt x="2839" y="2809"/>
                  </a:cubicBezTo>
                  <a:cubicBezTo>
                    <a:pt x="2851" y="2805"/>
                    <a:pt x="3146" y="2730"/>
                    <a:pt x="3436" y="2730"/>
                  </a:cubicBezTo>
                  <a:cubicBezTo>
                    <a:pt x="3730" y="2730"/>
                    <a:pt x="4052" y="2812"/>
                    <a:pt x="4056" y="2813"/>
                  </a:cubicBezTo>
                  <a:lnTo>
                    <a:pt x="4096" y="2823"/>
                  </a:lnTo>
                  <a:lnTo>
                    <a:pt x="5010" y="593"/>
                  </a:lnTo>
                  <a:lnTo>
                    <a:pt x="1351" y="593"/>
                  </a:lnTo>
                  <a:close/>
                </a:path>
              </a:pathLst>
            </a:custGeom>
            <a:solidFill>
              <a:srgbClr val="0071B9"/>
            </a:solid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4">
              <a:extLst>
                <a:ext uri="{FF2B5EF4-FFF2-40B4-BE49-F238E27FC236}">
                  <a16:creationId xmlns:a16="http://schemas.microsoft.com/office/drawing/2014/main" id="{1C7F697F-5835-4287-8A21-19FDCA421FB3}"/>
                </a:ext>
              </a:extLst>
            </p:cNvPr>
            <p:cNvSpPr>
              <a:spLocks noEditPoints="1"/>
            </p:cNvSpPr>
            <p:nvPr>
              <p:custDataLst>
                <p:tags r:id="rId49"/>
              </p:custDataLst>
            </p:nvPr>
          </p:nvSpPr>
          <p:spPr bwMode="gray">
            <a:xfrm>
              <a:off x="6232525" y="4676776"/>
              <a:ext cx="381000" cy="398463"/>
            </a:xfrm>
            <a:custGeom>
              <a:avLst/>
              <a:gdLst>
                <a:gd name="T0" fmla="*/ 525 w 1051"/>
                <a:gd name="T1" fmla="*/ 0 h 1103"/>
                <a:gd name="T2" fmla="*/ 0 w 1051"/>
                <a:gd name="T3" fmla="*/ 551 h 1103"/>
                <a:gd name="T4" fmla="*/ 525 w 1051"/>
                <a:gd name="T5" fmla="*/ 1103 h 1103"/>
                <a:gd name="T6" fmla="*/ 1051 w 1051"/>
                <a:gd name="T7" fmla="*/ 551 h 1103"/>
                <a:gd name="T8" fmla="*/ 525 w 1051"/>
                <a:gd name="T9" fmla="*/ 0 h 1103"/>
                <a:gd name="T10" fmla="*/ 525 w 1051"/>
                <a:gd name="T11" fmla="*/ 368 h 1103"/>
                <a:gd name="T12" fmla="*/ 700 w 1051"/>
                <a:gd name="T13" fmla="*/ 551 h 1103"/>
                <a:gd name="T14" fmla="*/ 525 w 1051"/>
                <a:gd name="T15" fmla="*/ 735 h 1103"/>
                <a:gd name="T16" fmla="*/ 351 w 1051"/>
                <a:gd name="T17" fmla="*/ 551 h 1103"/>
                <a:gd name="T18" fmla="*/ 525 w 1051"/>
                <a:gd name="T19" fmla="*/ 368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1" h="1103">
                  <a:moveTo>
                    <a:pt x="525" y="0"/>
                  </a:moveTo>
                  <a:cubicBezTo>
                    <a:pt x="236" y="0"/>
                    <a:pt x="0" y="247"/>
                    <a:pt x="0" y="551"/>
                  </a:cubicBezTo>
                  <a:cubicBezTo>
                    <a:pt x="0" y="856"/>
                    <a:pt x="236" y="1103"/>
                    <a:pt x="525" y="1103"/>
                  </a:cubicBezTo>
                  <a:cubicBezTo>
                    <a:pt x="815" y="1103"/>
                    <a:pt x="1051" y="856"/>
                    <a:pt x="1051" y="551"/>
                  </a:cubicBezTo>
                  <a:cubicBezTo>
                    <a:pt x="1051" y="247"/>
                    <a:pt x="815" y="0"/>
                    <a:pt x="525" y="0"/>
                  </a:cubicBezTo>
                  <a:close/>
                  <a:moveTo>
                    <a:pt x="525" y="368"/>
                  </a:moveTo>
                  <a:cubicBezTo>
                    <a:pt x="622" y="368"/>
                    <a:pt x="700" y="450"/>
                    <a:pt x="700" y="551"/>
                  </a:cubicBezTo>
                  <a:cubicBezTo>
                    <a:pt x="700" y="653"/>
                    <a:pt x="622" y="735"/>
                    <a:pt x="525" y="735"/>
                  </a:cubicBezTo>
                  <a:cubicBezTo>
                    <a:pt x="429" y="735"/>
                    <a:pt x="351" y="653"/>
                    <a:pt x="351" y="551"/>
                  </a:cubicBezTo>
                  <a:cubicBezTo>
                    <a:pt x="351" y="450"/>
                    <a:pt x="429" y="368"/>
                    <a:pt x="525" y="368"/>
                  </a:cubicBezTo>
                  <a:close/>
                </a:path>
              </a:pathLst>
            </a:custGeom>
            <a:solidFill>
              <a:srgbClr val="0071B9"/>
            </a:solid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15">
              <a:extLst>
                <a:ext uri="{FF2B5EF4-FFF2-40B4-BE49-F238E27FC236}">
                  <a16:creationId xmlns:a16="http://schemas.microsoft.com/office/drawing/2014/main" id="{07C9CD06-BA15-4945-A852-B48624B73E4B}"/>
                </a:ext>
              </a:extLst>
            </p:cNvPr>
            <p:cNvSpPr>
              <a:spLocks noEditPoints="1"/>
            </p:cNvSpPr>
            <p:nvPr>
              <p:custDataLst>
                <p:tags r:id="rId50"/>
              </p:custDataLst>
            </p:nvPr>
          </p:nvSpPr>
          <p:spPr bwMode="gray">
            <a:xfrm>
              <a:off x="7021513" y="4676776"/>
              <a:ext cx="381000" cy="398463"/>
            </a:xfrm>
            <a:custGeom>
              <a:avLst/>
              <a:gdLst>
                <a:gd name="T0" fmla="*/ 525 w 1050"/>
                <a:gd name="T1" fmla="*/ 0 h 1103"/>
                <a:gd name="T2" fmla="*/ 0 w 1050"/>
                <a:gd name="T3" fmla="*/ 551 h 1103"/>
                <a:gd name="T4" fmla="*/ 525 w 1050"/>
                <a:gd name="T5" fmla="*/ 1103 h 1103"/>
                <a:gd name="T6" fmla="*/ 1050 w 1050"/>
                <a:gd name="T7" fmla="*/ 551 h 1103"/>
                <a:gd name="T8" fmla="*/ 525 w 1050"/>
                <a:gd name="T9" fmla="*/ 0 h 1103"/>
                <a:gd name="T10" fmla="*/ 525 w 1050"/>
                <a:gd name="T11" fmla="*/ 368 h 1103"/>
                <a:gd name="T12" fmla="*/ 700 w 1050"/>
                <a:gd name="T13" fmla="*/ 551 h 1103"/>
                <a:gd name="T14" fmla="*/ 525 w 1050"/>
                <a:gd name="T15" fmla="*/ 735 h 1103"/>
                <a:gd name="T16" fmla="*/ 350 w 1050"/>
                <a:gd name="T17" fmla="*/ 551 h 1103"/>
                <a:gd name="T18" fmla="*/ 525 w 1050"/>
                <a:gd name="T19" fmla="*/ 368 h 1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0" h="1103">
                  <a:moveTo>
                    <a:pt x="525" y="0"/>
                  </a:moveTo>
                  <a:cubicBezTo>
                    <a:pt x="235" y="0"/>
                    <a:pt x="0" y="247"/>
                    <a:pt x="0" y="551"/>
                  </a:cubicBezTo>
                  <a:cubicBezTo>
                    <a:pt x="0" y="856"/>
                    <a:pt x="235" y="1103"/>
                    <a:pt x="525" y="1103"/>
                  </a:cubicBezTo>
                  <a:cubicBezTo>
                    <a:pt x="814" y="1103"/>
                    <a:pt x="1050" y="856"/>
                    <a:pt x="1050" y="551"/>
                  </a:cubicBezTo>
                  <a:cubicBezTo>
                    <a:pt x="1050" y="247"/>
                    <a:pt x="814" y="0"/>
                    <a:pt x="525" y="0"/>
                  </a:cubicBezTo>
                  <a:close/>
                  <a:moveTo>
                    <a:pt x="525" y="368"/>
                  </a:moveTo>
                  <a:cubicBezTo>
                    <a:pt x="621" y="368"/>
                    <a:pt x="700" y="450"/>
                    <a:pt x="700" y="551"/>
                  </a:cubicBezTo>
                  <a:cubicBezTo>
                    <a:pt x="700" y="653"/>
                    <a:pt x="621" y="735"/>
                    <a:pt x="525" y="735"/>
                  </a:cubicBezTo>
                  <a:cubicBezTo>
                    <a:pt x="428" y="735"/>
                    <a:pt x="350" y="653"/>
                    <a:pt x="350" y="551"/>
                  </a:cubicBezTo>
                  <a:cubicBezTo>
                    <a:pt x="350" y="450"/>
                    <a:pt x="428" y="368"/>
                    <a:pt x="525" y="368"/>
                  </a:cubicBezTo>
                  <a:close/>
                </a:path>
              </a:pathLst>
            </a:custGeom>
            <a:solidFill>
              <a:srgbClr val="0071B9"/>
            </a:solid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30" name="Gruppieren 29">
            <a:extLst>
              <a:ext uri="{FF2B5EF4-FFF2-40B4-BE49-F238E27FC236}">
                <a16:creationId xmlns:a16="http://schemas.microsoft.com/office/drawing/2014/main" id="{5A50F70C-3F59-40AA-8F56-B5B9BDF84B30}"/>
              </a:ext>
            </a:extLst>
          </p:cNvPr>
          <p:cNvGrpSpPr/>
          <p:nvPr/>
        </p:nvGrpSpPr>
        <p:grpSpPr bwMode="gray">
          <a:xfrm>
            <a:off x="4739894" y="3022232"/>
            <a:ext cx="210257" cy="147330"/>
            <a:chOff x="4653690" y="2811262"/>
            <a:chExt cx="797121" cy="825500"/>
          </a:xfrm>
        </p:grpSpPr>
        <p:sp>
          <p:nvSpPr>
            <p:cNvPr id="22" name="Freeform 220">
              <a:extLst>
                <a:ext uri="{FF2B5EF4-FFF2-40B4-BE49-F238E27FC236}">
                  <a16:creationId xmlns:a16="http://schemas.microsoft.com/office/drawing/2014/main" id="{D6A9A299-BC75-4E6A-A4EA-AEAF97698307}"/>
                </a:ext>
              </a:extLst>
            </p:cNvPr>
            <p:cNvSpPr>
              <a:spLocks noEditPoints="1"/>
            </p:cNvSpPr>
            <p:nvPr/>
          </p:nvSpPr>
          <p:spPr bwMode="gray">
            <a:xfrm>
              <a:off x="4653690" y="2811262"/>
              <a:ext cx="490538" cy="825500"/>
            </a:xfrm>
            <a:custGeom>
              <a:avLst/>
              <a:gdLst>
                <a:gd name="T0" fmla="*/ 138 w 150"/>
                <a:gd name="T1" fmla="*/ 252 h 252"/>
                <a:gd name="T2" fmla="*/ 12 w 150"/>
                <a:gd name="T3" fmla="*/ 252 h 252"/>
                <a:gd name="T4" fmla="*/ 5 w 150"/>
                <a:gd name="T5" fmla="*/ 249 h 252"/>
                <a:gd name="T6" fmla="*/ 11 w 150"/>
                <a:gd name="T7" fmla="*/ 218 h 252"/>
                <a:gd name="T8" fmla="*/ 53 w 150"/>
                <a:gd name="T9" fmla="*/ 128 h 252"/>
                <a:gd name="T10" fmla="*/ 61 w 150"/>
                <a:gd name="T11" fmla="*/ 95 h 252"/>
                <a:gd name="T12" fmla="*/ 61 w 150"/>
                <a:gd name="T13" fmla="*/ 0 h 252"/>
                <a:gd name="T14" fmla="*/ 89 w 150"/>
                <a:gd name="T15" fmla="*/ 0 h 252"/>
                <a:gd name="T16" fmla="*/ 89 w 150"/>
                <a:gd name="T17" fmla="*/ 95 h 252"/>
                <a:gd name="T18" fmla="*/ 97 w 150"/>
                <a:gd name="T19" fmla="*/ 128 h 252"/>
                <a:gd name="T20" fmla="*/ 139 w 150"/>
                <a:gd name="T21" fmla="*/ 218 h 252"/>
                <a:gd name="T22" fmla="*/ 145 w 150"/>
                <a:gd name="T23" fmla="*/ 248 h 252"/>
                <a:gd name="T24" fmla="*/ 138 w 150"/>
                <a:gd name="T25" fmla="*/ 252 h 252"/>
                <a:gd name="T26" fmla="*/ 65 w 150"/>
                <a:gd name="T27" fmla="*/ 4 h 252"/>
                <a:gd name="T28" fmla="*/ 65 w 150"/>
                <a:gd name="T29" fmla="*/ 95 h 252"/>
                <a:gd name="T30" fmla="*/ 57 w 150"/>
                <a:gd name="T31" fmla="*/ 130 h 252"/>
                <a:gd name="T32" fmla="*/ 14 w 150"/>
                <a:gd name="T33" fmla="*/ 220 h 252"/>
                <a:gd name="T34" fmla="*/ 9 w 150"/>
                <a:gd name="T35" fmla="*/ 246 h 252"/>
                <a:gd name="T36" fmla="*/ 12 w 150"/>
                <a:gd name="T37" fmla="*/ 248 h 252"/>
                <a:gd name="T38" fmla="*/ 138 w 150"/>
                <a:gd name="T39" fmla="*/ 248 h 252"/>
                <a:gd name="T40" fmla="*/ 142 w 150"/>
                <a:gd name="T41" fmla="*/ 246 h 252"/>
                <a:gd name="T42" fmla="*/ 136 w 150"/>
                <a:gd name="T43" fmla="*/ 220 h 252"/>
                <a:gd name="T44" fmla="*/ 136 w 150"/>
                <a:gd name="T45" fmla="*/ 220 h 252"/>
                <a:gd name="T46" fmla="*/ 93 w 150"/>
                <a:gd name="T47" fmla="*/ 130 h 252"/>
                <a:gd name="T48" fmla="*/ 85 w 150"/>
                <a:gd name="T49" fmla="*/ 95 h 252"/>
                <a:gd name="T50" fmla="*/ 85 w 150"/>
                <a:gd name="T51" fmla="*/ 4 h 252"/>
                <a:gd name="T52" fmla="*/ 65 w 150"/>
                <a:gd name="T53" fmla="*/ 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252">
                  <a:moveTo>
                    <a:pt x="138" y="252"/>
                  </a:moveTo>
                  <a:cubicBezTo>
                    <a:pt x="12" y="252"/>
                    <a:pt x="12" y="252"/>
                    <a:pt x="12" y="252"/>
                  </a:cubicBezTo>
                  <a:cubicBezTo>
                    <a:pt x="8" y="252"/>
                    <a:pt x="6" y="250"/>
                    <a:pt x="5" y="249"/>
                  </a:cubicBezTo>
                  <a:cubicBezTo>
                    <a:pt x="0" y="241"/>
                    <a:pt x="9" y="221"/>
                    <a:pt x="11" y="218"/>
                  </a:cubicBezTo>
                  <a:cubicBezTo>
                    <a:pt x="12" y="215"/>
                    <a:pt x="47" y="140"/>
                    <a:pt x="53" y="128"/>
                  </a:cubicBezTo>
                  <a:cubicBezTo>
                    <a:pt x="62" y="112"/>
                    <a:pt x="61" y="96"/>
                    <a:pt x="61" y="95"/>
                  </a:cubicBezTo>
                  <a:cubicBezTo>
                    <a:pt x="61" y="0"/>
                    <a:pt x="61" y="0"/>
                    <a:pt x="61" y="0"/>
                  </a:cubicBezTo>
                  <a:cubicBezTo>
                    <a:pt x="89" y="0"/>
                    <a:pt x="89" y="0"/>
                    <a:pt x="89" y="0"/>
                  </a:cubicBezTo>
                  <a:cubicBezTo>
                    <a:pt x="89" y="95"/>
                    <a:pt x="89" y="95"/>
                    <a:pt x="89" y="95"/>
                  </a:cubicBezTo>
                  <a:cubicBezTo>
                    <a:pt x="89" y="96"/>
                    <a:pt x="89" y="113"/>
                    <a:pt x="97" y="128"/>
                  </a:cubicBezTo>
                  <a:cubicBezTo>
                    <a:pt x="103" y="140"/>
                    <a:pt x="138" y="215"/>
                    <a:pt x="139" y="218"/>
                  </a:cubicBezTo>
                  <a:cubicBezTo>
                    <a:pt x="141" y="221"/>
                    <a:pt x="150" y="240"/>
                    <a:pt x="145" y="248"/>
                  </a:cubicBezTo>
                  <a:cubicBezTo>
                    <a:pt x="144" y="250"/>
                    <a:pt x="142" y="252"/>
                    <a:pt x="138" y="252"/>
                  </a:cubicBezTo>
                  <a:close/>
                  <a:moveTo>
                    <a:pt x="65" y="4"/>
                  </a:moveTo>
                  <a:cubicBezTo>
                    <a:pt x="65" y="95"/>
                    <a:pt x="65" y="95"/>
                    <a:pt x="65" y="95"/>
                  </a:cubicBezTo>
                  <a:cubicBezTo>
                    <a:pt x="65" y="96"/>
                    <a:pt x="66" y="113"/>
                    <a:pt x="57" y="130"/>
                  </a:cubicBezTo>
                  <a:cubicBezTo>
                    <a:pt x="50" y="141"/>
                    <a:pt x="15" y="219"/>
                    <a:pt x="14" y="220"/>
                  </a:cubicBezTo>
                  <a:cubicBezTo>
                    <a:pt x="11" y="228"/>
                    <a:pt x="6" y="242"/>
                    <a:pt x="9" y="246"/>
                  </a:cubicBezTo>
                  <a:cubicBezTo>
                    <a:pt x="9" y="247"/>
                    <a:pt x="10" y="248"/>
                    <a:pt x="12" y="248"/>
                  </a:cubicBezTo>
                  <a:cubicBezTo>
                    <a:pt x="138" y="248"/>
                    <a:pt x="138" y="248"/>
                    <a:pt x="138" y="248"/>
                  </a:cubicBezTo>
                  <a:cubicBezTo>
                    <a:pt x="140" y="248"/>
                    <a:pt x="141" y="247"/>
                    <a:pt x="142" y="246"/>
                  </a:cubicBezTo>
                  <a:cubicBezTo>
                    <a:pt x="144" y="242"/>
                    <a:pt x="140" y="228"/>
                    <a:pt x="136" y="220"/>
                  </a:cubicBezTo>
                  <a:cubicBezTo>
                    <a:pt x="136" y="220"/>
                    <a:pt x="136" y="220"/>
                    <a:pt x="136" y="220"/>
                  </a:cubicBezTo>
                  <a:cubicBezTo>
                    <a:pt x="135" y="219"/>
                    <a:pt x="100" y="142"/>
                    <a:pt x="93" y="130"/>
                  </a:cubicBezTo>
                  <a:cubicBezTo>
                    <a:pt x="85" y="114"/>
                    <a:pt x="85" y="96"/>
                    <a:pt x="85" y="95"/>
                  </a:cubicBezTo>
                  <a:cubicBezTo>
                    <a:pt x="85" y="4"/>
                    <a:pt x="85" y="4"/>
                    <a:pt x="85" y="4"/>
                  </a:cubicBezTo>
                  <a:lnTo>
                    <a:pt x="65" y="4"/>
                  </a:lnTo>
                  <a:close/>
                </a:path>
              </a:pathLst>
            </a:custGeom>
            <a:solidFill>
              <a:schemeClr val="tx2"/>
            </a:solidFill>
            <a:ln w="15875">
              <a:solidFill>
                <a:schemeClr val="tx2"/>
              </a:solidFill>
              <a:miter lim="800000"/>
            </a:ln>
          </p:spPr>
          <p:txBody>
            <a:bodyPr vert="horz" wrap="square" lIns="91440" tIns="45720" rIns="91440" bIns="45720" numCol="1" anchor="t" anchorCtr="0" compatLnSpc="1">
              <a:prstTxWarp prst="textNoShape">
                <a:avLst/>
              </a:prstTxWarp>
            </a:bodyPr>
            <a:lstStyle/>
            <a:p>
              <a:endParaRPr lang="en-US" dirty="0"/>
            </a:p>
          </p:txBody>
        </p:sp>
        <p:sp>
          <p:nvSpPr>
            <p:cNvPr id="28" name="Freeform 221">
              <a:extLst>
                <a:ext uri="{FF2B5EF4-FFF2-40B4-BE49-F238E27FC236}">
                  <a16:creationId xmlns:a16="http://schemas.microsoft.com/office/drawing/2014/main" id="{856173A1-18EB-4B42-86FA-1D20F769A2B7}"/>
                </a:ext>
              </a:extLst>
            </p:cNvPr>
            <p:cNvSpPr>
              <a:spLocks/>
            </p:cNvSpPr>
            <p:nvPr/>
          </p:nvSpPr>
          <p:spPr bwMode="gray">
            <a:xfrm>
              <a:off x="5188871" y="3030336"/>
              <a:ext cx="261940" cy="606426"/>
            </a:xfrm>
            <a:custGeom>
              <a:avLst/>
              <a:gdLst>
                <a:gd name="T0" fmla="*/ 80 w 80"/>
                <a:gd name="T1" fmla="*/ 0 h 185"/>
                <a:gd name="T2" fmla="*/ 76 w 80"/>
                <a:gd name="T3" fmla="*/ 0 h 185"/>
                <a:gd name="T4" fmla="*/ 76 w 80"/>
                <a:gd name="T5" fmla="*/ 10 h 185"/>
                <a:gd name="T6" fmla="*/ 52 w 80"/>
                <a:gd name="T7" fmla="*/ 10 h 185"/>
                <a:gd name="T8" fmla="*/ 52 w 80"/>
                <a:gd name="T9" fmla="*/ 14 h 185"/>
                <a:gd name="T10" fmla="*/ 52 w 80"/>
                <a:gd name="T11" fmla="*/ 14 h 185"/>
                <a:gd name="T12" fmla="*/ 52 w 80"/>
                <a:gd name="T13" fmla="*/ 169 h 185"/>
                <a:gd name="T14" fmla="*/ 40 w 80"/>
                <a:gd name="T15" fmla="*/ 181 h 185"/>
                <a:gd name="T16" fmla="*/ 28 w 80"/>
                <a:gd name="T17" fmla="*/ 169 h 185"/>
                <a:gd name="T18" fmla="*/ 28 w 80"/>
                <a:gd name="T19" fmla="*/ 12 h 185"/>
                <a:gd name="T20" fmla="*/ 28 w 80"/>
                <a:gd name="T21" fmla="*/ 12 h 185"/>
                <a:gd name="T22" fmla="*/ 28 w 80"/>
                <a:gd name="T23" fmla="*/ 12 h 185"/>
                <a:gd name="T24" fmla="*/ 28 w 80"/>
                <a:gd name="T25" fmla="*/ 10 h 185"/>
                <a:gd name="T26" fmla="*/ 4 w 80"/>
                <a:gd name="T27" fmla="*/ 10 h 185"/>
                <a:gd name="T28" fmla="*/ 4 w 80"/>
                <a:gd name="T29" fmla="*/ 0 h 185"/>
                <a:gd name="T30" fmla="*/ 0 w 80"/>
                <a:gd name="T31" fmla="*/ 0 h 185"/>
                <a:gd name="T32" fmla="*/ 0 w 80"/>
                <a:gd name="T33" fmla="*/ 14 h 185"/>
                <a:gd name="T34" fmla="*/ 24 w 80"/>
                <a:gd name="T35" fmla="*/ 14 h 185"/>
                <a:gd name="T36" fmla="*/ 24 w 80"/>
                <a:gd name="T37" fmla="*/ 169 h 185"/>
                <a:gd name="T38" fmla="*/ 40 w 80"/>
                <a:gd name="T39" fmla="*/ 185 h 185"/>
                <a:gd name="T40" fmla="*/ 56 w 80"/>
                <a:gd name="T41" fmla="*/ 169 h 185"/>
                <a:gd name="T42" fmla="*/ 56 w 80"/>
                <a:gd name="T43" fmla="*/ 14 h 185"/>
                <a:gd name="T44" fmla="*/ 80 w 80"/>
                <a:gd name="T45" fmla="*/ 14 h 185"/>
                <a:gd name="T46" fmla="*/ 80 w 80"/>
                <a:gd name="T4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85">
                  <a:moveTo>
                    <a:pt x="80" y="0"/>
                  </a:moveTo>
                  <a:cubicBezTo>
                    <a:pt x="76" y="0"/>
                    <a:pt x="76" y="0"/>
                    <a:pt x="76" y="0"/>
                  </a:cubicBezTo>
                  <a:cubicBezTo>
                    <a:pt x="76" y="10"/>
                    <a:pt x="76" y="10"/>
                    <a:pt x="76" y="10"/>
                  </a:cubicBezTo>
                  <a:cubicBezTo>
                    <a:pt x="52" y="10"/>
                    <a:pt x="52" y="10"/>
                    <a:pt x="52" y="10"/>
                  </a:cubicBezTo>
                  <a:cubicBezTo>
                    <a:pt x="52" y="14"/>
                    <a:pt x="52" y="14"/>
                    <a:pt x="52" y="14"/>
                  </a:cubicBezTo>
                  <a:cubicBezTo>
                    <a:pt x="52" y="14"/>
                    <a:pt x="52" y="14"/>
                    <a:pt x="52" y="14"/>
                  </a:cubicBezTo>
                  <a:cubicBezTo>
                    <a:pt x="52" y="169"/>
                    <a:pt x="52" y="169"/>
                    <a:pt x="52" y="169"/>
                  </a:cubicBezTo>
                  <a:cubicBezTo>
                    <a:pt x="52" y="176"/>
                    <a:pt x="47" y="181"/>
                    <a:pt x="40" y="181"/>
                  </a:cubicBezTo>
                  <a:cubicBezTo>
                    <a:pt x="33" y="181"/>
                    <a:pt x="28" y="176"/>
                    <a:pt x="28" y="169"/>
                  </a:cubicBezTo>
                  <a:cubicBezTo>
                    <a:pt x="28" y="12"/>
                    <a:pt x="28" y="12"/>
                    <a:pt x="28" y="12"/>
                  </a:cubicBezTo>
                  <a:cubicBezTo>
                    <a:pt x="28" y="12"/>
                    <a:pt x="28" y="12"/>
                    <a:pt x="28" y="12"/>
                  </a:cubicBezTo>
                  <a:cubicBezTo>
                    <a:pt x="28" y="12"/>
                    <a:pt x="28" y="12"/>
                    <a:pt x="28" y="12"/>
                  </a:cubicBezTo>
                  <a:cubicBezTo>
                    <a:pt x="28" y="10"/>
                    <a:pt x="28" y="10"/>
                    <a:pt x="28" y="10"/>
                  </a:cubicBezTo>
                  <a:cubicBezTo>
                    <a:pt x="4" y="10"/>
                    <a:pt x="4" y="10"/>
                    <a:pt x="4" y="10"/>
                  </a:cubicBezTo>
                  <a:cubicBezTo>
                    <a:pt x="4" y="0"/>
                    <a:pt x="4" y="0"/>
                    <a:pt x="4" y="0"/>
                  </a:cubicBezTo>
                  <a:cubicBezTo>
                    <a:pt x="0" y="0"/>
                    <a:pt x="0" y="0"/>
                    <a:pt x="0" y="0"/>
                  </a:cubicBezTo>
                  <a:cubicBezTo>
                    <a:pt x="0" y="14"/>
                    <a:pt x="0" y="14"/>
                    <a:pt x="0" y="14"/>
                  </a:cubicBezTo>
                  <a:cubicBezTo>
                    <a:pt x="24" y="14"/>
                    <a:pt x="24" y="14"/>
                    <a:pt x="24" y="14"/>
                  </a:cubicBezTo>
                  <a:cubicBezTo>
                    <a:pt x="24" y="169"/>
                    <a:pt x="24" y="169"/>
                    <a:pt x="24" y="169"/>
                  </a:cubicBezTo>
                  <a:cubicBezTo>
                    <a:pt x="24" y="178"/>
                    <a:pt x="31" y="185"/>
                    <a:pt x="40" y="185"/>
                  </a:cubicBezTo>
                  <a:cubicBezTo>
                    <a:pt x="49" y="185"/>
                    <a:pt x="56" y="178"/>
                    <a:pt x="56" y="169"/>
                  </a:cubicBezTo>
                  <a:cubicBezTo>
                    <a:pt x="56" y="14"/>
                    <a:pt x="56" y="14"/>
                    <a:pt x="56" y="14"/>
                  </a:cubicBezTo>
                  <a:cubicBezTo>
                    <a:pt x="80" y="14"/>
                    <a:pt x="80" y="14"/>
                    <a:pt x="80" y="14"/>
                  </a:cubicBezTo>
                  <a:lnTo>
                    <a:pt x="80" y="0"/>
                  </a:lnTo>
                  <a:close/>
                </a:path>
              </a:pathLst>
            </a:custGeom>
            <a:solidFill>
              <a:schemeClr val="tx2"/>
            </a:solidFill>
            <a:ln w="15875">
              <a:solidFill>
                <a:schemeClr val="tx2"/>
              </a:solidFill>
              <a:miter lim="800000"/>
            </a:ln>
          </p:spPr>
          <p:txBody>
            <a:bodyPr vert="horz" wrap="square" lIns="91440" tIns="45720" rIns="91440" bIns="45720" numCol="1" anchor="t" anchorCtr="0" compatLnSpc="1">
              <a:prstTxWarp prst="textNoShape">
                <a:avLst/>
              </a:prstTxWarp>
            </a:bodyPr>
            <a:lstStyle/>
            <a:p>
              <a:endParaRPr lang="en-US" dirty="0"/>
            </a:p>
          </p:txBody>
        </p:sp>
      </p:grpSp>
      <p:grpSp>
        <p:nvGrpSpPr>
          <p:cNvPr id="33" name="Gruppieren 32">
            <a:extLst>
              <a:ext uri="{FF2B5EF4-FFF2-40B4-BE49-F238E27FC236}">
                <a16:creationId xmlns:a16="http://schemas.microsoft.com/office/drawing/2014/main" id="{4776E879-67C3-4E43-864F-E68C4A9A044E}"/>
              </a:ext>
            </a:extLst>
          </p:cNvPr>
          <p:cNvGrpSpPr/>
          <p:nvPr/>
        </p:nvGrpSpPr>
        <p:grpSpPr bwMode="gray">
          <a:xfrm>
            <a:off x="4998327" y="3030369"/>
            <a:ext cx="332468" cy="379124"/>
            <a:chOff x="5077148" y="3378863"/>
            <a:chExt cx="282026" cy="321603"/>
          </a:xfrm>
        </p:grpSpPr>
        <p:sp>
          <p:nvSpPr>
            <p:cNvPr id="32" name="Rechteck 31">
              <a:extLst>
                <a:ext uri="{FF2B5EF4-FFF2-40B4-BE49-F238E27FC236}">
                  <a16:creationId xmlns:a16="http://schemas.microsoft.com/office/drawing/2014/main" id="{4E6CF9CB-C50B-4F81-9CF4-B30E06128606}"/>
                </a:ext>
              </a:extLst>
            </p:cNvPr>
            <p:cNvSpPr/>
            <p:nvPr/>
          </p:nvSpPr>
          <p:spPr bwMode="gray">
            <a:xfrm>
              <a:off x="5090297" y="3415033"/>
              <a:ext cx="268877" cy="222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6" name="Check">
              <a:extLst>
                <a:ext uri="{FF2B5EF4-FFF2-40B4-BE49-F238E27FC236}">
                  <a16:creationId xmlns:a16="http://schemas.microsoft.com/office/drawing/2014/main" id="{66738E8E-5EC1-46DF-A473-A0308582D2D2}"/>
                </a:ext>
              </a:extLst>
            </p:cNvPr>
            <p:cNvGrpSpPr>
              <a:grpSpLocks noChangeAspect="1"/>
            </p:cNvGrpSpPr>
            <p:nvPr>
              <p:custDataLst>
                <p:tags r:id="rId45"/>
              </p:custDataLst>
            </p:nvPr>
          </p:nvGrpSpPr>
          <p:grpSpPr bwMode="gray">
            <a:xfrm>
              <a:off x="5077148" y="3378863"/>
              <a:ext cx="282026" cy="321603"/>
              <a:chOff x="7535406" y="3645824"/>
              <a:chExt cx="1436687" cy="1638300"/>
            </a:xfrm>
          </p:grpSpPr>
          <p:sp>
            <p:nvSpPr>
              <p:cNvPr id="127" name="Freeform 13">
                <a:extLst>
                  <a:ext uri="{FF2B5EF4-FFF2-40B4-BE49-F238E27FC236}">
                    <a16:creationId xmlns:a16="http://schemas.microsoft.com/office/drawing/2014/main" id="{6A2FFFA3-C5CD-4F8F-A348-93B9B1A6A828}"/>
                  </a:ext>
                </a:extLst>
              </p:cNvPr>
              <p:cNvSpPr>
                <a:spLocks/>
              </p:cNvSpPr>
              <p:nvPr>
                <p:custDataLst>
                  <p:tags r:id="rId46"/>
                </p:custDataLst>
              </p:nvPr>
            </p:nvSpPr>
            <p:spPr bwMode="gray">
              <a:xfrm>
                <a:off x="7967206" y="4233199"/>
                <a:ext cx="573087" cy="463550"/>
              </a:xfrm>
              <a:custGeom>
                <a:avLst/>
                <a:gdLst>
                  <a:gd name="T0" fmla="*/ 542 w 1568"/>
                  <a:gd name="T1" fmla="*/ 1274 h 1274"/>
                  <a:gd name="T2" fmla="*/ 0 w 1568"/>
                  <a:gd name="T3" fmla="*/ 732 h 1274"/>
                  <a:gd name="T4" fmla="*/ 248 w 1568"/>
                  <a:gd name="T5" fmla="*/ 484 h 1274"/>
                  <a:gd name="T6" fmla="*/ 542 w 1568"/>
                  <a:gd name="T7" fmla="*/ 778 h 1274"/>
                  <a:gd name="T8" fmla="*/ 1320 w 1568"/>
                  <a:gd name="T9" fmla="*/ 0 h 1274"/>
                  <a:gd name="T10" fmla="*/ 1568 w 1568"/>
                  <a:gd name="T11" fmla="*/ 248 h 1274"/>
                  <a:gd name="T12" fmla="*/ 542 w 1568"/>
                  <a:gd name="T13" fmla="*/ 1274 h 1274"/>
                </a:gdLst>
                <a:ahLst/>
                <a:cxnLst>
                  <a:cxn ang="0">
                    <a:pos x="T0" y="T1"/>
                  </a:cxn>
                  <a:cxn ang="0">
                    <a:pos x="T2" y="T3"/>
                  </a:cxn>
                  <a:cxn ang="0">
                    <a:pos x="T4" y="T5"/>
                  </a:cxn>
                  <a:cxn ang="0">
                    <a:pos x="T6" y="T7"/>
                  </a:cxn>
                  <a:cxn ang="0">
                    <a:pos x="T8" y="T9"/>
                  </a:cxn>
                  <a:cxn ang="0">
                    <a:pos x="T10" y="T11"/>
                  </a:cxn>
                  <a:cxn ang="0">
                    <a:pos x="T12" y="T13"/>
                  </a:cxn>
                </a:cxnLst>
                <a:rect l="0" t="0" r="r" b="b"/>
                <a:pathLst>
                  <a:path w="1568" h="1274">
                    <a:moveTo>
                      <a:pt x="542" y="1274"/>
                    </a:moveTo>
                    <a:lnTo>
                      <a:pt x="0" y="732"/>
                    </a:lnTo>
                    <a:lnTo>
                      <a:pt x="248" y="484"/>
                    </a:lnTo>
                    <a:lnTo>
                      <a:pt x="542" y="778"/>
                    </a:lnTo>
                    <a:lnTo>
                      <a:pt x="1320" y="0"/>
                    </a:lnTo>
                    <a:lnTo>
                      <a:pt x="1568" y="248"/>
                    </a:lnTo>
                    <a:lnTo>
                      <a:pt x="542" y="127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4">
                <a:extLst>
                  <a:ext uri="{FF2B5EF4-FFF2-40B4-BE49-F238E27FC236}">
                    <a16:creationId xmlns:a16="http://schemas.microsoft.com/office/drawing/2014/main" id="{346DB877-E7DB-48DF-9083-7C32DFD84262}"/>
                  </a:ext>
                </a:extLst>
              </p:cNvPr>
              <p:cNvSpPr>
                <a:spLocks noEditPoints="1"/>
              </p:cNvSpPr>
              <p:nvPr>
                <p:custDataLst>
                  <p:tags r:id="rId47"/>
                </p:custDataLst>
              </p:nvPr>
            </p:nvSpPr>
            <p:spPr bwMode="gray">
              <a:xfrm>
                <a:off x="7535406" y="3645824"/>
                <a:ext cx="1436687" cy="1638300"/>
              </a:xfrm>
              <a:custGeom>
                <a:avLst/>
                <a:gdLst>
                  <a:gd name="T0" fmla="*/ 1303 w 3940"/>
                  <a:gd name="T1" fmla="*/ 350 h 4500"/>
                  <a:gd name="T2" fmla="*/ 2642 w 3940"/>
                  <a:gd name="T3" fmla="*/ 350 h 4500"/>
                  <a:gd name="T4" fmla="*/ 2642 w 3940"/>
                  <a:gd name="T5" fmla="*/ 720 h 4500"/>
                  <a:gd name="T6" fmla="*/ 1303 w 3940"/>
                  <a:gd name="T7" fmla="*/ 720 h 4500"/>
                  <a:gd name="T8" fmla="*/ 1303 w 3940"/>
                  <a:gd name="T9" fmla="*/ 350 h 4500"/>
                  <a:gd name="T10" fmla="*/ 3788 w 3940"/>
                  <a:gd name="T11" fmla="*/ 4019 h 4500"/>
                  <a:gd name="T12" fmla="*/ 3351 w 3940"/>
                  <a:gd name="T13" fmla="*/ 3940 h 4500"/>
                  <a:gd name="T14" fmla="*/ 2937 w 3940"/>
                  <a:gd name="T15" fmla="*/ 3915 h 4500"/>
                  <a:gd name="T16" fmla="*/ 1946 w 3940"/>
                  <a:gd name="T17" fmla="*/ 4040 h 4500"/>
                  <a:gd name="T18" fmla="*/ 1071 w 3940"/>
                  <a:gd name="T19" fmla="*/ 4150 h 4500"/>
                  <a:gd name="T20" fmla="*/ 350 w 3940"/>
                  <a:gd name="T21" fmla="*/ 4073 h 4500"/>
                  <a:gd name="T22" fmla="*/ 350 w 3940"/>
                  <a:gd name="T23" fmla="*/ 689 h 4500"/>
                  <a:gd name="T24" fmla="*/ 953 w 3940"/>
                  <a:gd name="T25" fmla="*/ 689 h 4500"/>
                  <a:gd name="T26" fmla="*/ 953 w 3940"/>
                  <a:gd name="T27" fmla="*/ 1070 h 4500"/>
                  <a:gd name="T28" fmla="*/ 2992 w 3940"/>
                  <a:gd name="T29" fmla="*/ 1070 h 4500"/>
                  <a:gd name="T30" fmla="*/ 2992 w 3940"/>
                  <a:gd name="T31" fmla="*/ 689 h 4500"/>
                  <a:gd name="T32" fmla="*/ 3590 w 3940"/>
                  <a:gd name="T33" fmla="*/ 689 h 4500"/>
                  <a:gd name="T34" fmla="*/ 3590 w 3940"/>
                  <a:gd name="T35" fmla="*/ 3622 h 4500"/>
                  <a:gd name="T36" fmla="*/ 3874 w 3940"/>
                  <a:gd name="T37" fmla="*/ 3680 h 4500"/>
                  <a:gd name="T38" fmla="*/ 3940 w 3940"/>
                  <a:gd name="T39" fmla="*/ 3696 h 4500"/>
                  <a:gd name="T40" fmla="*/ 3940 w 3940"/>
                  <a:gd name="T41" fmla="*/ 339 h 4500"/>
                  <a:gd name="T42" fmla="*/ 2992 w 3940"/>
                  <a:gd name="T43" fmla="*/ 339 h 4500"/>
                  <a:gd name="T44" fmla="*/ 2992 w 3940"/>
                  <a:gd name="T45" fmla="*/ 0 h 4500"/>
                  <a:gd name="T46" fmla="*/ 953 w 3940"/>
                  <a:gd name="T47" fmla="*/ 0 h 4500"/>
                  <a:gd name="T48" fmla="*/ 953 w 3940"/>
                  <a:gd name="T49" fmla="*/ 339 h 4500"/>
                  <a:gd name="T50" fmla="*/ 0 w 3940"/>
                  <a:gd name="T51" fmla="*/ 339 h 4500"/>
                  <a:gd name="T52" fmla="*/ 0 w 3940"/>
                  <a:gd name="T53" fmla="*/ 4351 h 4500"/>
                  <a:gd name="T54" fmla="*/ 111 w 3940"/>
                  <a:gd name="T55" fmla="*/ 4379 h 4500"/>
                  <a:gd name="T56" fmla="*/ 1071 w 3940"/>
                  <a:gd name="T57" fmla="*/ 4500 h 4500"/>
                  <a:gd name="T58" fmla="*/ 2031 w 3940"/>
                  <a:gd name="T59" fmla="*/ 4379 h 4500"/>
                  <a:gd name="T60" fmla="*/ 2937 w 3940"/>
                  <a:gd name="T61" fmla="*/ 4265 h 4500"/>
                  <a:gd name="T62" fmla="*/ 3879 w 3940"/>
                  <a:gd name="T63" fmla="*/ 4385 h 4500"/>
                  <a:gd name="T64" fmla="*/ 3940 w 3940"/>
                  <a:gd name="T65" fmla="*/ 4400 h 4500"/>
                  <a:gd name="T66" fmla="*/ 3940 w 3940"/>
                  <a:gd name="T67" fmla="*/ 4058 h 4500"/>
                  <a:gd name="T68" fmla="*/ 3788 w 3940"/>
                  <a:gd name="T69" fmla="*/ 4019 h 4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0" h="4500">
                    <a:moveTo>
                      <a:pt x="1303" y="350"/>
                    </a:moveTo>
                    <a:lnTo>
                      <a:pt x="2642" y="350"/>
                    </a:lnTo>
                    <a:lnTo>
                      <a:pt x="2642" y="720"/>
                    </a:lnTo>
                    <a:lnTo>
                      <a:pt x="1303" y="720"/>
                    </a:lnTo>
                    <a:lnTo>
                      <a:pt x="1303" y="350"/>
                    </a:lnTo>
                    <a:close/>
                    <a:moveTo>
                      <a:pt x="3788" y="4019"/>
                    </a:moveTo>
                    <a:cubicBezTo>
                      <a:pt x="3786" y="4019"/>
                      <a:pt x="3591" y="3971"/>
                      <a:pt x="3351" y="3940"/>
                    </a:cubicBezTo>
                    <a:cubicBezTo>
                      <a:pt x="3219" y="3925"/>
                      <a:pt x="3077" y="3915"/>
                      <a:pt x="2937" y="3915"/>
                    </a:cubicBezTo>
                    <a:cubicBezTo>
                      <a:pt x="2454" y="3915"/>
                      <a:pt x="1967" y="4034"/>
                      <a:pt x="1946" y="4040"/>
                    </a:cubicBezTo>
                    <a:cubicBezTo>
                      <a:pt x="1928" y="4044"/>
                      <a:pt x="1504" y="4150"/>
                      <a:pt x="1071" y="4150"/>
                    </a:cubicBezTo>
                    <a:cubicBezTo>
                      <a:pt x="795" y="4150"/>
                      <a:pt x="517" y="4105"/>
                      <a:pt x="350" y="4073"/>
                    </a:cubicBezTo>
                    <a:lnTo>
                      <a:pt x="350" y="689"/>
                    </a:lnTo>
                    <a:lnTo>
                      <a:pt x="953" y="689"/>
                    </a:lnTo>
                    <a:lnTo>
                      <a:pt x="953" y="1070"/>
                    </a:lnTo>
                    <a:lnTo>
                      <a:pt x="2992" y="1070"/>
                    </a:lnTo>
                    <a:lnTo>
                      <a:pt x="2992" y="689"/>
                    </a:lnTo>
                    <a:lnTo>
                      <a:pt x="3590" y="689"/>
                    </a:lnTo>
                    <a:lnTo>
                      <a:pt x="3590" y="3622"/>
                    </a:lnTo>
                    <a:cubicBezTo>
                      <a:pt x="3752" y="3649"/>
                      <a:pt x="3865" y="3677"/>
                      <a:pt x="3874" y="3680"/>
                    </a:cubicBezTo>
                    <a:lnTo>
                      <a:pt x="3940" y="3696"/>
                    </a:lnTo>
                    <a:lnTo>
                      <a:pt x="3940" y="339"/>
                    </a:lnTo>
                    <a:lnTo>
                      <a:pt x="2992" y="339"/>
                    </a:lnTo>
                    <a:lnTo>
                      <a:pt x="2992" y="0"/>
                    </a:lnTo>
                    <a:lnTo>
                      <a:pt x="953" y="0"/>
                    </a:lnTo>
                    <a:lnTo>
                      <a:pt x="953" y="339"/>
                    </a:lnTo>
                    <a:lnTo>
                      <a:pt x="0" y="339"/>
                    </a:lnTo>
                    <a:lnTo>
                      <a:pt x="0" y="4351"/>
                    </a:lnTo>
                    <a:lnTo>
                      <a:pt x="111" y="4379"/>
                    </a:lnTo>
                    <a:cubicBezTo>
                      <a:pt x="130" y="4384"/>
                      <a:pt x="594" y="4500"/>
                      <a:pt x="1071" y="4500"/>
                    </a:cubicBezTo>
                    <a:cubicBezTo>
                      <a:pt x="1548" y="4500"/>
                      <a:pt x="2012" y="4384"/>
                      <a:pt x="2031" y="4379"/>
                    </a:cubicBezTo>
                    <a:cubicBezTo>
                      <a:pt x="2050" y="4374"/>
                      <a:pt x="2498" y="4265"/>
                      <a:pt x="2937" y="4265"/>
                    </a:cubicBezTo>
                    <a:cubicBezTo>
                      <a:pt x="3385" y="4265"/>
                      <a:pt x="3874" y="4384"/>
                      <a:pt x="3879" y="4385"/>
                    </a:cubicBezTo>
                    <a:lnTo>
                      <a:pt x="3940" y="4400"/>
                    </a:lnTo>
                    <a:lnTo>
                      <a:pt x="3940" y="4058"/>
                    </a:lnTo>
                    <a:lnTo>
                      <a:pt x="3788" y="4019"/>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8" name="Gruppieren 37">
            <a:extLst>
              <a:ext uri="{FF2B5EF4-FFF2-40B4-BE49-F238E27FC236}">
                <a16:creationId xmlns:a16="http://schemas.microsoft.com/office/drawing/2014/main" id="{19930157-242C-4FB3-86DB-8F398EAE2B10}"/>
              </a:ext>
            </a:extLst>
          </p:cNvPr>
          <p:cNvGrpSpPr/>
          <p:nvPr/>
        </p:nvGrpSpPr>
        <p:grpSpPr bwMode="gray">
          <a:xfrm>
            <a:off x="1914304" y="3141754"/>
            <a:ext cx="508392" cy="438269"/>
            <a:chOff x="1907983" y="3159283"/>
            <a:chExt cx="508392" cy="438269"/>
          </a:xfrm>
        </p:grpSpPr>
        <p:sp>
          <p:nvSpPr>
            <p:cNvPr id="77" name="Freeform 123">
              <a:extLst>
                <a:ext uri="{FF2B5EF4-FFF2-40B4-BE49-F238E27FC236}">
                  <a16:creationId xmlns:a16="http://schemas.microsoft.com/office/drawing/2014/main" id="{54214975-B4FB-472B-BCCF-0EB8D9F35986}"/>
                </a:ext>
              </a:extLst>
            </p:cNvPr>
            <p:cNvSpPr>
              <a:spLocks noEditPoints="1"/>
            </p:cNvSpPr>
            <p:nvPr/>
          </p:nvSpPr>
          <p:spPr bwMode="gray">
            <a:xfrm>
              <a:off x="2136858" y="3268343"/>
              <a:ext cx="50948" cy="297316"/>
            </a:xfrm>
            <a:custGeom>
              <a:avLst/>
              <a:gdLst>
                <a:gd name="T0" fmla="*/ 0 w 59"/>
                <a:gd name="T1" fmla="*/ 315 h 346"/>
                <a:gd name="T2" fmla="*/ 29 w 59"/>
                <a:gd name="T3" fmla="*/ 283 h 346"/>
                <a:gd name="T4" fmla="*/ 59 w 59"/>
                <a:gd name="T5" fmla="*/ 315 h 346"/>
                <a:gd name="T6" fmla="*/ 29 w 59"/>
                <a:gd name="T7" fmla="*/ 346 h 346"/>
                <a:gd name="T8" fmla="*/ 0 w 59"/>
                <a:gd name="T9" fmla="*/ 315 h 346"/>
                <a:gd name="T10" fmla="*/ 12 w 59"/>
                <a:gd name="T11" fmla="*/ 242 h 346"/>
                <a:gd name="T12" fmla="*/ 5 w 59"/>
                <a:gd name="T13" fmla="*/ 0 h 346"/>
                <a:gd name="T14" fmla="*/ 53 w 59"/>
                <a:gd name="T15" fmla="*/ 0 h 346"/>
                <a:gd name="T16" fmla="*/ 46 w 59"/>
                <a:gd name="T17" fmla="*/ 242 h 346"/>
                <a:gd name="T18" fmla="*/ 12 w 59"/>
                <a:gd name="T19" fmla="*/ 242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346">
                  <a:moveTo>
                    <a:pt x="0" y="315"/>
                  </a:moveTo>
                  <a:cubicBezTo>
                    <a:pt x="0" y="296"/>
                    <a:pt x="12" y="283"/>
                    <a:pt x="29" y="283"/>
                  </a:cubicBezTo>
                  <a:cubicBezTo>
                    <a:pt x="47" y="283"/>
                    <a:pt x="59" y="296"/>
                    <a:pt x="59" y="315"/>
                  </a:cubicBezTo>
                  <a:cubicBezTo>
                    <a:pt x="59" y="332"/>
                    <a:pt x="47" y="346"/>
                    <a:pt x="29" y="346"/>
                  </a:cubicBezTo>
                  <a:cubicBezTo>
                    <a:pt x="12" y="346"/>
                    <a:pt x="0" y="332"/>
                    <a:pt x="0" y="315"/>
                  </a:cubicBezTo>
                  <a:close/>
                  <a:moveTo>
                    <a:pt x="12" y="242"/>
                  </a:moveTo>
                  <a:cubicBezTo>
                    <a:pt x="5" y="0"/>
                    <a:pt x="5" y="0"/>
                    <a:pt x="5" y="0"/>
                  </a:cubicBezTo>
                  <a:cubicBezTo>
                    <a:pt x="53" y="0"/>
                    <a:pt x="53" y="0"/>
                    <a:pt x="53" y="0"/>
                  </a:cubicBezTo>
                  <a:cubicBezTo>
                    <a:pt x="46" y="242"/>
                    <a:pt x="46" y="242"/>
                    <a:pt x="46" y="242"/>
                  </a:cubicBezTo>
                  <a:lnTo>
                    <a:pt x="12" y="242"/>
                  </a:lnTo>
                  <a:close/>
                </a:path>
              </a:pathLst>
            </a:custGeom>
            <a:solidFill>
              <a:schemeClr val="dk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6" name="Gleichschenkliges Dreieck 35">
              <a:extLst>
                <a:ext uri="{FF2B5EF4-FFF2-40B4-BE49-F238E27FC236}">
                  <a16:creationId xmlns:a16="http://schemas.microsoft.com/office/drawing/2014/main" id="{E393F630-3A33-4260-99A8-86CD4367D0A1}"/>
                </a:ext>
              </a:extLst>
            </p:cNvPr>
            <p:cNvSpPr/>
            <p:nvPr/>
          </p:nvSpPr>
          <p:spPr bwMode="gray">
            <a:xfrm>
              <a:off x="1907983" y="3159283"/>
              <a:ext cx="508392" cy="438269"/>
            </a:xfrm>
            <a:prstGeom prst="triangle">
              <a:avLst/>
            </a:prstGeom>
            <a:noFill/>
            <a:ln w="38100">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6" name="Gruppieren 45">
            <a:extLst>
              <a:ext uri="{FF2B5EF4-FFF2-40B4-BE49-F238E27FC236}">
                <a16:creationId xmlns:a16="http://schemas.microsoft.com/office/drawing/2014/main" id="{C9CF7C5A-ADBB-4FED-9454-9E2635F275E8}"/>
              </a:ext>
            </a:extLst>
          </p:cNvPr>
          <p:cNvGrpSpPr/>
          <p:nvPr/>
        </p:nvGrpSpPr>
        <p:grpSpPr bwMode="gray">
          <a:xfrm>
            <a:off x="7707872" y="3121309"/>
            <a:ext cx="503260" cy="573883"/>
            <a:chOff x="6779223" y="934437"/>
            <a:chExt cx="1190628" cy="1357710"/>
          </a:xfrm>
        </p:grpSpPr>
        <p:sp>
          <p:nvSpPr>
            <p:cNvPr id="130" name="Rechteck 129">
              <a:extLst>
                <a:ext uri="{FF2B5EF4-FFF2-40B4-BE49-F238E27FC236}">
                  <a16:creationId xmlns:a16="http://schemas.microsoft.com/office/drawing/2014/main" id="{848C658C-7B6B-49EB-A5FC-637B968E6549}"/>
                </a:ext>
              </a:extLst>
            </p:cNvPr>
            <p:cNvSpPr/>
            <p:nvPr/>
          </p:nvSpPr>
          <p:spPr bwMode="gray">
            <a:xfrm>
              <a:off x="6834734" y="1087136"/>
              <a:ext cx="1135117" cy="939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Freeform 14">
              <a:extLst>
                <a:ext uri="{FF2B5EF4-FFF2-40B4-BE49-F238E27FC236}">
                  <a16:creationId xmlns:a16="http://schemas.microsoft.com/office/drawing/2014/main" id="{090947B1-A7DA-4E8C-8709-D60D4432787D}"/>
                </a:ext>
              </a:extLst>
            </p:cNvPr>
            <p:cNvSpPr>
              <a:spLocks noEditPoints="1"/>
            </p:cNvSpPr>
            <p:nvPr>
              <p:custDataLst>
                <p:tags r:id="rId41"/>
              </p:custDataLst>
            </p:nvPr>
          </p:nvSpPr>
          <p:spPr bwMode="gray">
            <a:xfrm>
              <a:off x="6779223" y="934437"/>
              <a:ext cx="1190628" cy="1357710"/>
            </a:xfrm>
            <a:custGeom>
              <a:avLst/>
              <a:gdLst>
                <a:gd name="T0" fmla="*/ 1303 w 3940"/>
                <a:gd name="T1" fmla="*/ 350 h 4500"/>
                <a:gd name="T2" fmla="*/ 2642 w 3940"/>
                <a:gd name="T3" fmla="*/ 350 h 4500"/>
                <a:gd name="T4" fmla="*/ 2642 w 3940"/>
                <a:gd name="T5" fmla="*/ 720 h 4500"/>
                <a:gd name="T6" fmla="*/ 1303 w 3940"/>
                <a:gd name="T7" fmla="*/ 720 h 4500"/>
                <a:gd name="T8" fmla="*/ 1303 w 3940"/>
                <a:gd name="T9" fmla="*/ 350 h 4500"/>
                <a:gd name="T10" fmla="*/ 3788 w 3940"/>
                <a:gd name="T11" fmla="*/ 4019 h 4500"/>
                <a:gd name="T12" fmla="*/ 3351 w 3940"/>
                <a:gd name="T13" fmla="*/ 3940 h 4500"/>
                <a:gd name="T14" fmla="*/ 2937 w 3940"/>
                <a:gd name="T15" fmla="*/ 3915 h 4500"/>
                <a:gd name="T16" fmla="*/ 1946 w 3940"/>
                <a:gd name="T17" fmla="*/ 4040 h 4500"/>
                <a:gd name="T18" fmla="*/ 1071 w 3940"/>
                <a:gd name="T19" fmla="*/ 4150 h 4500"/>
                <a:gd name="T20" fmla="*/ 350 w 3940"/>
                <a:gd name="T21" fmla="*/ 4073 h 4500"/>
                <a:gd name="T22" fmla="*/ 350 w 3940"/>
                <a:gd name="T23" fmla="*/ 689 h 4500"/>
                <a:gd name="T24" fmla="*/ 953 w 3940"/>
                <a:gd name="T25" fmla="*/ 689 h 4500"/>
                <a:gd name="T26" fmla="*/ 953 w 3940"/>
                <a:gd name="T27" fmla="*/ 1070 h 4500"/>
                <a:gd name="T28" fmla="*/ 2992 w 3940"/>
                <a:gd name="T29" fmla="*/ 1070 h 4500"/>
                <a:gd name="T30" fmla="*/ 2992 w 3940"/>
                <a:gd name="T31" fmla="*/ 689 h 4500"/>
                <a:gd name="T32" fmla="*/ 3590 w 3940"/>
                <a:gd name="T33" fmla="*/ 689 h 4500"/>
                <a:gd name="T34" fmla="*/ 3590 w 3940"/>
                <a:gd name="T35" fmla="*/ 3622 h 4500"/>
                <a:gd name="T36" fmla="*/ 3874 w 3940"/>
                <a:gd name="T37" fmla="*/ 3680 h 4500"/>
                <a:gd name="T38" fmla="*/ 3940 w 3940"/>
                <a:gd name="T39" fmla="*/ 3696 h 4500"/>
                <a:gd name="T40" fmla="*/ 3940 w 3940"/>
                <a:gd name="T41" fmla="*/ 339 h 4500"/>
                <a:gd name="T42" fmla="*/ 2992 w 3940"/>
                <a:gd name="T43" fmla="*/ 339 h 4500"/>
                <a:gd name="T44" fmla="*/ 2992 w 3940"/>
                <a:gd name="T45" fmla="*/ 0 h 4500"/>
                <a:gd name="T46" fmla="*/ 953 w 3940"/>
                <a:gd name="T47" fmla="*/ 0 h 4500"/>
                <a:gd name="T48" fmla="*/ 953 w 3940"/>
                <a:gd name="T49" fmla="*/ 339 h 4500"/>
                <a:gd name="T50" fmla="*/ 0 w 3940"/>
                <a:gd name="T51" fmla="*/ 339 h 4500"/>
                <a:gd name="T52" fmla="*/ 0 w 3940"/>
                <a:gd name="T53" fmla="*/ 4351 h 4500"/>
                <a:gd name="T54" fmla="*/ 111 w 3940"/>
                <a:gd name="T55" fmla="*/ 4379 h 4500"/>
                <a:gd name="T56" fmla="*/ 1071 w 3940"/>
                <a:gd name="T57" fmla="*/ 4500 h 4500"/>
                <a:gd name="T58" fmla="*/ 2031 w 3940"/>
                <a:gd name="T59" fmla="*/ 4379 h 4500"/>
                <a:gd name="T60" fmla="*/ 2937 w 3940"/>
                <a:gd name="T61" fmla="*/ 4265 h 4500"/>
                <a:gd name="T62" fmla="*/ 3879 w 3940"/>
                <a:gd name="T63" fmla="*/ 4385 h 4500"/>
                <a:gd name="T64" fmla="*/ 3940 w 3940"/>
                <a:gd name="T65" fmla="*/ 4400 h 4500"/>
                <a:gd name="T66" fmla="*/ 3940 w 3940"/>
                <a:gd name="T67" fmla="*/ 4058 h 4500"/>
                <a:gd name="T68" fmla="*/ 3788 w 3940"/>
                <a:gd name="T69" fmla="*/ 4019 h 4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40" h="4500">
                  <a:moveTo>
                    <a:pt x="1303" y="350"/>
                  </a:moveTo>
                  <a:lnTo>
                    <a:pt x="2642" y="350"/>
                  </a:lnTo>
                  <a:lnTo>
                    <a:pt x="2642" y="720"/>
                  </a:lnTo>
                  <a:lnTo>
                    <a:pt x="1303" y="720"/>
                  </a:lnTo>
                  <a:lnTo>
                    <a:pt x="1303" y="350"/>
                  </a:lnTo>
                  <a:close/>
                  <a:moveTo>
                    <a:pt x="3788" y="4019"/>
                  </a:moveTo>
                  <a:cubicBezTo>
                    <a:pt x="3786" y="4019"/>
                    <a:pt x="3591" y="3971"/>
                    <a:pt x="3351" y="3940"/>
                  </a:cubicBezTo>
                  <a:cubicBezTo>
                    <a:pt x="3219" y="3925"/>
                    <a:pt x="3077" y="3915"/>
                    <a:pt x="2937" y="3915"/>
                  </a:cubicBezTo>
                  <a:cubicBezTo>
                    <a:pt x="2454" y="3915"/>
                    <a:pt x="1967" y="4034"/>
                    <a:pt x="1946" y="4040"/>
                  </a:cubicBezTo>
                  <a:cubicBezTo>
                    <a:pt x="1928" y="4044"/>
                    <a:pt x="1504" y="4150"/>
                    <a:pt x="1071" y="4150"/>
                  </a:cubicBezTo>
                  <a:cubicBezTo>
                    <a:pt x="795" y="4150"/>
                    <a:pt x="517" y="4105"/>
                    <a:pt x="350" y="4073"/>
                  </a:cubicBezTo>
                  <a:lnTo>
                    <a:pt x="350" y="689"/>
                  </a:lnTo>
                  <a:lnTo>
                    <a:pt x="953" y="689"/>
                  </a:lnTo>
                  <a:lnTo>
                    <a:pt x="953" y="1070"/>
                  </a:lnTo>
                  <a:lnTo>
                    <a:pt x="2992" y="1070"/>
                  </a:lnTo>
                  <a:lnTo>
                    <a:pt x="2992" y="689"/>
                  </a:lnTo>
                  <a:lnTo>
                    <a:pt x="3590" y="689"/>
                  </a:lnTo>
                  <a:lnTo>
                    <a:pt x="3590" y="3622"/>
                  </a:lnTo>
                  <a:cubicBezTo>
                    <a:pt x="3752" y="3649"/>
                    <a:pt x="3865" y="3677"/>
                    <a:pt x="3874" y="3680"/>
                  </a:cubicBezTo>
                  <a:lnTo>
                    <a:pt x="3940" y="3696"/>
                  </a:lnTo>
                  <a:lnTo>
                    <a:pt x="3940" y="339"/>
                  </a:lnTo>
                  <a:lnTo>
                    <a:pt x="2992" y="339"/>
                  </a:lnTo>
                  <a:lnTo>
                    <a:pt x="2992" y="0"/>
                  </a:lnTo>
                  <a:lnTo>
                    <a:pt x="953" y="0"/>
                  </a:lnTo>
                  <a:lnTo>
                    <a:pt x="953" y="339"/>
                  </a:lnTo>
                  <a:lnTo>
                    <a:pt x="0" y="339"/>
                  </a:lnTo>
                  <a:lnTo>
                    <a:pt x="0" y="4351"/>
                  </a:lnTo>
                  <a:lnTo>
                    <a:pt x="111" y="4379"/>
                  </a:lnTo>
                  <a:cubicBezTo>
                    <a:pt x="130" y="4384"/>
                    <a:pt x="594" y="4500"/>
                    <a:pt x="1071" y="4500"/>
                  </a:cubicBezTo>
                  <a:cubicBezTo>
                    <a:pt x="1548" y="4500"/>
                    <a:pt x="2012" y="4384"/>
                    <a:pt x="2031" y="4379"/>
                  </a:cubicBezTo>
                  <a:cubicBezTo>
                    <a:pt x="2050" y="4374"/>
                    <a:pt x="2498" y="4265"/>
                    <a:pt x="2937" y="4265"/>
                  </a:cubicBezTo>
                  <a:cubicBezTo>
                    <a:pt x="3385" y="4265"/>
                    <a:pt x="3874" y="4384"/>
                    <a:pt x="3879" y="4385"/>
                  </a:cubicBezTo>
                  <a:lnTo>
                    <a:pt x="3940" y="4400"/>
                  </a:lnTo>
                  <a:lnTo>
                    <a:pt x="3940" y="4058"/>
                  </a:lnTo>
                  <a:lnTo>
                    <a:pt x="3788" y="4019"/>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5" name="Gruppieren 44">
              <a:extLst>
                <a:ext uri="{FF2B5EF4-FFF2-40B4-BE49-F238E27FC236}">
                  <a16:creationId xmlns:a16="http://schemas.microsoft.com/office/drawing/2014/main" id="{B4875816-6F5E-4428-95EF-D27DDD61C63D}"/>
                </a:ext>
              </a:extLst>
            </p:cNvPr>
            <p:cNvGrpSpPr/>
            <p:nvPr/>
          </p:nvGrpSpPr>
          <p:grpSpPr bwMode="gray">
            <a:xfrm>
              <a:off x="7068323" y="1301244"/>
              <a:ext cx="700012" cy="236696"/>
              <a:chOff x="7068323" y="1333134"/>
              <a:chExt cx="700012" cy="236696"/>
            </a:xfrm>
          </p:grpSpPr>
          <p:sp>
            <p:nvSpPr>
              <p:cNvPr id="132" name="Freeform 13">
                <a:extLst>
                  <a:ext uri="{FF2B5EF4-FFF2-40B4-BE49-F238E27FC236}">
                    <a16:creationId xmlns:a16="http://schemas.microsoft.com/office/drawing/2014/main" id="{CB4FE432-0E20-4779-8B35-776C017EB883}"/>
                  </a:ext>
                </a:extLst>
              </p:cNvPr>
              <p:cNvSpPr>
                <a:spLocks/>
              </p:cNvSpPr>
              <p:nvPr>
                <p:custDataLst>
                  <p:tags r:id="rId44"/>
                </p:custDataLst>
              </p:nvPr>
            </p:nvSpPr>
            <p:spPr bwMode="gray">
              <a:xfrm>
                <a:off x="7475707" y="1333134"/>
                <a:ext cx="292628" cy="236696"/>
              </a:xfrm>
              <a:custGeom>
                <a:avLst/>
                <a:gdLst>
                  <a:gd name="T0" fmla="*/ 542 w 1568"/>
                  <a:gd name="T1" fmla="*/ 1274 h 1274"/>
                  <a:gd name="T2" fmla="*/ 0 w 1568"/>
                  <a:gd name="T3" fmla="*/ 732 h 1274"/>
                  <a:gd name="T4" fmla="*/ 248 w 1568"/>
                  <a:gd name="T5" fmla="*/ 484 h 1274"/>
                  <a:gd name="T6" fmla="*/ 542 w 1568"/>
                  <a:gd name="T7" fmla="*/ 778 h 1274"/>
                  <a:gd name="T8" fmla="*/ 1320 w 1568"/>
                  <a:gd name="T9" fmla="*/ 0 h 1274"/>
                  <a:gd name="T10" fmla="*/ 1568 w 1568"/>
                  <a:gd name="T11" fmla="*/ 248 h 1274"/>
                  <a:gd name="T12" fmla="*/ 542 w 1568"/>
                  <a:gd name="T13" fmla="*/ 1274 h 1274"/>
                </a:gdLst>
                <a:ahLst/>
                <a:cxnLst>
                  <a:cxn ang="0">
                    <a:pos x="T0" y="T1"/>
                  </a:cxn>
                  <a:cxn ang="0">
                    <a:pos x="T2" y="T3"/>
                  </a:cxn>
                  <a:cxn ang="0">
                    <a:pos x="T4" y="T5"/>
                  </a:cxn>
                  <a:cxn ang="0">
                    <a:pos x="T6" y="T7"/>
                  </a:cxn>
                  <a:cxn ang="0">
                    <a:pos x="T8" y="T9"/>
                  </a:cxn>
                  <a:cxn ang="0">
                    <a:pos x="T10" y="T11"/>
                  </a:cxn>
                  <a:cxn ang="0">
                    <a:pos x="T12" y="T13"/>
                  </a:cxn>
                </a:cxnLst>
                <a:rect l="0" t="0" r="r" b="b"/>
                <a:pathLst>
                  <a:path w="1568" h="1274">
                    <a:moveTo>
                      <a:pt x="542" y="1274"/>
                    </a:moveTo>
                    <a:lnTo>
                      <a:pt x="0" y="732"/>
                    </a:lnTo>
                    <a:lnTo>
                      <a:pt x="248" y="484"/>
                    </a:lnTo>
                    <a:lnTo>
                      <a:pt x="542" y="778"/>
                    </a:lnTo>
                    <a:lnTo>
                      <a:pt x="1320" y="0"/>
                    </a:lnTo>
                    <a:lnTo>
                      <a:pt x="1568" y="248"/>
                    </a:lnTo>
                    <a:lnTo>
                      <a:pt x="542" y="127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Rechteck 41">
                <a:extLst>
                  <a:ext uri="{FF2B5EF4-FFF2-40B4-BE49-F238E27FC236}">
                    <a16:creationId xmlns:a16="http://schemas.microsoft.com/office/drawing/2014/main" id="{F61AA7E5-0BDE-4261-B563-4CFB49E28F9B}"/>
                  </a:ext>
                </a:extLst>
              </p:cNvPr>
              <p:cNvSpPr/>
              <p:nvPr/>
            </p:nvSpPr>
            <p:spPr bwMode="gray">
              <a:xfrm>
                <a:off x="7068323" y="1481983"/>
                <a:ext cx="3240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4" name="Gruppieren 43">
              <a:extLst>
                <a:ext uri="{FF2B5EF4-FFF2-40B4-BE49-F238E27FC236}">
                  <a16:creationId xmlns:a16="http://schemas.microsoft.com/office/drawing/2014/main" id="{A7882E6F-08AE-42DB-BDC4-CAC94CD62C56}"/>
                </a:ext>
              </a:extLst>
            </p:cNvPr>
            <p:cNvGrpSpPr/>
            <p:nvPr/>
          </p:nvGrpSpPr>
          <p:grpSpPr bwMode="gray">
            <a:xfrm>
              <a:off x="7068323" y="1554117"/>
              <a:ext cx="700012" cy="236696"/>
              <a:chOff x="7068323" y="1535573"/>
              <a:chExt cx="700012" cy="236696"/>
            </a:xfrm>
          </p:grpSpPr>
          <p:sp>
            <p:nvSpPr>
              <p:cNvPr id="134" name="Freeform 13">
                <a:extLst>
                  <a:ext uri="{FF2B5EF4-FFF2-40B4-BE49-F238E27FC236}">
                    <a16:creationId xmlns:a16="http://schemas.microsoft.com/office/drawing/2014/main" id="{7F91610E-5913-48FB-B5A0-117178D212DB}"/>
                  </a:ext>
                </a:extLst>
              </p:cNvPr>
              <p:cNvSpPr>
                <a:spLocks/>
              </p:cNvSpPr>
              <p:nvPr>
                <p:custDataLst>
                  <p:tags r:id="rId43"/>
                </p:custDataLst>
              </p:nvPr>
            </p:nvSpPr>
            <p:spPr bwMode="gray">
              <a:xfrm>
                <a:off x="7475707" y="1535573"/>
                <a:ext cx="292628" cy="236696"/>
              </a:xfrm>
              <a:custGeom>
                <a:avLst/>
                <a:gdLst>
                  <a:gd name="T0" fmla="*/ 542 w 1568"/>
                  <a:gd name="T1" fmla="*/ 1274 h 1274"/>
                  <a:gd name="T2" fmla="*/ 0 w 1568"/>
                  <a:gd name="T3" fmla="*/ 732 h 1274"/>
                  <a:gd name="T4" fmla="*/ 248 w 1568"/>
                  <a:gd name="T5" fmla="*/ 484 h 1274"/>
                  <a:gd name="T6" fmla="*/ 542 w 1568"/>
                  <a:gd name="T7" fmla="*/ 778 h 1274"/>
                  <a:gd name="T8" fmla="*/ 1320 w 1568"/>
                  <a:gd name="T9" fmla="*/ 0 h 1274"/>
                  <a:gd name="T10" fmla="*/ 1568 w 1568"/>
                  <a:gd name="T11" fmla="*/ 248 h 1274"/>
                  <a:gd name="T12" fmla="*/ 542 w 1568"/>
                  <a:gd name="T13" fmla="*/ 1274 h 1274"/>
                </a:gdLst>
                <a:ahLst/>
                <a:cxnLst>
                  <a:cxn ang="0">
                    <a:pos x="T0" y="T1"/>
                  </a:cxn>
                  <a:cxn ang="0">
                    <a:pos x="T2" y="T3"/>
                  </a:cxn>
                  <a:cxn ang="0">
                    <a:pos x="T4" y="T5"/>
                  </a:cxn>
                  <a:cxn ang="0">
                    <a:pos x="T6" y="T7"/>
                  </a:cxn>
                  <a:cxn ang="0">
                    <a:pos x="T8" y="T9"/>
                  </a:cxn>
                  <a:cxn ang="0">
                    <a:pos x="T10" y="T11"/>
                  </a:cxn>
                  <a:cxn ang="0">
                    <a:pos x="T12" y="T13"/>
                  </a:cxn>
                </a:cxnLst>
                <a:rect l="0" t="0" r="r" b="b"/>
                <a:pathLst>
                  <a:path w="1568" h="1274">
                    <a:moveTo>
                      <a:pt x="542" y="1274"/>
                    </a:moveTo>
                    <a:lnTo>
                      <a:pt x="0" y="732"/>
                    </a:lnTo>
                    <a:lnTo>
                      <a:pt x="248" y="484"/>
                    </a:lnTo>
                    <a:lnTo>
                      <a:pt x="542" y="778"/>
                    </a:lnTo>
                    <a:lnTo>
                      <a:pt x="1320" y="0"/>
                    </a:lnTo>
                    <a:lnTo>
                      <a:pt x="1568" y="248"/>
                    </a:lnTo>
                    <a:lnTo>
                      <a:pt x="542" y="127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Rechteck 134">
                <a:extLst>
                  <a:ext uri="{FF2B5EF4-FFF2-40B4-BE49-F238E27FC236}">
                    <a16:creationId xmlns:a16="http://schemas.microsoft.com/office/drawing/2014/main" id="{D1C79471-B2FC-4CC8-834E-5A7555781FBF}"/>
                  </a:ext>
                </a:extLst>
              </p:cNvPr>
              <p:cNvSpPr/>
              <p:nvPr/>
            </p:nvSpPr>
            <p:spPr bwMode="gray">
              <a:xfrm>
                <a:off x="7068323" y="1684422"/>
                <a:ext cx="3240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3" name="Gruppieren 42">
              <a:extLst>
                <a:ext uri="{FF2B5EF4-FFF2-40B4-BE49-F238E27FC236}">
                  <a16:creationId xmlns:a16="http://schemas.microsoft.com/office/drawing/2014/main" id="{4F7C654A-8626-4A14-978D-692946E53F16}"/>
                </a:ext>
              </a:extLst>
            </p:cNvPr>
            <p:cNvGrpSpPr/>
            <p:nvPr/>
          </p:nvGrpSpPr>
          <p:grpSpPr bwMode="gray">
            <a:xfrm>
              <a:off x="7068323" y="1806989"/>
              <a:ext cx="700012" cy="236696"/>
              <a:chOff x="7068323" y="1806989"/>
              <a:chExt cx="700012" cy="236696"/>
            </a:xfrm>
          </p:grpSpPr>
          <p:sp>
            <p:nvSpPr>
              <p:cNvPr id="136" name="Freeform 13">
                <a:extLst>
                  <a:ext uri="{FF2B5EF4-FFF2-40B4-BE49-F238E27FC236}">
                    <a16:creationId xmlns:a16="http://schemas.microsoft.com/office/drawing/2014/main" id="{784E66C1-B91C-4045-9D0F-423CD763D034}"/>
                  </a:ext>
                </a:extLst>
              </p:cNvPr>
              <p:cNvSpPr>
                <a:spLocks/>
              </p:cNvSpPr>
              <p:nvPr>
                <p:custDataLst>
                  <p:tags r:id="rId42"/>
                </p:custDataLst>
              </p:nvPr>
            </p:nvSpPr>
            <p:spPr bwMode="gray">
              <a:xfrm>
                <a:off x="7475707" y="1806989"/>
                <a:ext cx="292628" cy="236696"/>
              </a:xfrm>
              <a:custGeom>
                <a:avLst/>
                <a:gdLst>
                  <a:gd name="T0" fmla="*/ 542 w 1568"/>
                  <a:gd name="T1" fmla="*/ 1274 h 1274"/>
                  <a:gd name="T2" fmla="*/ 0 w 1568"/>
                  <a:gd name="T3" fmla="*/ 732 h 1274"/>
                  <a:gd name="T4" fmla="*/ 248 w 1568"/>
                  <a:gd name="T5" fmla="*/ 484 h 1274"/>
                  <a:gd name="T6" fmla="*/ 542 w 1568"/>
                  <a:gd name="T7" fmla="*/ 778 h 1274"/>
                  <a:gd name="T8" fmla="*/ 1320 w 1568"/>
                  <a:gd name="T9" fmla="*/ 0 h 1274"/>
                  <a:gd name="T10" fmla="*/ 1568 w 1568"/>
                  <a:gd name="T11" fmla="*/ 248 h 1274"/>
                  <a:gd name="T12" fmla="*/ 542 w 1568"/>
                  <a:gd name="T13" fmla="*/ 1274 h 1274"/>
                </a:gdLst>
                <a:ahLst/>
                <a:cxnLst>
                  <a:cxn ang="0">
                    <a:pos x="T0" y="T1"/>
                  </a:cxn>
                  <a:cxn ang="0">
                    <a:pos x="T2" y="T3"/>
                  </a:cxn>
                  <a:cxn ang="0">
                    <a:pos x="T4" y="T5"/>
                  </a:cxn>
                  <a:cxn ang="0">
                    <a:pos x="T6" y="T7"/>
                  </a:cxn>
                  <a:cxn ang="0">
                    <a:pos x="T8" y="T9"/>
                  </a:cxn>
                  <a:cxn ang="0">
                    <a:pos x="T10" y="T11"/>
                  </a:cxn>
                  <a:cxn ang="0">
                    <a:pos x="T12" y="T13"/>
                  </a:cxn>
                </a:cxnLst>
                <a:rect l="0" t="0" r="r" b="b"/>
                <a:pathLst>
                  <a:path w="1568" h="1274">
                    <a:moveTo>
                      <a:pt x="542" y="1274"/>
                    </a:moveTo>
                    <a:lnTo>
                      <a:pt x="0" y="732"/>
                    </a:lnTo>
                    <a:lnTo>
                      <a:pt x="248" y="484"/>
                    </a:lnTo>
                    <a:lnTo>
                      <a:pt x="542" y="778"/>
                    </a:lnTo>
                    <a:lnTo>
                      <a:pt x="1320" y="0"/>
                    </a:lnTo>
                    <a:lnTo>
                      <a:pt x="1568" y="248"/>
                    </a:lnTo>
                    <a:lnTo>
                      <a:pt x="542" y="1274"/>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Rechteck 136">
                <a:extLst>
                  <a:ext uri="{FF2B5EF4-FFF2-40B4-BE49-F238E27FC236}">
                    <a16:creationId xmlns:a16="http://schemas.microsoft.com/office/drawing/2014/main" id="{278B73B5-8814-4F4A-AF4D-53FB9643CAB9}"/>
                  </a:ext>
                </a:extLst>
              </p:cNvPr>
              <p:cNvSpPr/>
              <p:nvPr/>
            </p:nvSpPr>
            <p:spPr bwMode="gray">
              <a:xfrm>
                <a:off x="7068323" y="1955838"/>
                <a:ext cx="324000" cy="457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41" name="Gruppieren 140">
            <a:extLst>
              <a:ext uri="{FF2B5EF4-FFF2-40B4-BE49-F238E27FC236}">
                <a16:creationId xmlns:a16="http://schemas.microsoft.com/office/drawing/2014/main" id="{450B3C04-183E-4980-8A4A-AA388B2F077C}"/>
              </a:ext>
            </a:extLst>
          </p:cNvPr>
          <p:cNvGrpSpPr/>
          <p:nvPr/>
        </p:nvGrpSpPr>
        <p:grpSpPr bwMode="gray">
          <a:xfrm>
            <a:off x="9297191" y="3024930"/>
            <a:ext cx="223856" cy="148323"/>
            <a:chOff x="4653690" y="2811262"/>
            <a:chExt cx="811810" cy="825500"/>
          </a:xfrm>
        </p:grpSpPr>
        <p:sp>
          <p:nvSpPr>
            <p:cNvPr id="143" name="Freeform 220">
              <a:extLst>
                <a:ext uri="{FF2B5EF4-FFF2-40B4-BE49-F238E27FC236}">
                  <a16:creationId xmlns:a16="http://schemas.microsoft.com/office/drawing/2014/main" id="{DEF74E27-7206-4035-81F4-1D320B45FBCD}"/>
                </a:ext>
              </a:extLst>
            </p:cNvPr>
            <p:cNvSpPr>
              <a:spLocks noEditPoints="1"/>
            </p:cNvSpPr>
            <p:nvPr/>
          </p:nvSpPr>
          <p:spPr bwMode="gray">
            <a:xfrm>
              <a:off x="4653690" y="2811262"/>
              <a:ext cx="490538" cy="825500"/>
            </a:xfrm>
            <a:custGeom>
              <a:avLst/>
              <a:gdLst>
                <a:gd name="T0" fmla="*/ 138 w 150"/>
                <a:gd name="T1" fmla="*/ 252 h 252"/>
                <a:gd name="T2" fmla="*/ 12 w 150"/>
                <a:gd name="T3" fmla="*/ 252 h 252"/>
                <a:gd name="T4" fmla="*/ 5 w 150"/>
                <a:gd name="T5" fmla="*/ 249 h 252"/>
                <a:gd name="T6" fmla="*/ 11 w 150"/>
                <a:gd name="T7" fmla="*/ 218 h 252"/>
                <a:gd name="T8" fmla="*/ 53 w 150"/>
                <a:gd name="T9" fmla="*/ 128 h 252"/>
                <a:gd name="T10" fmla="*/ 61 w 150"/>
                <a:gd name="T11" fmla="*/ 95 h 252"/>
                <a:gd name="T12" fmla="*/ 61 w 150"/>
                <a:gd name="T13" fmla="*/ 0 h 252"/>
                <a:gd name="T14" fmla="*/ 89 w 150"/>
                <a:gd name="T15" fmla="*/ 0 h 252"/>
                <a:gd name="T16" fmla="*/ 89 w 150"/>
                <a:gd name="T17" fmla="*/ 95 h 252"/>
                <a:gd name="T18" fmla="*/ 97 w 150"/>
                <a:gd name="T19" fmla="*/ 128 h 252"/>
                <a:gd name="T20" fmla="*/ 139 w 150"/>
                <a:gd name="T21" fmla="*/ 218 h 252"/>
                <a:gd name="T22" fmla="*/ 145 w 150"/>
                <a:gd name="T23" fmla="*/ 248 h 252"/>
                <a:gd name="T24" fmla="*/ 138 w 150"/>
                <a:gd name="T25" fmla="*/ 252 h 252"/>
                <a:gd name="T26" fmla="*/ 65 w 150"/>
                <a:gd name="T27" fmla="*/ 4 h 252"/>
                <a:gd name="T28" fmla="*/ 65 w 150"/>
                <a:gd name="T29" fmla="*/ 95 h 252"/>
                <a:gd name="T30" fmla="*/ 57 w 150"/>
                <a:gd name="T31" fmla="*/ 130 h 252"/>
                <a:gd name="T32" fmla="*/ 14 w 150"/>
                <a:gd name="T33" fmla="*/ 220 h 252"/>
                <a:gd name="T34" fmla="*/ 9 w 150"/>
                <a:gd name="T35" fmla="*/ 246 h 252"/>
                <a:gd name="T36" fmla="*/ 12 w 150"/>
                <a:gd name="T37" fmla="*/ 248 h 252"/>
                <a:gd name="T38" fmla="*/ 138 w 150"/>
                <a:gd name="T39" fmla="*/ 248 h 252"/>
                <a:gd name="T40" fmla="*/ 142 w 150"/>
                <a:gd name="T41" fmla="*/ 246 h 252"/>
                <a:gd name="T42" fmla="*/ 136 w 150"/>
                <a:gd name="T43" fmla="*/ 220 h 252"/>
                <a:gd name="T44" fmla="*/ 136 w 150"/>
                <a:gd name="T45" fmla="*/ 220 h 252"/>
                <a:gd name="T46" fmla="*/ 93 w 150"/>
                <a:gd name="T47" fmla="*/ 130 h 252"/>
                <a:gd name="T48" fmla="*/ 85 w 150"/>
                <a:gd name="T49" fmla="*/ 95 h 252"/>
                <a:gd name="T50" fmla="*/ 85 w 150"/>
                <a:gd name="T51" fmla="*/ 4 h 252"/>
                <a:gd name="T52" fmla="*/ 65 w 150"/>
                <a:gd name="T53" fmla="*/ 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0" h="252">
                  <a:moveTo>
                    <a:pt x="138" y="252"/>
                  </a:moveTo>
                  <a:cubicBezTo>
                    <a:pt x="12" y="252"/>
                    <a:pt x="12" y="252"/>
                    <a:pt x="12" y="252"/>
                  </a:cubicBezTo>
                  <a:cubicBezTo>
                    <a:pt x="8" y="252"/>
                    <a:pt x="6" y="250"/>
                    <a:pt x="5" y="249"/>
                  </a:cubicBezTo>
                  <a:cubicBezTo>
                    <a:pt x="0" y="241"/>
                    <a:pt x="9" y="221"/>
                    <a:pt x="11" y="218"/>
                  </a:cubicBezTo>
                  <a:cubicBezTo>
                    <a:pt x="12" y="215"/>
                    <a:pt x="47" y="140"/>
                    <a:pt x="53" y="128"/>
                  </a:cubicBezTo>
                  <a:cubicBezTo>
                    <a:pt x="62" y="112"/>
                    <a:pt x="61" y="96"/>
                    <a:pt x="61" y="95"/>
                  </a:cubicBezTo>
                  <a:cubicBezTo>
                    <a:pt x="61" y="0"/>
                    <a:pt x="61" y="0"/>
                    <a:pt x="61" y="0"/>
                  </a:cubicBezTo>
                  <a:cubicBezTo>
                    <a:pt x="89" y="0"/>
                    <a:pt x="89" y="0"/>
                    <a:pt x="89" y="0"/>
                  </a:cubicBezTo>
                  <a:cubicBezTo>
                    <a:pt x="89" y="95"/>
                    <a:pt x="89" y="95"/>
                    <a:pt x="89" y="95"/>
                  </a:cubicBezTo>
                  <a:cubicBezTo>
                    <a:pt x="89" y="96"/>
                    <a:pt x="89" y="113"/>
                    <a:pt x="97" y="128"/>
                  </a:cubicBezTo>
                  <a:cubicBezTo>
                    <a:pt x="103" y="140"/>
                    <a:pt x="138" y="215"/>
                    <a:pt x="139" y="218"/>
                  </a:cubicBezTo>
                  <a:cubicBezTo>
                    <a:pt x="141" y="221"/>
                    <a:pt x="150" y="240"/>
                    <a:pt x="145" y="248"/>
                  </a:cubicBezTo>
                  <a:cubicBezTo>
                    <a:pt x="144" y="250"/>
                    <a:pt x="142" y="252"/>
                    <a:pt x="138" y="252"/>
                  </a:cubicBezTo>
                  <a:close/>
                  <a:moveTo>
                    <a:pt x="65" y="4"/>
                  </a:moveTo>
                  <a:cubicBezTo>
                    <a:pt x="65" y="95"/>
                    <a:pt x="65" y="95"/>
                    <a:pt x="65" y="95"/>
                  </a:cubicBezTo>
                  <a:cubicBezTo>
                    <a:pt x="65" y="96"/>
                    <a:pt x="66" y="113"/>
                    <a:pt x="57" y="130"/>
                  </a:cubicBezTo>
                  <a:cubicBezTo>
                    <a:pt x="50" y="141"/>
                    <a:pt x="15" y="219"/>
                    <a:pt x="14" y="220"/>
                  </a:cubicBezTo>
                  <a:cubicBezTo>
                    <a:pt x="11" y="228"/>
                    <a:pt x="6" y="242"/>
                    <a:pt x="9" y="246"/>
                  </a:cubicBezTo>
                  <a:cubicBezTo>
                    <a:pt x="9" y="247"/>
                    <a:pt x="10" y="248"/>
                    <a:pt x="12" y="248"/>
                  </a:cubicBezTo>
                  <a:cubicBezTo>
                    <a:pt x="138" y="248"/>
                    <a:pt x="138" y="248"/>
                    <a:pt x="138" y="248"/>
                  </a:cubicBezTo>
                  <a:cubicBezTo>
                    <a:pt x="140" y="248"/>
                    <a:pt x="141" y="247"/>
                    <a:pt x="142" y="246"/>
                  </a:cubicBezTo>
                  <a:cubicBezTo>
                    <a:pt x="144" y="242"/>
                    <a:pt x="140" y="228"/>
                    <a:pt x="136" y="220"/>
                  </a:cubicBezTo>
                  <a:cubicBezTo>
                    <a:pt x="136" y="220"/>
                    <a:pt x="136" y="220"/>
                    <a:pt x="136" y="220"/>
                  </a:cubicBezTo>
                  <a:cubicBezTo>
                    <a:pt x="135" y="219"/>
                    <a:pt x="100" y="142"/>
                    <a:pt x="93" y="130"/>
                  </a:cubicBezTo>
                  <a:cubicBezTo>
                    <a:pt x="85" y="114"/>
                    <a:pt x="85" y="96"/>
                    <a:pt x="85" y="95"/>
                  </a:cubicBezTo>
                  <a:cubicBezTo>
                    <a:pt x="85" y="4"/>
                    <a:pt x="85" y="4"/>
                    <a:pt x="85" y="4"/>
                  </a:cubicBezTo>
                  <a:lnTo>
                    <a:pt x="65" y="4"/>
                  </a:lnTo>
                  <a:close/>
                </a:path>
              </a:pathLst>
            </a:custGeom>
            <a:solidFill>
              <a:schemeClr val="tx2"/>
            </a:solidFill>
            <a:ln w="15875">
              <a:solidFill>
                <a:schemeClr val="tx2"/>
              </a:solidFill>
              <a:miter lim="800000"/>
            </a:ln>
          </p:spPr>
          <p:txBody>
            <a:bodyPr vert="horz" wrap="square" lIns="91440" tIns="45720" rIns="91440" bIns="45720" numCol="1" anchor="t" anchorCtr="0" compatLnSpc="1">
              <a:prstTxWarp prst="textNoShape">
                <a:avLst/>
              </a:prstTxWarp>
            </a:bodyPr>
            <a:lstStyle/>
            <a:p>
              <a:endParaRPr lang="en-US" dirty="0"/>
            </a:p>
          </p:txBody>
        </p:sp>
        <p:sp>
          <p:nvSpPr>
            <p:cNvPr id="146" name="Freeform 221">
              <a:extLst>
                <a:ext uri="{FF2B5EF4-FFF2-40B4-BE49-F238E27FC236}">
                  <a16:creationId xmlns:a16="http://schemas.microsoft.com/office/drawing/2014/main" id="{8FEC5175-005F-4F5A-BD39-A223FDB2B6C3}"/>
                </a:ext>
              </a:extLst>
            </p:cNvPr>
            <p:cNvSpPr>
              <a:spLocks/>
            </p:cNvSpPr>
            <p:nvPr/>
          </p:nvSpPr>
          <p:spPr bwMode="gray">
            <a:xfrm>
              <a:off x="5203563" y="3030339"/>
              <a:ext cx="261937" cy="606423"/>
            </a:xfrm>
            <a:custGeom>
              <a:avLst/>
              <a:gdLst>
                <a:gd name="T0" fmla="*/ 80 w 80"/>
                <a:gd name="T1" fmla="*/ 0 h 185"/>
                <a:gd name="T2" fmla="*/ 76 w 80"/>
                <a:gd name="T3" fmla="*/ 0 h 185"/>
                <a:gd name="T4" fmla="*/ 76 w 80"/>
                <a:gd name="T5" fmla="*/ 10 h 185"/>
                <a:gd name="T6" fmla="*/ 52 w 80"/>
                <a:gd name="T7" fmla="*/ 10 h 185"/>
                <a:gd name="T8" fmla="*/ 52 w 80"/>
                <a:gd name="T9" fmla="*/ 14 h 185"/>
                <a:gd name="T10" fmla="*/ 52 w 80"/>
                <a:gd name="T11" fmla="*/ 14 h 185"/>
                <a:gd name="T12" fmla="*/ 52 w 80"/>
                <a:gd name="T13" fmla="*/ 169 h 185"/>
                <a:gd name="T14" fmla="*/ 40 w 80"/>
                <a:gd name="T15" fmla="*/ 181 h 185"/>
                <a:gd name="T16" fmla="*/ 28 w 80"/>
                <a:gd name="T17" fmla="*/ 169 h 185"/>
                <a:gd name="T18" fmla="*/ 28 w 80"/>
                <a:gd name="T19" fmla="*/ 12 h 185"/>
                <a:gd name="T20" fmla="*/ 28 w 80"/>
                <a:gd name="T21" fmla="*/ 12 h 185"/>
                <a:gd name="T22" fmla="*/ 28 w 80"/>
                <a:gd name="T23" fmla="*/ 12 h 185"/>
                <a:gd name="T24" fmla="*/ 28 w 80"/>
                <a:gd name="T25" fmla="*/ 10 h 185"/>
                <a:gd name="T26" fmla="*/ 4 w 80"/>
                <a:gd name="T27" fmla="*/ 10 h 185"/>
                <a:gd name="T28" fmla="*/ 4 w 80"/>
                <a:gd name="T29" fmla="*/ 0 h 185"/>
                <a:gd name="T30" fmla="*/ 0 w 80"/>
                <a:gd name="T31" fmla="*/ 0 h 185"/>
                <a:gd name="T32" fmla="*/ 0 w 80"/>
                <a:gd name="T33" fmla="*/ 14 h 185"/>
                <a:gd name="T34" fmla="*/ 24 w 80"/>
                <a:gd name="T35" fmla="*/ 14 h 185"/>
                <a:gd name="T36" fmla="*/ 24 w 80"/>
                <a:gd name="T37" fmla="*/ 169 h 185"/>
                <a:gd name="T38" fmla="*/ 40 w 80"/>
                <a:gd name="T39" fmla="*/ 185 h 185"/>
                <a:gd name="T40" fmla="*/ 56 w 80"/>
                <a:gd name="T41" fmla="*/ 169 h 185"/>
                <a:gd name="T42" fmla="*/ 56 w 80"/>
                <a:gd name="T43" fmla="*/ 14 h 185"/>
                <a:gd name="T44" fmla="*/ 80 w 80"/>
                <a:gd name="T45" fmla="*/ 14 h 185"/>
                <a:gd name="T46" fmla="*/ 80 w 80"/>
                <a:gd name="T4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0" h="185">
                  <a:moveTo>
                    <a:pt x="80" y="0"/>
                  </a:moveTo>
                  <a:cubicBezTo>
                    <a:pt x="76" y="0"/>
                    <a:pt x="76" y="0"/>
                    <a:pt x="76" y="0"/>
                  </a:cubicBezTo>
                  <a:cubicBezTo>
                    <a:pt x="76" y="10"/>
                    <a:pt x="76" y="10"/>
                    <a:pt x="76" y="10"/>
                  </a:cubicBezTo>
                  <a:cubicBezTo>
                    <a:pt x="52" y="10"/>
                    <a:pt x="52" y="10"/>
                    <a:pt x="52" y="10"/>
                  </a:cubicBezTo>
                  <a:cubicBezTo>
                    <a:pt x="52" y="14"/>
                    <a:pt x="52" y="14"/>
                    <a:pt x="52" y="14"/>
                  </a:cubicBezTo>
                  <a:cubicBezTo>
                    <a:pt x="52" y="14"/>
                    <a:pt x="52" y="14"/>
                    <a:pt x="52" y="14"/>
                  </a:cubicBezTo>
                  <a:cubicBezTo>
                    <a:pt x="52" y="169"/>
                    <a:pt x="52" y="169"/>
                    <a:pt x="52" y="169"/>
                  </a:cubicBezTo>
                  <a:cubicBezTo>
                    <a:pt x="52" y="176"/>
                    <a:pt x="47" y="181"/>
                    <a:pt x="40" y="181"/>
                  </a:cubicBezTo>
                  <a:cubicBezTo>
                    <a:pt x="33" y="181"/>
                    <a:pt x="28" y="176"/>
                    <a:pt x="28" y="169"/>
                  </a:cubicBezTo>
                  <a:cubicBezTo>
                    <a:pt x="28" y="12"/>
                    <a:pt x="28" y="12"/>
                    <a:pt x="28" y="12"/>
                  </a:cubicBezTo>
                  <a:cubicBezTo>
                    <a:pt x="28" y="12"/>
                    <a:pt x="28" y="12"/>
                    <a:pt x="28" y="12"/>
                  </a:cubicBezTo>
                  <a:cubicBezTo>
                    <a:pt x="28" y="12"/>
                    <a:pt x="28" y="12"/>
                    <a:pt x="28" y="12"/>
                  </a:cubicBezTo>
                  <a:cubicBezTo>
                    <a:pt x="28" y="10"/>
                    <a:pt x="28" y="10"/>
                    <a:pt x="28" y="10"/>
                  </a:cubicBezTo>
                  <a:cubicBezTo>
                    <a:pt x="4" y="10"/>
                    <a:pt x="4" y="10"/>
                    <a:pt x="4" y="10"/>
                  </a:cubicBezTo>
                  <a:cubicBezTo>
                    <a:pt x="4" y="0"/>
                    <a:pt x="4" y="0"/>
                    <a:pt x="4" y="0"/>
                  </a:cubicBezTo>
                  <a:cubicBezTo>
                    <a:pt x="0" y="0"/>
                    <a:pt x="0" y="0"/>
                    <a:pt x="0" y="0"/>
                  </a:cubicBezTo>
                  <a:cubicBezTo>
                    <a:pt x="0" y="14"/>
                    <a:pt x="0" y="14"/>
                    <a:pt x="0" y="14"/>
                  </a:cubicBezTo>
                  <a:cubicBezTo>
                    <a:pt x="24" y="14"/>
                    <a:pt x="24" y="14"/>
                    <a:pt x="24" y="14"/>
                  </a:cubicBezTo>
                  <a:cubicBezTo>
                    <a:pt x="24" y="169"/>
                    <a:pt x="24" y="169"/>
                    <a:pt x="24" y="169"/>
                  </a:cubicBezTo>
                  <a:cubicBezTo>
                    <a:pt x="24" y="178"/>
                    <a:pt x="31" y="185"/>
                    <a:pt x="40" y="185"/>
                  </a:cubicBezTo>
                  <a:cubicBezTo>
                    <a:pt x="49" y="185"/>
                    <a:pt x="56" y="178"/>
                    <a:pt x="56" y="169"/>
                  </a:cubicBezTo>
                  <a:cubicBezTo>
                    <a:pt x="56" y="14"/>
                    <a:pt x="56" y="14"/>
                    <a:pt x="56" y="14"/>
                  </a:cubicBezTo>
                  <a:cubicBezTo>
                    <a:pt x="80" y="14"/>
                    <a:pt x="80" y="14"/>
                    <a:pt x="80" y="14"/>
                  </a:cubicBezTo>
                  <a:lnTo>
                    <a:pt x="80" y="0"/>
                  </a:lnTo>
                  <a:close/>
                </a:path>
              </a:pathLst>
            </a:custGeom>
            <a:solidFill>
              <a:schemeClr val="tx2"/>
            </a:solidFill>
            <a:ln w="15875">
              <a:solidFill>
                <a:schemeClr val="tx2"/>
              </a:solidFill>
              <a:miter lim="800000"/>
            </a:ln>
          </p:spPr>
          <p:txBody>
            <a:bodyPr vert="horz" wrap="square" lIns="91440" tIns="45720" rIns="91440" bIns="45720" numCol="1" anchor="t" anchorCtr="0" compatLnSpc="1">
              <a:prstTxWarp prst="textNoShape">
                <a:avLst/>
              </a:prstTxWarp>
            </a:bodyPr>
            <a:lstStyle/>
            <a:p>
              <a:endParaRPr lang="en-US" dirty="0"/>
            </a:p>
          </p:txBody>
        </p:sp>
      </p:grpSp>
      <p:sp>
        <p:nvSpPr>
          <p:cNvPr id="13" name="Rechteck 12">
            <a:extLst>
              <a:ext uri="{FF2B5EF4-FFF2-40B4-BE49-F238E27FC236}">
                <a16:creationId xmlns:a16="http://schemas.microsoft.com/office/drawing/2014/main" id="{B1631ACD-8833-48E1-95CC-9DE49F0C2C48}"/>
              </a:ext>
            </a:extLst>
          </p:cNvPr>
          <p:cNvSpPr/>
          <p:nvPr/>
        </p:nvSpPr>
        <p:spPr>
          <a:xfrm>
            <a:off x="2350686" y="3515450"/>
            <a:ext cx="144020" cy="486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Rechteck 128">
            <a:extLst>
              <a:ext uri="{FF2B5EF4-FFF2-40B4-BE49-F238E27FC236}">
                <a16:creationId xmlns:a16="http://schemas.microsoft.com/office/drawing/2014/main" id="{21E0F3BB-07E0-4D0E-98ED-F314EF049603}"/>
              </a:ext>
            </a:extLst>
          </p:cNvPr>
          <p:cNvSpPr/>
          <p:nvPr/>
        </p:nvSpPr>
        <p:spPr>
          <a:xfrm>
            <a:off x="4839393" y="3143548"/>
            <a:ext cx="36000" cy="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9791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62396" y="261354"/>
            <a:ext cx="11665619" cy="6192860"/>
          </a:xfrm>
          <a:prstGeom prst="rect">
            <a:avLst/>
          </a:prstGeom>
        </p:spPr>
      </p:pic>
    </p:spTree>
    <p:extLst>
      <p:ext uri="{BB962C8B-B14F-4D97-AF65-F5344CB8AC3E}">
        <p14:creationId xmlns:p14="http://schemas.microsoft.com/office/powerpoint/2010/main" val="3070185631"/>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mical Management : Factory Level aspects </a:t>
            </a:r>
            <a:r>
              <a:rPr lang="en-US" dirty="0" smtClean="0"/>
              <a:t>{OUTPUT}</a:t>
            </a:r>
            <a:endParaRPr lang="en-US" dirty="0"/>
          </a:p>
        </p:txBody>
      </p:sp>
      <p:pic>
        <p:nvPicPr>
          <p:cNvPr id="5" name="Picture 4"/>
          <p:cNvPicPr>
            <a:picLocks noChangeAspect="1"/>
          </p:cNvPicPr>
          <p:nvPr/>
        </p:nvPicPr>
        <p:blipFill>
          <a:blip r:embed="rId2"/>
          <a:stretch>
            <a:fillRect/>
          </a:stretch>
        </p:blipFill>
        <p:spPr>
          <a:xfrm>
            <a:off x="1581037" y="915919"/>
            <a:ext cx="7466579" cy="5526057"/>
          </a:xfrm>
          <a:prstGeom prst="rect">
            <a:avLst/>
          </a:prstGeom>
        </p:spPr>
      </p:pic>
      <p:sp>
        <p:nvSpPr>
          <p:cNvPr id="6" name="TextBox 5"/>
          <p:cNvSpPr txBox="1"/>
          <p:nvPr/>
        </p:nvSpPr>
        <p:spPr>
          <a:xfrm rot="5400000">
            <a:off x="11027754" y="3534931"/>
            <a:ext cx="1800200" cy="288032"/>
          </a:xfrm>
          <a:prstGeom prst="rect">
            <a:avLst/>
          </a:prstGeom>
          <a:noFill/>
        </p:spPr>
        <p:txBody>
          <a:bodyPr wrap="square" lIns="0" tIns="0" rIns="0" bIns="0" rtlCol="0">
            <a:noAutofit/>
          </a:bodyPr>
          <a:lstStyle/>
          <a:p>
            <a:r>
              <a:rPr lang="en-US" sz="1200" dirty="0" smtClean="0"/>
              <a:t>Source : </a:t>
            </a:r>
            <a:r>
              <a:rPr lang="en-US" sz="1200" dirty="0" err="1" smtClean="0"/>
              <a:t>giz</a:t>
            </a:r>
            <a:r>
              <a:rPr lang="en-US" sz="1200" dirty="0" smtClean="0"/>
              <a:t> REMC</a:t>
            </a:r>
            <a:endParaRPr lang="en-US" sz="1200" dirty="0"/>
          </a:p>
        </p:txBody>
      </p:sp>
    </p:spTree>
    <p:extLst>
      <p:ext uri="{BB962C8B-B14F-4D97-AF65-F5344CB8AC3E}">
        <p14:creationId xmlns:p14="http://schemas.microsoft.com/office/powerpoint/2010/main" val="35280449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520" y="382191"/>
            <a:ext cx="7111074" cy="1107996"/>
          </a:xfrm>
        </p:spPr>
        <p:txBody>
          <a:bodyPr/>
          <a:lstStyle/>
          <a:p>
            <a:r>
              <a:rPr lang="en-US" sz="2400" dirty="0">
                <a:solidFill>
                  <a:srgbClr val="0071B9"/>
                </a:solidFill>
              </a:rPr>
              <a:t>Environmental Exposure Pathways of</a:t>
            </a:r>
            <a:br>
              <a:rPr lang="en-US" sz="2400" dirty="0">
                <a:solidFill>
                  <a:srgbClr val="0071B9"/>
                </a:solidFill>
              </a:rPr>
            </a:br>
            <a:r>
              <a:rPr lang="en-US" sz="2400" b="1" dirty="0">
                <a:solidFill>
                  <a:srgbClr val="0071B9"/>
                </a:solidFill>
              </a:rPr>
              <a:t>Hazardous Chemicals</a:t>
            </a:r>
            <a:br>
              <a:rPr lang="en-US" sz="2400" b="1" dirty="0">
                <a:solidFill>
                  <a:srgbClr val="0071B9"/>
                </a:solidFill>
              </a:rPr>
            </a:br>
            <a:endParaRPr lang="uk-UA" sz="2400" b="1" dirty="0">
              <a:solidFill>
                <a:srgbClr val="0071B9"/>
              </a:solidFill>
            </a:endParaRPr>
          </a:p>
        </p:txBody>
      </p:sp>
      <p:sp>
        <p:nvSpPr>
          <p:cNvPr id="3" name="Slide Number Placeholder 2"/>
          <p:cNvSpPr>
            <a:spLocks noGrp="1"/>
          </p:cNvSpPr>
          <p:nvPr>
            <p:ph type="sldNum" sz="quarter" idx="10"/>
          </p:nvPr>
        </p:nvSpPr>
        <p:spPr/>
        <p:txBody>
          <a:bodyPr/>
          <a:lstStyle/>
          <a:p>
            <a:pPr algn="l"/>
            <a:r>
              <a:rPr lang="en-US"/>
              <a:t>page</a:t>
            </a:r>
          </a:p>
          <a:p>
            <a:pPr algn="l"/>
            <a:r>
              <a:rPr lang="en-US"/>
              <a:t>0</a:t>
            </a:r>
            <a:fld id="{37D409AB-2201-4E18-8A34-C31753AD9B06}" type="slidenum">
              <a:rPr smtClean="0"/>
              <a:pPr algn="l"/>
              <a:t>35</a:t>
            </a:fld>
            <a:endParaRPr/>
          </a:p>
        </p:txBody>
      </p:sp>
      <p:pic>
        <p:nvPicPr>
          <p:cNvPr id="7" name="图片 18">
            <a:extLst>
              <a:ext uri="{FF2B5EF4-FFF2-40B4-BE49-F238E27FC236}">
                <a16:creationId xmlns:a16="http://schemas.microsoft.com/office/drawing/2014/main" id="{26D523AA-756A-864D-80A2-39B91D7B1EB7}"/>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670733" y="4801272"/>
            <a:ext cx="1168248" cy="1409954"/>
          </a:xfrm>
          <a:prstGeom prst="rect">
            <a:avLst/>
          </a:prstGeom>
        </p:spPr>
      </p:pic>
      <p:graphicFrame>
        <p:nvGraphicFramePr>
          <p:cNvPr id="8" name="Object 7">
            <a:hlinkClick r:id="" action="ppaction://ole?verb=0"/>
            <a:extLst>
              <a:ext uri="{FF2B5EF4-FFF2-40B4-BE49-F238E27FC236}">
                <a16:creationId xmlns:a16="http://schemas.microsoft.com/office/drawing/2014/main" id="{BDBD0E1B-E1D4-9B42-891A-1CBA6399523E}"/>
              </a:ext>
            </a:extLst>
          </p:cNvPr>
          <p:cNvGraphicFramePr>
            <a:graphicFrameLocks/>
          </p:cNvGraphicFramePr>
          <p:nvPr>
            <p:extLst/>
          </p:nvPr>
        </p:nvGraphicFramePr>
        <p:xfrm>
          <a:off x="5166331" y="2505181"/>
          <a:ext cx="1817760" cy="792297"/>
        </p:xfrm>
        <a:graphic>
          <a:graphicData uri="http://schemas.openxmlformats.org/presentationml/2006/ole">
            <mc:AlternateContent xmlns:mc="http://schemas.openxmlformats.org/markup-compatibility/2006">
              <mc:Choice xmlns:v="urn:schemas-microsoft-com:vml" Requires="v">
                <p:oleObj spid="_x0000_s8255" name="Microsoft ClipArt Gallery" r:id="rId5" imgW="5807075" imgH="3009900" progId="">
                  <p:embed/>
                </p:oleObj>
              </mc:Choice>
              <mc:Fallback>
                <p:oleObj name="Microsoft ClipArt Gallery" r:id="rId5" imgW="5807075" imgH="3009900" progId="">
                  <p:embed/>
                  <p:pic>
                    <p:nvPicPr>
                      <p:cNvPr id="8" name="Object 7">
                        <a:hlinkClick r:id="" action="ppaction://ole?verb=0"/>
                        <a:extLst>
                          <a:ext uri="{FF2B5EF4-FFF2-40B4-BE49-F238E27FC236}">
                            <a16:creationId xmlns:a16="http://schemas.microsoft.com/office/drawing/2014/main" id="{BDBD0E1B-E1D4-9B42-891A-1CBA6399523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6331" y="2505181"/>
                        <a:ext cx="1817760" cy="792297"/>
                      </a:xfrm>
                      <a:prstGeom prst="rect">
                        <a:avLst/>
                      </a:prstGeom>
                      <a:noFill/>
                      <a:extLst/>
                    </p:spPr>
                  </p:pic>
                </p:oleObj>
              </mc:Fallback>
            </mc:AlternateContent>
          </a:graphicData>
        </a:graphic>
      </p:graphicFrame>
      <p:sp>
        <p:nvSpPr>
          <p:cNvPr id="9" name="Freeform 24">
            <a:extLst>
              <a:ext uri="{FF2B5EF4-FFF2-40B4-BE49-F238E27FC236}">
                <a16:creationId xmlns:a16="http://schemas.microsoft.com/office/drawing/2014/main" id="{9C4801E1-B162-EE4F-8737-5450F329D049}"/>
              </a:ext>
            </a:extLst>
          </p:cNvPr>
          <p:cNvSpPr>
            <a:spLocks noEditPoints="1"/>
          </p:cNvSpPr>
          <p:nvPr/>
        </p:nvSpPr>
        <p:spPr bwMode="auto">
          <a:xfrm>
            <a:off x="8173303" y="1602220"/>
            <a:ext cx="1002640" cy="986200"/>
          </a:xfrm>
          <a:custGeom>
            <a:avLst/>
            <a:gdLst>
              <a:gd name="T0" fmla="*/ 320 w 456"/>
              <a:gd name="T1" fmla="*/ 16 h 440"/>
              <a:gd name="T2" fmla="*/ 280 w 456"/>
              <a:gd name="T3" fmla="*/ 16 h 440"/>
              <a:gd name="T4" fmla="*/ 224 w 456"/>
              <a:gd name="T5" fmla="*/ 72 h 440"/>
              <a:gd name="T6" fmla="*/ 168 w 456"/>
              <a:gd name="T7" fmla="*/ 16 h 440"/>
              <a:gd name="T8" fmla="*/ 136 w 456"/>
              <a:gd name="T9" fmla="*/ 16 h 440"/>
              <a:gd name="T10" fmla="*/ 17 w 456"/>
              <a:gd name="T11" fmla="*/ 78 h 440"/>
              <a:gd name="T12" fmla="*/ 73 w 456"/>
              <a:gd name="T13" fmla="*/ 164 h 440"/>
              <a:gd name="T14" fmla="*/ 96 w 456"/>
              <a:gd name="T15" fmla="*/ 152 h 440"/>
              <a:gd name="T16" fmla="*/ 96 w 456"/>
              <a:gd name="T17" fmla="*/ 408 h 440"/>
              <a:gd name="T18" fmla="*/ 228 w 456"/>
              <a:gd name="T19" fmla="*/ 424 h 440"/>
              <a:gd name="T20" fmla="*/ 360 w 456"/>
              <a:gd name="T21" fmla="*/ 408 h 440"/>
              <a:gd name="T22" fmla="*/ 360 w 456"/>
              <a:gd name="T23" fmla="*/ 152 h 440"/>
              <a:gd name="T24" fmla="*/ 393 w 456"/>
              <a:gd name="T25" fmla="*/ 164 h 440"/>
              <a:gd name="T26" fmla="*/ 439 w 456"/>
              <a:gd name="T27" fmla="*/ 78 h 440"/>
              <a:gd name="T28" fmla="*/ 320 w 456"/>
              <a:gd name="T29" fmla="*/ 16 h 440"/>
              <a:gd name="T30" fmla="*/ 453 w 456"/>
              <a:gd name="T31" fmla="*/ 86 h 440"/>
              <a:gd name="T32" fmla="*/ 407 w 456"/>
              <a:gd name="T33" fmla="*/ 172 h 440"/>
              <a:gd name="T34" fmla="*/ 393 w 456"/>
              <a:gd name="T35" fmla="*/ 180 h 440"/>
              <a:gd name="T36" fmla="*/ 387 w 456"/>
              <a:gd name="T37" fmla="*/ 179 h 440"/>
              <a:gd name="T38" fmla="*/ 376 w 456"/>
              <a:gd name="T39" fmla="*/ 175 h 440"/>
              <a:gd name="T40" fmla="*/ 376 w 456"/>
              <a:gd name="T41" fmla="*/ 408 h 440"/>
              <a:gd name="T42" fmla="*/ 323 w 456"/>
              <a:gd name="T43" fmla="*/ 435 h 440"/>
              <a:gd name="T44" fmla="*/ 228 w 456"/>
              <a:gd name="T45" fmla="*/ 440 h 440"/>
              <a:gd name="T46" fmla="*/ 133 w 456"/>
              <a:gd name="T47" fmla="*/ 435 h 440"/>
              <a:gd name="T48" fmla="*/ 80 w 456"/>
              <a:gd name="T49" fmla="*/ 408 h 440"/>
              <a:gd name="T50" fmla="*/ 80 w 456"/>
              <a:gd name="T51" fmla="*/ 178 h 440"/>
              <a:gd name="T52" fmla="*/ 80 w 456"/>
              <a:gd name="T53" fmla="*/ 178 h 440"/>
              <a:gd name="T54" fmla="*/ 73 w 456"/>
              <a:gd name="T55" fmla="*/ 180 h 440"/>
              <a:gd name="T56" fmla="*/ 59 w 456"/>
              <a:gd name="T57" fmla="*/ 173 h 440"/>
              <a:gd name="T58" fmla="*/ 3 w 456"/>
              <a:gd name="T59" fmla="*/ 87 h 440"/>
              <a:gd name="T60" fmla="*/ 1 w 456"/>
              <a:gd name="T61" fmla="*/ 74 h 440"/>
              <a:gd name="T62" fmla="*/ 9 w 456"/>
              <a:gd name="T63" fmla="*/ 64 h 440"/>
              <a:gd name="T64" fmla="*/ 129 w 456"/>
              <a:gd name="T65" fmla="*/ 2 h 440"/>
              <a:gd name="T66" fmla="*/ 136 w 456"/>
              <a:gd name="T67" fmla="*/ 0 h 440"/>
              <a:gd name="T68" fmla="*/ 168 w 456"/>
              <a:gd name="T69" fmla="*/ 0 h 440"/>
              <a:gd name="T70" fmla="*/ 184 w 456"/>
              <a:gd name="T71" fmla="*/ 16 h 440"/>
              <a:gd name="T72" fmla="*/ 224 w 456"/>
              <a:gd name="T73" fmla="*/ 56 h 440"/>
              <a:gd name="T74" fmla="*/ 264 w 456"/>
              <a:gd name="T75" fmla="*/ 16 h 440"/>
              <a:gd name="T76" fmla="*/ 280 w 456"/>
              <a:gd name="T77" fmla="*/ 0 h 440"/>
              <a:gd name="T78" fmla="*/ 320 w 456"/>
              <a:gd name="T79" fmla="*/ 0 h 440"/>
              <a:gd name="T80" fmla="*/ 327 w 456"/>
              <a:gd name="T81" fmla="*/ 2 h 440"/>
              <a:gd name="T82" fmla="*/ 447 w 456"/>
              <a:gd name="T83" fmla="*/ 64 h 440"/>
              <a:gd name="T84" fmla="*/ 455 w 456"/>
              <a:gd name="T85" fmla="*/ 73 h 440"/>
              <a:gd name="T86" fmla="*/ 453 w 456"/>
              <a:gd name="T87" fmla="*/ 86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6" h="440">
                <a:moveTo>
                  <a:pt x="320" y="16"/>
                </a:moveTo>
                <a:cubicBezTo>
                  <a:pt x="280" y="16"/>
                  <a:pt x="280" y="16"/>
                  <a:pt x="280" y="16"/>
                </a:cubicBezTo>
                <a:cubicBezTo>
                  <a:pt x="280" y="47"/>
                  <a:pt x="255" y="72"/>
                  <a:pt x="224" y="72"/>
                </a:cubicBezTo>
                <a:cubicBezTo>
                  <a:pt x="193" y="72"/>
                  <a:pt x="168" y="47"/>
                  <a:pt x="168" y="16"/>
                </a:cubicBezTo>
                <a:cubicBezTo>
                  <a:pt x="136" y="16"/>
                  <a:pt x="136" y="16"/>
                  <a:pt x="136" y="16"/>
                </a:cubicBezTo>
                <a:cubicBezTo>
                  <a:pt x="17" y="78"/>
                  <a:pt x="17" y="78"/>
                  <a:pt x="17" y="78"/>
                </a:cubicBezTo>
                <a:cubicBezTo>
                  <a:pt x="73" y="164"/>
                  <a:pt x="73" y="164"/>
                  <a:pt x="73" y="164"/>
                </a:cubicBezTo>
                <a:cubicBezTo>
                  <a:pt x="96" y="152"/>
                  <a:pt x="96" y="152"/>
                  <a:pt x="96" y="152"/>
                </a:cubicBezTo>
                <a:cubicBezTo>
                  <a:pt x="96" y="408"/>
                  <a:pt x="96" y="408"/>
                  <a:pt x="96" y="408"/>
                </a:cubicBezTo>
                <a:cubicBezTo>
                  <a:pt x="96" y="417"/>
                  <a:pt x="155" y="424"/>
                  <a:pt x="228" y="424"/>
                </a:cubicBezTo>
                <a:cubicBezTo>
                  <a:pt x="301" y="424"/>
                  <a:pt x="360" y="417"/>
                  <a:pt x="360" y="408"/>
                </a:cubicBezTo>
                <a:cubicBezTo>
                  <a:pt x="360" y="152"/>
                  <a:pt x="360" y="152"/>
                  <a:pt x="360" y="152"/>
                </a:cubicBezTo>
                <a:cubicBezTo>
                  <a:pt x="393" y="164"/>
                  <a:pt x="393" y="164"/>
                  <a:pt x="393" y="164"/>
                </a:cubicBezTo>
                <a:cubicBezTo>
                  <a:pt x="439" y="78"/>
                  <a:pt x="439" y="78"/>
                  <a:pt x="439" y="78"/>
                </a:cubicBezTo>
                <a:lnTo>
                  <a:pt x="320" y="16"/>
                </a:lnTo>
                <a:close/>
                <a:moveTo>
                  <a:pt x="453" y="86"/>
                </a:moveTo>
                <a:cubicBezTo>
                  <a:pt x="407" y="172"/>
                  <a:pt x="407" y="172"/>
                  <a:pt x="407" y="172"/>
                </a:cubicBezTo>
                <a:cubicBezTo>
                  <a:pt x="404" y="177"/>
                  <a:pt x="398" y="180"/>
                  <a:pt x="393" y="180"/>
                </a:cubicBezTo>
                <a:cubicBezTo>
                  <a:pt x="391" y="180"/>
                  <a:pt x="389" y="180"/>
                  <a:pt x="387" y="179"/>
                </a:cubicBezTo>
                <a:cubicBezTo>
                  <a:pt x="376" y="175"/>
                  <a:pt x="376" y="175"/>
                  <a:pt x="376" y="175"/>
                </a:cubicBezTo>
                <a:cubicBezTo>
                  <a:pt x="376" y="408"/>
                  <a:pt x="376" y="408"/>
                  <a:pt x="376" y="408"/>
                </a:cubicBezTo>
                <a:cubicBezTo>
                  <a:pt x="376" y="427"/>
                  <a:pt x="352" y="432"/>
                  <a:pt x="323" y="435"/>
                </a:cubicBezTo>
                <a:cubicBezTo>
                  <a:pt x="298" y="438"/>
                  <a:pt x="264" y="440"/>
                  <a:pt x="228" y="440"/>
                </a:cubicBezTo>
                <a:cubicBezTo>
                  <a:pt x="192" y="440"/>
                  <a:pt x="159" y="438"/>
                  <a:pt x="133" y="435"/>
                </a:cubicBezTo>
                <a:cubicBezTo>
                  <a:pt x="104" y="432"/>
                  <a:pt x="80" y="427"/>
                  <a:pt x="80" y="408"/>
                </a:cubicBezTo>
                <a:cubicBezTo>
                  <a:pt x="80" y="178"/>
                  <a:pt x="80" y="178"/>
                  <a:pt x="80" y="178"/>
                </a:cubicBezTo>
                <a:cubicBezTo>
                  <a:pt x="80" y="178"/>
                  <a:pt x="80" y="178"/>
                  <a:pt x="80" y="178"/>
                </a:cubicBezTo>
                <a:cubicBezTo>
                  <a:pt x="78" y="179"/>
                  <a:pt x="75" y="180"/>
                  <a:pt x="73" y="180"/>
                </a:cubicBezTo>
                <a:cubicBezTo>
                  <a:pt x="68" y="180"/>
                  <a:pt x="62" y="177"/>
                  <a:pt x="59" y="173"/>
                </a:cubicBezTo>
                <a:cubicBezTo>
                  <a:pt x="3" y="87"/>
                  <a:pt x="3" y="87"/>
                  <a:pt x="3" y="87"/>
                </a:cubicBezTo>
                <a:cubicBezTo>
                  <a:pt x="1" y="83"/>
                  <a:pt x="0" y="78"/>
                  <a:pt x="1" y="74"/>
                </a:cubicBezTo>
                <a:cubicBezTo>
                  <a:pt x="2" y="69"/>
                  <a:pt x="5" y="66"/>
                  <a:pt x="9" y="64"/>
                </a:cubicBezTo>
                <a:cubicBezTo>
                  <a:pt x="129" y="2"/>
                  <a:pt x="129" y="2"/>
                  <a:pt x="129" y="2"/>
                </a:cubicBezTo>
                <a:cubicBezTo>
                  <a:pt x="131" y="1"/>
                  <a:pt x="134" y="0"/>
                  <a:pt x="136" y="0"/>
                </a:cubicBezTo>
                <a:cubicBezTo>
                  <a:pt x="168" y="0"/>
                  <a:pt x="168" y="0"/>
                  <a:pt x="168" y="0"/>
                </a:cubicBezTo>
                <a:cubicBezTo>
                  <a:pt x="177" y="0"/>
                  <a:pt x="184" y="7"/>
                  <a:pt x="184" y="16"/>
                </a:cubicBezTo>
                <a:cubicBezTo>
                  <a:pt x="184" y="38"/>
                  <a:pt x="202" y="56"/>
                  <a:pt x="224" y="56"/>
                </a:cubicBezTo>
                <a:cubicBezTo>
                  <a:pt x="246" y="56"/>
                  <a:pt x="264" y="38"/>
                  <a:pt x="264" y="16"/>
                </a:cubicBezTo>
                <a:cubicBezTo>
                  <a:pt x="264" y="7"/>
                  <a:pt x="271" y="0"/>
                  <a:pt x="280" y="0"/>
                </a:cubicBezTo>
                <a:cubicBezTo>
                  <a:pt x="320" y="0"/>
                  <a:pt x="320" y="0"/>
                  <a:pt x="320" y="0"/>
                </a:cubicBezTo>
                <a:cubicBezTo>
                  <a:pt x="322" y="0"/>
                  <a:pt x="325" y="1"/>
                  <a:pt x="327" y="2"/>
                </a:cubicBezTo>
                <a:cubicBezTo>
                  <a:pt x="447" y="64"/>
                  <a:pt x="447" y="64"/>
                  <a:pt x="447" y="64"/>
                </a:cubicBezTo>
                <a:cubicBezTo>
                  <a:pt x="451" y="66"/>
                  <a:pt x="453" y="69"/>
                  <a:pt x="455" y="73"/>
                </a:cubicBezTo>
                <a:cubicBezTo>
                  <a:pt x="456" y="77"/>
                  <a:pt x="456" y="82"/>
                  <a:pt x="453" y="86"/>
                </a:cubicBezTo>
                <a:close/>
              </a:path>
            </a:pathLst>
          </a:custGeom>
          <a:solidFill>
            <a:schemeClr val="accent1"/>
          </a:solidFill>
          <a:ln>
            <a:noFill/>
          </a:ln>
        </p:spPr>
        <p:txBody>
          <a:bodyPr vert="horz" wrap="square" lIns="60952" tIns="30476" rIns="60952" bIns="30476" numCol="1" anchor="t" anchorCtr="0" compatLnSpc="1">
            <a:prstTxWarp prst="textNoShape">
              <a:avLst/>
            </a:prstTxWarp>
          </a:bodyPr>
          <a:lstStyle/>
          <a:p>
            <a:endParaRPr lang="uk-UA" sz="1600"/>
          </a:p>
        </p:txBody>
      </p:sp>
      <p:pic>
        <p:nvPicPr>
          <p:cNvPr id="17" name="Picture 7">
            <a:extLst>
              <a:ext uri="{FF2B5EF4-FFF2-40B4-BE49-F238E27FC236}">
                <a16:creationId xmlns:a16="http://schemas.microsoft.com/office/drawing/2014/main" id="{EFCBCBD8-E3E6-9B4B-879C-0B652F5AC30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1097" y="4978296"/>
            <a:ext cx="1215541" cy="1217486"/>
          </a:xfrm>
          <a:prstGeom prst="rect">
            <a:avLst/>
          </a:prstGeom>
        </p:spPr>
      </p:pic>
      <p:pic>
        <p:nvPicPr>
          <p:cNvPr id="20" name="Picture 6">
            <a:extLst>
              <a:ext uri="{FF2B5EF4-FFF2-40B4-BE49-F238E27FC236}">
                <a16:creationId xmlns:a16="http://schemas.microsoft.com/office/drawing/2014/main" id="{6F9871CF-087B-F446-9F44-20675BD9FD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5868" y="4241534"/>
            <a:ext cx="2102300" cy="1402234"/>
          </a:xfrm>
          <a:prstGeom prst="rect">
            <a:avLst/>
          </a:prstGeom>
        </p:spPr>
      </p:pic>
      <p:sp>
        <p:nvSpPr>
          <p:cNvPr id="25" name="Left Arrow 24">
            <a:extLst>
              <a:ext uri="{FF2B5EF4-FFF2-40B4-BE49-F238E27FC236}">
                <a16:creationId xmlns:a16="http://schemas.microsoft.com/office/drawing/2014/main" id="{1CD2E4BF-70F2-BC4C-AE23-82956117F035}"/>
              </a:ext>
            </a:extLst>
          </p:cNvPr>
          <p:cNvSpPr/>
          <p:nvPr/>
        </p:nvSpPr>
        <p:spPr>
          <a:xfrm rot="20189695">
            <a:off x="2556357" y="3664199"/>
            <a:ext cx="2389105" cy="301329"/>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26" name="Left Arrow 25">
            <a:extLst>
              <a:ext uri="{FF2B5EF4-FFF2-40B4-BE49-F238E27FC236}">
                <a16:creationId xmlns:a16="http://schemas.microsoft.com/office/drawing/2014/main" id="{6B04812D-3355-6C42-AA14-90FB34F011F8}"/>
              </a:ext>
            </a:extLst>
          </p:cNvPr>
          <p:cNvSpPr/>
          <p:nvPr/>
        </p:nvSpPr>
        <p:spPr>
          <a:xfrm rot="17370131">
            <a:off x="4510468" y="4206161"/>
            <a:ext cx="1125355" cy="309022"/>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27" name="Left Arrow 26">
            <a:extLst>
              <a:ext uri="{FF2B5EF4-FFF2-40B4-BE49-F238E27FC236}">
                <a16:creationId xmlns:a16="http://schemas.microsoft.com/office/drawing/2014/main" id="{6A282EB9-FDF1-F14C-9B6C-888A6C3191A6}"/>
              </a:ext>
            </a:extLst>
          </p:cNvPr>
          <p:cNvSpPr/>
          <p:nvPr/>
        </p:nvSpPr>
        <p:spPr>
          <a:xfrm rot="14459095" flipV="1">
            <a:off x="6776521" y="4075249"/>
            <a:ext cx="1125355" cy="356100"/>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28" name="Left Arrow 27">
            <a:extLst>
              <a:ext uri="{FF2B5EF4-FFF2-40B4-BE49-F238E27FC236}">
                <a16:creationId xmlns:a16="http://schemas.microsoft.com/office/drawing/2014/main" id="{ACA80E0F-4ED8-3F45-9F23-CBC875364945}"/>
              </a:ext>
            </a:extLst>
          </p:cNvPr>
          <p:cNvSpPr/>
          <p:nvPr/>
        </p:nvSpPr>
        <p:spPr>
          <a:xfrm rot="9138231">
            <a:off x="7040602" y="2447506"/>
            <a:ext cx="1125355" cy="309022"/>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29" name="Left Arrow 28">
            <a:extLst>
              <a:ext uri="{FF2B5EF4-FFF2-40B4-BE49-F238E27FC236}">
                <a16:creationId xmlns:a16="http://schemas.microsoft.com/office/drawing/2014/main" id="{D91AE99D-E756-4D47-95A0-A3DD4E9C796C}"/>
              </a:ext>
            </a:extLst>
          </p:cNvPr>
          <p:cNvSpPr/>
          <p:nvPr/>
        </p:nvSpPr>
        <p:spPr>
          <a:xfrm rot="13612986">
            <a:off x="9132284" y="2675143"/>
            <a:ext cx="1303139" cy="237808"/>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30" name="Left Arrow 29">
            <a:extLst>
              <a:ext uri="{FF2B5EF4-FFF2-40B4-BE49-F238E27FC236}">
                <a16:creationId xmlns:a16="http://schemas.microsoft.com/office/drawing/2014/main" id="{F0A32D0A-4B0B-8D4D-98DB-9B9FB27F520C}"/>
              </a:ext>
            </a:extLst>
          </p:cNvPr>
          <p:cNvSpPr/>
          <p:nvPr/>
        </p:nvSpPr>
        <p:spPr>
          <a:xfrm rot="19514223">
            <a:off x="8892188" y="4546550"/>
            <a:ext cx="1125355" cy="309022"/>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31" name="TextBox 30">
            <a:extLst>
              <a:ext uri="{FF2B5EF4-FFF2-40B4-BE49-F238E27FC236}">
                <a16:creationId xmlns:a16="http://schemas.microsoft.com/office/drawing/2014/main" id="{E5F65359-E5C5-AE45-BE74-65FB4BFF7F21}"/>
              </a:ext>
            </a:extLst>
          </p:cNvPr>
          <p:cNvSpPr txBox="1"/>
          <p:nvPr/>
        </p:nvSpPr>
        <p:spPr>
          <a:xfrm>
            <a:off x="10070749" y="4377878"/>
            <a:ext cx="1194951" cy="379463"/>
          </a:xfrm>
          <a:prstGeom prst="rect">
            <a:avLst/>
          </a:prstGeom>
          <a:noFill/>
        </p:spPr>
        <p:txBody>
          <a:bodyPr wrap="square" rtlCol="0">
            <a:spAutoFit/>
          </a:bodyPr>
          <a:lstStyle/>
          <a:p>
            <a:r>
              <a:rPr lang="en-GB" sz="1866" b="1" dirty="0">
                <a:solidFill>
                  <a:schemeClr val="accent1"/>
                </a:solidFill>
              </a:rPr>
              <a:t>Discard</a:t>
            </a:r>
          </a:p>
        </p:txBody>
      </p:sp>
      <p:sp>
        <p:nvSpPr>
          <p:cNvPr id="32" name="TextBox 31">
            <a:extLst>
              <a:ext uri="{FF2B5EF4-FFF2-40B4-BE49-F238E27FC236}">
                <a16:creationId xmlns:a16="http://schemas.microsoft.com/office/drawing/2014/main" id="{2CE9B70C-A8AD-B942-8C3C-C499A869730A}"/>
              </a:ext>
            </a:extLst>
          </p:cNvPr>
          <p:cNvSpPr txBox="1"/>
          <p:nvPr/>
        </p:nvSpPr>
        <p:spPr>
          <a:xfrm>
            <a:off x="5003077" y="3369745"/>
            <a:ext cx="2144266" cy="379463"/>
          </a:xfrm>
          <a:prstGeom prst="rect">
            <a:avLst/>
          </a:prstGeom>
          <a:noFill/>
        </p:spPr>
        <p:txBody>
          <a:bodyPr wrap="square" rtlCol="0">
            <a:spAutoFit/>
          </a:bodyPr>
          <a:lstStyle/>
          <a:p>
            <a:pPr algn="ctr"/>
            <a:r>
              <a:rPr lang="en-GB" sz="1866" b="1" dirty="0" smtClean="0">
                <a:solidFill>
                  <a:schemeClr val="accent1"/>
                </a:solidFill>
              </a:rPr>
              <a:t>Tanning </a:t>
            </a:r>
            <a:r>
              <a:rPr lang="en-GB" sz="1866" b="1" dirty="0" err="1" smtClean="0">
                <a:solidFill>
                  <a:schemeClr val="accent1"/>
                </a:solidFill>
              </a:rPr>
              <a:t>Factroy</a:t>
            </a:r>
            <a:endParaRPr lang="en-GB" sz="1866" b="1" dirty="0">
              <a:solidFill>
                <a:schemeClr val="accent1"/>
              </a:solidFill>
            </a:endParaRPr>
          </a:p>
        </p:txBody>
      </p:sp>
      <p:sp>
        <p:nvSpPr>
          <p:cNvPr id="33" name="TextBox 32">
            <a:extLst>
              <a:ext uri="{FF2B5EF4-FFF2-40B4-BE49-F238E27FC236}">
                <a16:creationId xmlns:a16="http://schemas.microsoft.com/office/drawing/2014/main" id="{BDBBA548-D597-2045-8E3D-1007314B553A}"/>
              </a:ext>
            </a:extLst>
          </p:cNvPr>
          <p:cNvSpPr txBox="1"/>
          <p:nvPr/>
        </p:nvSpPr>
        <p:spPr>
          <a:xfrm>
            <a:off x="7877315" y="2642527"/>
            <a:ext cx="1594615" cy="1527982"/>
          </a:xfrm>
          <a:prstGeom prst="rect">
            <a:avLst/>
          </a:prstGeom>
          <a:noFill/>
        </p:spPr>
        <p:txBody>
          <a:bodyPr wrap="square" rtlCol="0">
            <a:spAutoFit/>
          </a:bodyPr>
          <a:lstStyle/>
          <a:p>
            <a:pPr algn="ctr"/>
            <a:r>
              <a:rPr lang="en-GB" sz="1866" b="1" dirty="0">
                <a:solidFill>
                  <a:schemeClr val="accent1"/>
                </a:solidFill>
              </a:rPr>
              <a:t>Product</a:t>
            </a:r>
          </a:p>
          <a:p>
            <a:pPr algn="ctr"/>
            <a:r>
              <a:rPr lang="en-GB" sz="1866" dirty="0">
                <a:solidFill>
                  <a:schemeClr val="accent1"/>
                </a:solidFill>
              </a:rPr>
              <a:t>(possible chemical residue) </a:t>
            </a:r>
          </a:p>
          <a:p>
            <a:endParaRPr lang="en-GB" sz="1866" b="1" dirty="0">
              <a:solidFill>
                <a:schemeClr val="accent1"/>
              </a:solidFill>
            </a:endParaRPr>
          </a:p>
        </p:txBody>
      </p:sp>
      <p:sp>
        <p:nvSpPr>
          <p:cNvPr id="34" name="TextBox 33">
            <a:extLst>
              <a:ext uri="{FF2B5EF4-FFF2-40B4-BE49-F238E27FC236}">
                <a16:creationId xmlns:a16="http://schemas.microsoft.com/office/drawing/2014/main" id="{737A9481-B9E7-264C-B09E-189C30A7C353}"/>
              </a:ext>
            </a:extLst>
          </p:cNvPr>
          <p:cNvSpPr txBox="1"/>
          <p:nvPr/>
        </p:nvSpPr>
        <p:spPr>
          <a:xfrm>
            <a:off x="7573596" y="6213725"/>
            <a:ext cx="1473113" cy="666593"/>
          </a:xfrm>
          <a:prstGeom prst="rect">
            <a:avLst/>
          </a:prstGeom>
          <a:noFill/>
        </p:spPr>
        <p:txBody>
          <a:bodyPr wrap="square" rtlCol="0">
            <a:spAutoFit/>
          </a:bodyPr>
          <a:lstStyle/>
          <a:p>
            <a:r>
              <a:rPr lang="en-GB" sz="1866" b="1" dirty="0">
                <a:solidFill>
                  <a:schemeClr val="accent1"/>
                </a:solidFill>
              </a:rPr>
              <a:t>Solid Waste</a:t>
            </a:r>
          </a:p>
        </p:txBody>
      </p:sp>
      <p:sp>
        <p:nvSpPr>
          <p:cNvPr id="35" name="TextBox 34">
            <a:extLst>
              <a:ext uri="{FF2B5EF4-FFF2-40B4-BE49-F238E27FC236}">
                <a16:creationId xmlns:a16="http://schemas.microsoft.com/office/drawing/2014/main" id="{992A9938-7F3D-3E49-900C-A29DCB7021B1}"/>
              </a:ext>
            </a:extLst>
          </p:cNvPr>
          <p:cNvSpPr txBox="1"/>
          <p:nvPr/>
        </p:nvSpPr>
        <p:spPr>
          <a:xfrm>
            <a:off x="4165058" y="6211226"/>
            <a:ext cx="1539492" cy="379463"/>
          </a:xfrm>
          <a:prstGeom prst="rect">
            <a:avLst/>
          </a:prstGeom>
          <a:noFill/>
        </p:spPr>
        <p:txBody>
          <a:bodyPr wrap="square" rtlCol="0">
            <a:spAutoFit/>
          </a:bodyPr>
          <a:lstStyle/>
          <a:p>
            <a:r>
              <a:rPr lang="en-GB" sz="1866" b="1" dirty="0">
                <a:solidFill>
                  <a:schemeClr val="accent1"/>
                </a:solidFill>
              </a:rPr>
              <a:t>Waste Gas</a:t>
            </a:r>
          </a:p>
        </p:txBody>
      </p:sp>
      <p:sp>
        <p:nvSpPr>
          <p:cNvPr id="36" name="TextBox 35">
            <a:extLst>
              <a:ext uri="{FF2B5EF4-FFF2-40B4-BE49-F238E27FC236}">
                <a16:creationId xmlns:a16="http://schemas.microsoft.com/office/drawing/2014/main" id="{84FD46C4-28C2-CD4A-89C4-1D8F11684D0D}"/>
              </a:ext>
            </a:extLst>
          </p:cNvPr>
          <p:cNvSpPr txBox="1"/>
          <p:nvPr/>
        </p:nvSpPr>
        <p:spPr>
          <a:xfrm>
            <a:off x="677272" y="5700142"/>
            <a:ext cx="1539492" cy="379463"/>
          </a:xfrm>
          <a:prstGeom prst="rect">
            <a:avLst/>
          </a:prstGeom>
          <a:noFill/>
        </p:spPr>
        <p:txBody>
          <a:bodyPr wrap="square" rtlCol="0">
            <a:spAutoFit/>
          </a:bodyPr>
          <a:lstStyle/>
          <a:p>
            <a:r>
              <a:rPr lang="en-GB" sz="1866" b="1" dirty="0">
                <a:solidFill>
                  <a:schemeClr val="accent1"/>
                </a:solidFill>
              </a:rPr>
              <a:t>Wastewater</a:t>
            </a:r>
          </a:p>
        </p:txBody>
      </p:sp>
      <p:sp>
        <p:nvSpPr>
          <p:cNvPr id="37" name="Left Arrow 36">
            <a:extLst>
              <a:ext uri="{FF2B5EF4-FFF2-40B4-BE49-F238E27FC236}">
                <a16:creationId xmlns:a16="http://schemas.microsoft.com/office/drawing/2014/main" id="{C9D68FB3-6643-7443-876C-93C8B37D79D3}"/>
              </a:ext>
            </a:extLst>
          </p:cNvPr>
          <p:cNvSpPr/>
          <p:nvPr/>
        </p:nvSpPr>
        <p:spPr>
          <a:xfrm rot="16200000">
            <a:off x="1220575" y="3505799"/>
            <a:ext cx="865198" cy="275209"/>
          </a:xfrm>
          <a:prstGeom prst="leftArrow">
            <a:avLst/>
          </a:prstGeom>
          <a:solidFill>
            <a:schemeClr val="tx2"/>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952" tIns="30476" rIns="60952" bIns="30476" numCol="1" spcCol="0" rtlCol="0" fromWordArt="0" anchor="ctr" anchorCtr="0" forceAA="0" compatLnSpc="1">
            <a:prstTxWarp prst="textNoShape">
              <a:avLst/>
            </a:prstTxWarp>
            <a:noAutofit/>
          </a:bodyPr>
          <a:lstStyle/>
          <a:p>
            <a:pPr algn="ctr"/>
            <a:endParaRPr lang="en-GB" sz="1866">
              <a:solidFill>
                <a:schemeClr val="tx1"/>
              </a:solidFill>
            </a:endParaRPr>
          </a:p>
        </p:txBody>
      </p:sp>
      <p:sp>
        <p:nvSpPr>
          <p:cNvPr id="23" name="Freeform 115">
            <a:extLst>
              <a:ext uri="{FF2B5EF4-FFF2-40B4-BE49-F238E27FC236}">
                <a16:creationId xmlns:a16="http://schemas.microsoft.com/office/drawing/2014/main" id="{3FBD1D95-4286-4344-9DC7-D78C70F28EF9}"/>
              </a:ext>
            </a:extLst>
          </p:cNvPr>
          <p:cNvSpPr>
            <a:spLocks noEditPoints="1"/>
          </p:cNvSpPr>
          <p:nvPr/>
        </p:nvSpPr>
        <p:spPr bwMode="auto">
          <a:xfrm>
            <a:off x="10139127" y="3363047"/>
            <a:ext cx="832550" cy="903632"/>
          </a:xfrm>
          <a:custGeom>
            <a:avLst/>
            <a:gdLst>
              <a:gd name="T0" fmla="*/ 72 w 144"/>
              <a:gd name="T1" fmla="*/ 152 h 176"/>
              <a:gd name="T2" fmla="*/ 76 w 144"/>
              <a:gd name="T3" fmla="*/ 148 h 176"/>
              <a:gd name="T4" fmla="*/ 76 w 144"/>
              <a:gd name="T5" fmla="*/ 52 h 176"/>
              <a:gd name="T6" fmla="*/ 72 w 144"/>
              <a:gd name="T7" fmla="*/ 48 h 176"/>
              <a:gd name="T8" fmla="*/ 68 w 144"/>
              <a:gd name="T9" fmla="*/ 52 h 176"/>
              <a:gd name="T10" fmla="*/ 68 w 144"/>
              <a:gd name="T11" fmla="*/ 148 h 176"/>
              <a:gd name="T12" fmla="*/ 72 w 144"/>
              <a:gd name="T13" fmla="*/ 152 h 176"/>
              <a:gd name="T14" fmla="*/ 96 w 144"/>
              <a:gd name="T15" fmla="*/ 152 h 176"/>
              <a:gd name="T16" fmla="*/ 100 w 144"/>
              <a:gd name="T17" fmla="*/ 148 h 176"/>
              <a:gd name="T18" fmla="*/ 106 w 144"/>
              <a:gd name="T19" fmla="*/ 52 h 176"/>
              <a:gd name="T20" fmla="*/ 102 w 144"/>
              <a:gd name="T21" fmla="*/ 48 h 176"/>
              <a:gd name="T22" fmla="*/ 98 w 144"/>
              <a:gd name="T23" fmla="*/ 52 h 176"/>
              <a:gd name="T24" fmla="*/ 92 w 144"/>
              <a:gd name="T25" fmla="*/ 148 h 176"/>
              <a:gd name="T26" fmla="*/ 96 w 144"/>
              <a:gd name="T27" fmla="*/ 152 h 176"/>
              <a:gd name="T28" fmla="*/ 140 w 144"/>
              <a:gd name="T29" fmla="*/ 24 h 176"/>
              <a:gd name="T30" fmla="*/ 100 w 144"/>
              <a:gd name="T31" fmla="*/ 24 h 176"/>
              <a:gd name="T32" fmla="*/ 100 w 144"/>
              <a:gd name="T33" fmla="*/ 8 h 176"/>
              <a:gd name="T34" fmla="*/ 92 w 144"/>
              <a:gd name="T35" fmla="*/ 0 h 176"/>
              <a:gd name="T36" fmla="*/ 52 w 144"/>
              <a:gd name="T37" fmla="*/ 0 h 176"/>
              <a:gd name="T38" fmla="*/ 44 w 144"/>
              <a:gd name="T39" fmla="*/ 8 h 176"/>
              <a:gd name="T40" fmla="*/ 44 w 144"/>
              <a:gd name="T41" fmla="*/ 24 h 176"/>
              <a:gd name="T42" fmla="*/ 4 w 144"/>
              <a:gd name="T43" fmla="*/ 24 h 176"/>
              <a:gd name="T44" fmla="*/ 0 w 144"/>
              <a:gd name="T45" fmla="*/ 28 h 176"/>
              <a:gd name="T46" fmla="*/ 4 w 144"/>
              <a:gd name="T47" fmla="*/ 32 h 176"/>
              <a:gd name="T48" fmla="*/ 12 w 144"/>
              <a:gd name="T49" fmla="*/ 32 h 176"/>
              <a:gd name="T50" fmla="*/ 20 w 144"/>
              <a:gd name="T51" fmla="*/ 160 h 176"/>
              <a:gd name="T52" fmla="*/ 36 w 144"/>
              <a:gd name="T53" fmla="*/ 176 h 176"/>
              <a:gd name="T54" fmla="*/ 108 w 144"/>
              <a:gd name="T55" fmla="*/ 176 h 176"/>
              <a:gd name="T56" fmla="*/ 124 w 144"/>
              <a:gd name="T57" fmla="*/ 160 h 176"/>
              <a:gd name="T58" fmla="*/ 132 w 144"/>
              <a:gd name="T59" fmla="*/ 32 h 176"/>
              <a:gd name="T60" fmla="*/ 140 w 144"/>
              <a:gd name="T61" fmla="*/ 32 h 176"/>
              <a:gd name="T62" fmla="*/ 144 w 144"/>
              <a:gd name="T63" fmla="*/ 28 h 176"/>
              <a:gd name="T64" fmla="*/ 140 w 144"/>
              <a:gd name="T65" fmla="*/ 24 h 176"/>
              <a:gd name="T66" fmla="*/ 52 w 144"/>
              <a:gd name="T67" fmla="*/ 8 h 176"/>
              <a:gd name="T68" fmla="*/ 92 w 144"/>
              <a:gd name="T69" fmla="*/ 8 h 176"/>
              <a:gd name="T70" fmla="*/ 92 w 144"/>
              <a:gd name="T71" fmla="*/ 24 h 176"/>
              <a:gd name="T72" fmla="*/ 52 w 144"/>
              <a:gd name="T73" fmla="*/ 24 h 176"/>
              <a:gd name="T74" fmla="*/ 52 w 144"/>
              <a:gd name="T75" fmla="*/ 8 h 176"/>
              <a:gd name="T76" fmla="*/ 116 w 144"/>
              <a:gd name="T77" fmla="*/ 160 h 176"/>
              <a:gd name="T78" fmla="*/ 108 w 144"/>
              <a:gd name="T79" fmla="*/ 168 h 176"/>
              <a:gd name="T80" fmla="*/ 36 w 144"/>
              <a:gd name="T81" fmla="*/ 168 h 176"/>
              <a:gd name="T82" fmla="*/ 28 w 144"/>
              <a:gd name="T83" fmla="*/ 160 h 176"/>
              <a:gd name="T84" fmla="*/ 20 w 144"/>
              <a:gd name="T85" fmla="*/ 32 h 176"/>
              <a:gd name="T86" fmla="*/ 124 w 144"/>
              <a:gd name="T87" fmla="*/ 32 h 176"/>
              <a:gd name="T88" fmla="*/ 116 w 144"/>
              <a:gd name="T89" fmla="*/ 160 h 176"/>
              <a:gd name="T90" fmla="*/ 48 w 144"/>
              <a:gd name="T91" fmla="*/ 152 h 176"/>
              <a:gd name="T92" fmla="*/ 52 w 144"/>
              <a:gd name="T93" fmla="*/ 148 h 176"/>
              <a:gd name="T94" fmla="*/ 46 w 144"/>
              <a:gd name="T95" fmla="*/ 52 h 176"/>
              <a:gd name="T96" fmla="*/ 42 w 144"/>
              <a:gd name="T97" fmla="*/ 48 h 176"/>
              <a:gd name="T98" fmla="*/ 38 w 144"/>
              <a:gd name="T99" fmla="*/ 52 h 176"/>
              <a:gd name="T100" fmla="*/ 44 w 144"/>
              <a:gd name="T101" fmla="*/ 148 h 176"/>
              <a:gd name="T102" fmla="*/ 48 w 144"/>
              <a:gd name="T103" fmla="*/ 152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76">
                <a:moveTo>
                  <a:pt x="72" y="152"/>
                </a:moveTo>
                <a:cubicBezTo>
                  <a:pt x="74" y="152"/>
                  <a:pt x="76" y="150"/>
                  <a:pt x="76" y="148"/>
                </a:cubicBezTo>
                <a:cubicBezTo>
                  <a:pt x="76" y="52"/>
                  <a:pt x="76" y="52"/>
                  <a:pt x="76" y="52"/>
                </a:cubicBezTo>
                <a:cubicBezTo>
                  <a:pt x="76" y="50"/>
                  <a:pt x="74" y="48"/>
                  <a:pt x="72" y="48"/>
                </a:cubicBezTo>
                <a:cubicBezTo>
                  <a:pt x="70" y="48"/>
                  <a:pt x="68" y="50"/>
                  <a:pt x="68" y="52"/>
                </a:cubicBezTo>
                <a:cubicBezTo>
                  <a:pt x="68" y="148"/>
                  <a:pt x="68" y="148"/>
                  <a:pt x="68" y="148"/>
                </a:cubicBezTo>
                <a:cubicBezTo>
                  <a:pt x="68" y="150"/>
                  <a:pt x="70" y="152"/>
                  <a:pt x="72" y="152"/>
                </a:cubicBezTo>
                <a:moveTo>
                  <a:pt x="96" y="152"/>
                </a:moveTo>
                <a:cubicBezTo>
                  <a:pt x="98" y="152"/>
                  <a:pt x="100" y="150"/>
                  <a:pt x="100" y="148"/>
                </a:cubicBezTo>
                <a:cubicBezTo>
                  <a:pt x="106" y="52"/>
                  <a:pt x="106" y="52"/>
                  <a:pt x="106" y="52"/>
                </a:cubicBezTo>
                <a:cubicBezTo>
                  <a:pt x="106" y="50"/>
                  <a:pt x="104" y="48"/>
                  <a:pt x="102" y="48"/>
                </a:cubicBezTo>
                <a:cubicBezTo>
                  <a:pt x="100" y="48"/>
                  <a:pt x="98" y="50"/>
                  <a:pt x="98" y="52"/>
                </a:cubicBezTo>
                <a:cubicBezTo>
                  <a:pt x="92" y="148"/>
                  <a:pt x="92" y="148"/>
                  <a:pt x="92" y="148"/>
                </a:cubicBezTo>
                <a:cubicBezTo>
                  <a:pt x="92" y="150"/>
                  <a:pt x="94" y="152"/>
                  <a:pt x="96" y="152"/>
                </a:cubicBezTo>
                <a:moveTo>
                  <a:pt x="140" y="24"/>
                </a:moveTo>
                <a:cubicBezTo>
                  <a:pt x="100" y="24"/>
                  <a:pt x="100" y="24"/>
                  <a:pt x="100" y="24"/>
                </a:cubicBezTo>
                <a:cubicBezTo>
                  <a:pt x="100" y="8"/>
                  <a:pt x="100" y="8"/>
                  <a:pt x="100" y="8"/>
                </a:cubicBezTo>
                <a:cubicBezTo>
                  <a:pt x="100" y="4"/>
                  <a:pt x="96" y="0"/>
                  <a:pt x="92" y="0"/>
                </a:cubicBezTo>
                <a:cubicBezTo>
                  <a:pt x="52" y="0"/>
                  <a:pt x="52" y="0"/>
                  <a:pt x="52" y="0"/>
                </a:cubicBezTo>
                <a:cubicBezTo>
                  <a:pt x="48" y="0"/>
                  <a:pt x="44" y="4"/>
                  <a:pt x="44" y="8"/>
                </a:cubicBezTo>
                <a:cubicBezTo>
                  <a:pt x="44" y="24"/>
                  <a:pt x="44" y="24"/>
                  <a:pt x="44" y="24"/>
                </a:cubicBezTo>
                <a:cubicBezTo>
                  <a:pt x="4" y="24"/>
                  <a:pt x="4" y="24"/>
                  <a:pt x="4" y="24"/>
                </a:cubicBezTo>
                <a:cubicBezTo>
                  <a:pt x="2" y="24"/>
                  <a:pt x="0" y="26"/>
                  <a:pt x="0" y="28"/>
                </a:cubicBezTo>
                <a:cubicBezTo>
                  <a:pt x="0" y="30"/>
                  <a:pt x="2" y="32"/>
                  <a:pt x="4" y="32"/>
                </a:cubicBezTo>
                <a:cubicBezTo>
                  <a:pt x="12" y="32"/>
                  <a:pt x="12" y="32"/>
                  <a:pt x="12" y="32"/>
                </a:cubicBezTo>
                <a:cubicBezTo>
                  <a:pt x="20" y="160"/>
                  <a:pt x="20" y="160"/>
                  <a:pt x="20" y="160"/>
                </a:cubicBezTo>
                <a:cubicBezTo>
                  <a:pt x="21" y="169"/>
                  <a:pt x="27" y="176"/>
                  <a:pt x="36" y="176"/>
                </a:cubicBezTo>
                <a:cubicBezTo>
                  <a:pt x="108" y="176"/>
                  <a:pt x="108" y="176"/>
                  <a:pt x="108" y="176"/>
                </a:cubicBezTo>
                <a:cubicBezTo>
                  <a:pt x="117" y="176"/>
                  <a:pt x="122" y="169"/>
                  <a:pt x="124" y="160"/>
                </a:cubicBezTo>
                <a:cubicBezTo>
                  <a:pt x="132" y="32"/>
                  <a:pt x="132" y="32"/>
                  <a:pt x="132" y="32"/>
                </a:cubicBezTo>
                <a:cubicBezTo>
                  <a:pt x="140" y="32"/>
                  <a:pt x="140" y="32"/>
                  <a:pt x="140" y="32"/>
                </a:cubicBezTo>
                <a:cubicBezTo>
                  <a:pt x="142" y="32"/>
                  <a:pt x="144" y="30"/>
                  <a:pt x="144" y="28"/>
                </a:cubicBezTo>
                <a:cubicBezTo>
                  <a:pt x="144" y="26"/>
                  <a:pt x="142" y="24"/>
                  <a:pt x="140" y="24"/>
                </a:cubicBezTo>
                <a:moveTo>
                  <a:pt x="52" y="8"/>
                </a:moveTo>
                <a:cubicBezTo>
                  <a:pt x="92" y="8"/>
                  <a:pt x="92" y="8"/>
                  <a:pt x="92" y="8"/>
                </a:cubicBezTo>
                <a:cubicBezTo>
                  <a:pt x="92" y="24"/>
                  <a:pt x="92" y="24"/>
                  <a:pt x="92" y="24"/>
                </a:cubicBezTo>
                <a:cubicBezTo>
                  <a:pt x="52" y="24"/>
                  <a:pt x="52" y="24"/>
                  <a:pt x="52" y="24"/>
                </a:cubicBezTo>
                <a:lnTo>
                  <a:pt x="52" y="8"/>
                </a:lnTo>
                <a:close/>
                <a:moveTo>
                  <a:pt x="116" y="160"/>
                </a:moveTo>
                <a:cubicBezTo>
                  <a:pt x="115" y="164"/>
                  <a:pt x="112" y="168"/>
                  <a:pt x="108" y="168"/>
                </a:cubicBezTo>
                <a:cubicBezTo>
                  <a:pt x="36" y="168"/>
                  <a:pt x="36" y="168"/>
                  <a:pt x="36" y="168"/>
                </a:cubicBezTo>
                <a:cubicBezTo>
                  <a:pt x="32" y="168"/>
                  <a:pt x="29" y="164"/>
                  <a:pt x="28" y="160"/>
                </a:cubicBezTo>
                <a:cubicBezTo>
                  <a:pt x="20" y="32"/>
                  <a:pt x="20" y="32"/>
                  <a:pt x="20" y="32"/>
                </a:cubicBezTo>
                <a:cubicBezTo>
                  <a:pt x="124" y="32"/>
                  <a:pt x="124" y="32"/>
                  <a:pt x="124" y="32"/>
                </a:cubicBezTo>
                <a:lnTo>
                  <a:pt x="116" y="160"/>
                </a:lnTo>
                <a:close/>
                <a:moveTo>
                  <a:pt x="48" y="152"/>
                </a:moveTo>
                <a:cubicBezTo>
                  <a:pt x="50" y="152"/>
                  <a:pt x="52" y="150"/>
                  <a:pt x="52" y="148"/>
                </a:cubicBezTo>
                <a:cubicBezTo>
                  <a:pt x="46" y="52"/>
                  <a:pt x="46" y="52"/>
                  <a:pt x="46" y="52"/>
                </a:cubicBezTo>
                <a:cubicBezTo>
                  <a:pt x="46" y="50"/>
                  <a:pt x="44" y="48"/>
                  <a:pt x="42" y="48"/>
                </a:cubicBezTo>
                <a:cubicBezTo>
                  <a:pt x="40" y="48"/>
                  <a:pt x="38" y="50"/>
                  <a:pt x="38" y="52"/>
                </a:cubicBezTo>
                <a:cubicBezTo>
                  <a:pt x="44" y="148"/>
                  <a:pt x="44" y="148"/>
                  <a:pt x="44" y="148"/>
                </a:cubicBezTo>
                <a:cubicBezTo>
                  <a:pt x="44" y="150"/>
                  <a:pt x="46" y="152"/>
                  <a:pt x="48" y="152"/>
                </a:cubicBezTo>
              </a:path>
            </a:pathLst>
          </a:custGeom>
          <a:solidFill>
            <a:schemeClr val="accent1"/>
          </a:solidFill>
          <a:ln>
            <a:noFill/>
          </a:ln>
        </p:spPr>
        <p:txBody>
          <a:bodyPr vert="horz" wrap="square" lIns="60952" tIns="30476" rIns="60952" bIns="30476" numCol="1" anchor="t" anchorCtr="0" compatLnSpc="1">
            <a:prstTxWarp prst="textNoShape">
              <a:avLst/>
            </a:prstTxWarp>
          </a:bodyPr>
          <a:lstStyle/>
          <a:p>
            <a:endParaRPr lang="uk-UA" sz="1600" dirty="0"/>
          </a:p>
        </p:txBody>
      </p:sp>
      <p:sp>
        <p:nvSpPr>
          <p:cNvPr id="2" name="Oval 1"/>
          <p:cNvSpPr/>
          <p:nvPr/>
        </p:nvSpPr>
        <p:spPr>
          <a:xfrm>
            <a:off x="280201" y="6079605"/>
            <a:ext cx="658638" cy="60647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221665433"/>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84124" y="382132"/>
            <a:ext cx="9726933" cy="369332"/>
          </a:xfrm>
        </p:spPr>
        <p:txBody>
          <a:bodyPr/>
          <a:lstStyle/>
          <a:p>
            <a:r>
              <a:rPr lang="en-US" sz="2400" dirty="0">
                <a:solidFill>
                  <a:schemeClr val="tx2"/>
                </a:solidFill>
              </a:rPr>
              <a:t>Sampling Point Locations</a:t>
            </a:r>
            <a:endParaRPr lang="uk-UA" sz="2400" dirty="0">
              <a:solidFill>
                <a:schemeClr val="tx2"/>
              </a:solidFill>
            </a:endParaRPr>
          </a:p>
        </p:txBody>
      </p:sp>
      <p:sp>
        <p:nvSpPr>
          <p:cNvPr id="6" name="Content Placeholder 2">
            <a:extLst>
              <a:ext uri="{FF2B5EF4-FFF2-40B4-BE49-F238E27FC236}">
                <a16:creationId xmlns:a16="http://schemas.microsoft.com/office/drawing/2014/main" id="{EACB5119-72F1-424D-9AEA-C75E0D24D6A4}"/>
              </a:ext>
            </a:extLst>
          </p:cNvPr>
          <p:cNvSpPr txBox="1">
            <a:spLocks/>
          </p:cNvSpPr>
          <p:nvPr/>
        </p:nvSpPr>
        <p:spPr>
          <a:xfrm>
            <a:off x="584123" y="1194885"/>
            <a:ext cx="10692008" cy="3606330"/>
          </a:xfrm>
          <a:prstGeom prst="rect">
            <a:avLst/>
          </a:prstGeom>
        </p:spPr>
        <p:txBody>
          <a:bodyPr numCol="1">
            <a:noAutofit/>
          </a:bodyPr>
          <a:lst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a:lstStyle>
          <a:p>
            <a:pPr marL="0" indent="0" algn="ctr">
              <a:lnSpc>
                <a:spcPct val="200000"/>
              </a:lnSpc>
              <a:buNone/>
            </a:pPr>
            <a:r>
              <a:rPr lang="en-US" sz="2400" b="1" dirty="0"/>
              <a:t>Ground/Incoming Water (Without Treatment)</a:t>
            </a:r>
          </a:p>
          <a:p>
            <a:pPr marL="0" indent="0" algn="ctr">
              <a:lnSpc>
                <a:spcPct val="200000"/>
              </a:lnSpc>
              <a:buNone/>
            </a:pPr>
            <a:r>
              <a:rPr lang="en-US" sz="2400" b="1" dirty="0"/>
              <a:t>Wastewater Before Treatment</a:t>
            </a:r>
          </a:p>
          <a:p>
            <a:pPr marL="0" indent="0" algn="ctr">
              <a:lnSpc>
                <a:spcPct val="200000"/>
              </a:lnSpc>
              <a:buNone/>
            </a:pPr>
            <a:r>
              <a:rPr lang="en-US" sz="2400" b="1" dirty="0"/>
              <a:t>Wastewater After Treatment</a:t>
            </a:r>
          </a:p>
          <a:p>
            <a:pPr marL="0" indent="0" algn="ctr">
              <a:lnSpc>
                <a:spcPct val="200000"/>
              </a:lnSpc>
              <a:buNone/>
            </a:pPr>
            <a:r>
              <a:rPr lang="en-US" sz="2400" b="1" dirty="0"/>
              <a:t>Sludge</a:t>
            </a:r>
          </a:p>
          <a:p>
            <a:pPr marL="0" indent="0">
              <a:spcBef>
                <a:spcPts val="200"/>
              </a:spcBef>
              <a:buNone/>
            </a:pPr>
            <a:endParaRPr lang="en-US" sz="1600" dirty="0"/>
          </a:p>
        </p:txBody>
      </p:sp>
      <p:sp>
        <p:nvSpPr>
          <p:cNvPr id="7" name="Rectangle 6">
            <a:extLst>
              <a:ext uri="{FF2B5EF4-FFF2-40B4-BE49-F238E27FC236}">
                <a16:creationId xmlns:a16="http://schemas.microsoft.com/office/drawing/2014/main" id="{43EB8213-DFB1-B14C-BCB0-F48F3C4049AD}"/>
              </a:ext>
            </a:extLst>
          </p:cNvPr>
          <p:cNvSpPr/>
          <p:nvPr/>
        </p:nvSpPr>
        <p:spPr>
          <a:xfrm>
            <a:off x="2196813" y="5706307"/>
            <a:ext cx="7466628" cy="830997"/>
          </a:xfrm>
          <a:prstGeom prst="rect">
            <a:avLst/>
          </a:prstGeom>
          <a:solidFill>
            <a:schemeClr val="tx2"/>
          </a:solidFill>
          <a:ln>
            <a:solidFill>
              <a:schemeClr val="tx2"/>
            </a:solidFill>
          </a:ln>
        </p:spPr>
        <p:txBody>
          <a:bodyPr wrap="square" anchor="ctr">
            <a:spAutoFit/>
          </a:bodyPr>
          <a:lstStyle/>
          <a:p>
            <a:pPr algn="ctr"/>
            <a:r>
              <a:rPr lang="en-US" sz="1600" dirty="0">
                <a:solidFill>
                  <a:schemeClr val="bg1"/>
                </a:solidFill>
              </a:rPr>
              <a:t>Please note that the places of sampling are usually four as mentioned above and may vary depending on the type of mills and also from brand to brand based on their internal strategy</a:t>
            </a:r>
          </a:p>
        </p:txBody>
      </p:sp>
      <p:sp>
        <p:nvSpPr>
          <p:cNvPr id="2" name="Oval 1"/>
          <p:cNvSpPr/>
          <p:nvPr/>
        </p:nvSpPr>
        <p:spPr>
          <a:xfrm>
            <a:off x="166994" y="6111816"/>
            <a:ext cx="792110" cy="5742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90027065"/>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RSL &gt; Brain of the ZDHC Programme</a:t>
            </a:r>
            <a:endParaRPr lang="en-GB" dirty="0"/>
          </a:p>
        </p:txBody>
      </p:sp>
      <p:sp>
        <p:nvSpPr>
          <p:cNvPr id="6" name="Freeform: Shape 26">
            <a:extLst>
              <a:ext uri="{FF2B5EF4-FFF2-40B4-BE49-F238E27FC236}">
                <a16:creationId xmlns:a16="http://schemas.microsoft.com/office/drawing/2014/main" id="{0219DB5F-7030-4E89-A61E-96165CBA37F0}"/>
              </a:ext>
            </a:extLst>
          </p:cNvPr>
          <p:cNvSpPr>
            <a:spLocks/>
          </p:cNvSpPr>
          <p:nvPr/>
        </p:nvSpPr>
        <p:spPr bwMode="auto">
          <a:xfrm rot="16200000">
            <a:off x="3709879" y="-579688"/>
            <a:ext cx="4772243" cy="8861755"/>
          </a:xfrm>
          <a:custGeom>
            <a:avLst/>
            <a:gdLst>
              <a:gd name="connsiteX0" fmla="*/ 1039790 w 4772243"/>
              <a:gd name="connsiteY0" fmla="*/ 2116697 h 8861755"/>
              <a:gd name="connsiteX1" fmla="*/ 1039591 w 4772243"/>
              <a:gd name="connsiteY1" fmla="*/ 2116605 h 8861755"/>
              <a:gd name="connsiteX2" fmla="*/ 1039628 w 4772243"/>
              <a:gd name="connsiteY2" fmla="*/ 2116572 h 8861755"/>
              <a:gd name="connsiteX3" fmla="*/ 1848531 w 4772243"/>
              <a:gd name="connsiteY3" fmla="*/ 3168136 h 8861755"/>
              <a:gd name="connsiteX4" fmla="*/ 1825713 w 4772243"/>
              <a:gd name="connsiteY4" fmla="*/ 3191405 h 8861755"/>
              <a:gd name="connsiteX5" fmla="*/ 1806683 w 4772243"/>
              <a:gd name="connsiteY5" fmla="*/ 3213830 h 8861755"/>
              <a:gd name="connsiteX6" fmla="*/ 1802138 w 4772243"/>
              <a:gd name="connsiteY6" fmla="*/ 3220926 h 8861755"/>
              <a:gd name="connsiteX7" fmla="*/ 1777995 w 4772243"/>
              <a:gd name="connsiteY7" fmla="*/ 3221778 h 8861755"/>
              <a:gd name="connsiteX8" fmla="*/ 1755388 w 4772243"/>
              <a:gd name="connsiteY8" fmla="*/ 3224707 h 8861755"/>
              <a:gd name="connsiteX9" fmla="*/ 1731831 w 4772243"/>
              <a:gd name="connsiteY9" fmla="*/ 3220510 h 8861755"/>
              <a:gd name="connsiteX10" fmla="*/ 1634882 w 4772243"/>
              <a:gd name="connsiteY10" fmla="*/ 3207597 h 8861755"/>
              <a:gd name="connsiteX11" fmla="*/ 1537028 w 4772243"/>
              <a:gd name="connsiteY11" fmla="*/ 3198181 h 8861755"/>
              <a:gd name="connsiteX12" fmla="*/ 1488100 w 4772243"/>
              <a:gd name="connsiteY12" fmla="*/ 3194684 h 8861755"/>
              <a:gd name="connsiteX13" fmla="*/ 1450348 w 4772243"/>
              <a:gd name="connsiteY13" fmla="*/ 3192530 h 8861755"/>
              <a:gd name="connsiteX14" fmla="*/ 1376655 w 4772243"/>
              <a:gd name="connsiteY14" fmla="*/ 3186343 h 8861755"/>
              <a:gd name="connsiteX15" fmla="*/ 1323198 w 4772243"/>
              <a:gd name="connsiteY15" fmla="*/ 3178542 h 8861755"/>
              <a:gd name="connsiteX16" fmla="*/ 1288768 w 4772243"/>
              <a:gd name="connsiteY16" fmla="*/ 3171008 h 8861755"/>
              <a:gd name="connsiteX17" fmla="*/ 1254640 w 4772243"/>
              <a:gd name="connsiteY17" fmla="*/ 3160786 h 8861755"/>
              <a:gd name="connsiteX18" fmla="*/ 1221719 w 4772243"/>
              <a:gd name="connsiteY18" fmla="*/ 3147873 h 8861755"/>
              <a:gd name="connsiteX19" fmla="*/ 1205712 w 4772243"/>
              <a:gd name="connsiteY19" fmla="*/ 3139802 h 8861755"/>
              <a:gd name="connsiteX20" fmla="*/ 1160410 w 4772243"/>
              <a:gd name="connsiteY20" fmla="*/ 3140340 h 8861755"/>
              <a:gd name="connsiteX21" fmla="*/ 1077958 w 4772243"/>
              <a:gd name="connsiteY21" fmla="*/ 3137381 h 8861755"/>
              <a:gd name="connsiteX22" fmla="*/ 1006379 w 4772243"/>
              <a:gd name="connsiteY22" fmla="*/ 3131463 h 8861755"/>
              <a:gd name="connsiteX23" fmla="*/ 944767 w 4772243"/>
              <a:gd name="connsiteY23" fmla="*/ 3123123 h 8861755"/>
              <a:gd name="connsiteX24" fmla="*/ 870169 w 4772243"/>
              <a:gd name="connsiteY24" fmla="*/ 3108864 h 8861755"/>
              <a:gd name="connsiteX25" fmla="*/ 808858 w 4772243"/>
              <a:gd name="connsiteY25" fmla="*/ 3092453 h 8861755"/>
              <a:gd name="connsiteX26" fmla="*/ 795569 w 4772243"/>
              <a:gd name="connsiteY26" fmla="*/ 3088687 h 8861755"/>
              <a:gd name="connsiteX27" fmla="*/ 792851 w 4772243"/>
              <a:gd name="connsiteY27" fmla="*/ 3087611 h 8861755"/>
              <a:gd name="connsiteX28" fmla="*/ 790133 w 4772243"/>
              <a:gd name="connsiteY28" fmla="*/ 3083037 h 8861755"/>
              <a:gd name="connsiteX29" fmla="*/ 791039 w 4772243"/>
              <a:gd name="connsiteY29" fmla="*/ 3073891 h 8861755"/>
              <a:gd name="connsiteX30" fmla="*/ 794362 w 4772243"/>
              <a:gd name="connsiteY30" fmla="*/ 3068779 h 8861755"/>
              <a:gd name="connsiteX31" fmla="*/ 810066 w 4772243"/>
              <a:gd name="connsiteY31" fmla="*/ 3069587 h 8861755"/>
              <a:gd name="connsiteX32" fmla="*/ 909733 w 4772243"/>
              <a:gd name="connsiteY32" fmla="*/ 3079540 h 8861755"/>
              <a:gd name="connsiteX33" fmla="*/ 1040508 w 4772243"/>
              <a:gd name="connsiteY33" fmla="*/ 3093260 h 8861755"/>
              <a:gd name="connsiteX34" fmla="*/ 1143496 w 4772243"/>
              <a:gd name="connsiteY34" fmla="*/ 3102946 h 8861755"/>
              <a:gd name="connsiteX35" fmla="*/ 1161617 w 4772243"/>
              <a:gd name="connsiteY35" fmla="*/ 3103215 h 8861755"/>
              <a:gd name="connsiteX36" fmla="*/ 1155275 w 4772243"/>
              <a:gd name="connsiteY36" fmla="*/ 3093529 h 8861755"/>
              <a:gd name="connsiteX37" fmla="*/ 1137456 w 4772243"/>
              <a:gd name="connsiteY37" fmla="*/ 3070124 h 8861755"/>
              <a:gd name="connsiteX38" fmla="*/ 1102120 w 4772243"/>
              <a:gd name="connsiteY38" fmla="*/ 3028963 h 8861755"/>
              <a:gd name="connsiteX39" fmla="*/ 1039602 w 4772243"/>
              <a:gd name="connsiteY39" fmla="*/ 2964127 h 8861755"/>
              <a:gd name="connsiteX40" fmla="*/ 966210 w 4772243"/>
              <a:gd name="connsiteY40" fmla="*/ 2893643 h 8861755"/>
              <a:gd name="connsiteX41" fmla="*/ 887988 w 4772243"/>
              <a:gd name="connsiteY41" fmla="*/ 2822889 h 8861755"/>
              <a:gd name="connsiteX42" fmla="*/ 809462 w 4772243"/>
              <a:gd name="connsiteY42" fmla="*/ 2757516 h 8861755"/>
              <a:gd name="connsiteX43" fmla="*/ 737884 w 4772243"/>
              <a:gd name="connsiteY43" fmla="*/ 2701828 h 8861755"/>
              <a:gd name="connsiteX44" fmla="*/ 691675 w 4772243"/>
              <a:gd name="connsiteY44" fmla="*/ 2670621 h 8861755"/>
              <a:gd name="connsiteX45" fmla="*/ 666003 w 4772243"/>
              <a:gd name="connsiteY45" fmla="*/ 2655554 h 8861755"/>
              <a:gd name="connsiteX46" fmla="*/ 654828 w 4772243"/>
              <a:gd name="connsiteY46" fmla="*/ 2650444 h 8861755"/>
              <a:gd name="connsiteX47" fmla="*/ 674158 w 4772243"/>
              <a:gd name="connsiteY47" fmla="*/ 2653941 h 8861755"/>
              <a:gd name="connsiteX48" fmla="*/ 711306 w 4772243"/>
              <a:gd name="connsiteY48" fmla="*/ 2664433 h 8861755"/>
              <a:gd name="connsiteX49" fmla="*/ 750569 w 4772243"/>
              <a:gd name="connsiteY49" fmla="*/ 2681113 h 8861755"/>
              <a:gd name="connsiteX50" fmla="*/ 794362 w 4772243"/>
              <a:gd name="connsiteY50" fmla="*/ 2707208 h 8861755"/>
              <a:gd name="connsiteX51" fmla="*/ 845101 w 4772243"/>
              <a:gd name="connsiteY51" fmla="*/ 2745410 h 8861755"/>
              <a:gd name="connsiteX52" fmla="*/ 907015 w 4772243"/>
              <a:gd name="connsiteY52" fmla="*/ 2798946 h 8861755"/>
              <a:gd name="connsiteX53" fmla="*/ 982218 w 4772243"/>
              <a:gd name="connsiteY53" fmla="*/ 2870507 h 8861755"/>
              <a:gd name="connsiteX54" fmla="*/ 1073729 w 4772243"/>
              <a:gd name="connsiteY54" fmla="*/ 2962514 h 8861755"/>
              <a:gd name="connsiteX55" fmla="*/ 1127791 w 4772243"/>
              <a:gd name="connsiteY55" fmla="*/ 3018202 h 8861755"/>
              <a:gd name="connsiteX56" fmla="*/ 1141986 w 4772243"/>
              <a:gd name="connsiteY56" fmla="*/ 3034344 h 8861755"/>
              <a:gd name="connsiteX57" fmla="*/ 1172490 w 4772243"/>
              <a:gd name="connsiteY57" fmla="*/ 3062861 h 8861755"/>
              <a:gd name="connsiteX58" fmla="*/ 1205712 w 4772243"/>
              <a:gd name="connsiteY58" fmla="*/ 3087880 h 8861755"/>
              <a:gd name="connsiteX59" fmla="*/ 1241653 w 4772243"/>
              <a:gd name="connsiteY59" fmla="*/ 3108864 h 8861755"/>
              <a:gd name="connsiteX60" fmla="*/ 1280009 w 4772243"/>
              <a:gd name="connsiteY60" fmla="*/ 3125544 h 8861755"/>
              <a:gd name="connsiteX61" fmla="*/ 1321688 w 4772243"/>
              <a:gd name="connsiteY61" fmla="*/ 3138457 h 8861755"/>
              <a:gd name="connsiteX62" fmla="*/ 1366085 w 4772243"/>
              <a:gd name="connsiteY62" fmla="*/ 3146797 h 8861755"/>
              <a:gd name="connsiteX63" fmla="*/ 1414106 w 4772243"/>
              <a:gd name="connsiteY63" fmla="*/ 3151370 h 8861755"/>
              <a:gd name="connsiteX64" fmla="*/ 1439173 w 4772243"/>
              <a:gd name="connsiteY64" fmla="*/ 3151638 h 8861755"/>
              <a:gd name="connsiteX65" fmla="*/ 1601962 w 4772243"/>
              <a:gd name="connsiteY65" fmla="*/ 3154598 h 8861755"/>
              <a:gd name="connsiteX66" fmla="*/ 1755992 w 4772243"/>
              <a:gd name="connsiteY66" fmla="*/ 3158633 h 8861755"/>
              <a:gd name="connsiteX67" fmla="*/ 1676259 w 4772243"/>
              <a:gd name="connsiteY67" fmla="*/ 3100255 h 8861755"/>
              <a:gd name="connsiteX68" fmla="*/ 1588975 w 4772243"/>
              <a:gd name="connsiteY68" fmla="*/ 3036227 h 8861755"/>
              <a:gd name="connsiteX69" fmla="*/ 1595921 w 4772243"/>
              <a:gd name="connsiteY69" fmla="*/ 3029501 h 8861755"/>
              <a:gd name="connsiteX70" fmla="*/ 1603170 w 4772243"/>
              <a:gd name="connsiteY70" fmla="*/ 3021969 h 8861755"/>
              <a:gd name="connsiteX71" fmla="*/ 1617063 w 4772243"/>
              <a:gd name="connsiteY71" fmla="*/ 3027887 h 8861755"/>
              <a:gd name="connsiteX72" fmla="*/ 1630352 w 4772243"/>
              <a:gd name="connsiteY72" fmla="*/ 3034882 h 8861755"/>
              <a:gd name="connsiteX73" fmla="*/ 1698306 w 4772243"/>
              <a:gd name="connsiteY73" fmla="*/ 3077119 h 8861755"/>
              <a:gd name="connsiteX74" fmla="*/ 1799483 w 4772243"/>
              <a:gd name="connsiteY74" fmla="*/ 3140609 h 8861755"/>
              <a:gd name="connsiteX75" fmla="*/ 1861593 w 4772243"/>
              <a:gd name="connsiteY75" fmla="*/ 8270953 h 8861755"/>
              <a:gd name="connsiteX76" fmla="*/ 1861583 w 4772243"/>
              <a:gd name="connsiteY76" fmla="*/ 8270975 h 8861755"/>
              <a:gd name="connsiteX77" fmla="*/ 1860677 w 4772243"/>
              <a:gd name="connsiteY77" fmla="*/ 8270705 h 8861755"/>
              <a:gd name="connsiteX78" fmla="*/ 1905576 w 4772243"/>
              <a:gd name="connsiteY78" fmla="*/ 5724598 h 8861755"/>
              <a:gd name="connsiteX79" fmla="*/ 1901178 w 4772243"/>
              <a:gd name="connsiteY79" fmla="*/ 5725632 h 8861755"/>
              <a:gd name="connsiteX80" fmla="*/ 1868278 w 4772243"/>
              <a:gd name="connsiteY80" fmla="*/ 5737999 h 8861755"/>
              <a:gd name="connsiteX81" fmla="*/ 1848357 w 4772243"/>
              <a:gd name="connsiteY81" fmla="*/ 5749829 h 8861755"/>
              <a:gd name="connsiteX82" fmla="*/ 1838095 w 4772243"/>
              <a:gd name="connsiteY82" fmla="*/ 5759239 h 8861755"/>
              <a:gd name="connsiteX83" fmla="*/ 1833869 w 4772243"/>
              <a:gd name="connsiteY83" fmla="*/ 5764348 h 8861755"/>
              <a:gd name="connsiteX84" fmla="*/ 1785575 w 4772243"/>
              <a:gd name="connsiteY84" fmla="*/ 5827800 h 8861755"/>
              <a:gd name="connsiteX85" fmla="*/ 1741507 w 4772243"/>
              <a:gd name="connsiteY85" fmla="*/ 5884261 h 8861755"/>
              <a:gd name="connsiteX86" fmla="*/ 1741507 w 4772243"/>
              <a:gd name="connsiteY86" fmla="*/ 5881303 h 8861755"/>
              <a:gd name="connsiteX87" fmla="*/ 1741205 w 4772243"/>
              <a:gd name="connsiteY87" fmla="*/ 5858181 h 8861755"/>
              <a:gd name="connsiteX88" fmla="*/ 1716757 w 4772243"/>
              <a:gd name="connsiteY88" fmla="*/ 5875926 h 8861755"/>
              <a:gd name="connsiteX89" fmla="*/ 1684460 w 4772243"/>
              <a:gd name="connsiteY89" fmla="*/ 5904156 h 8861755"/>
              <a:gd name="connsiteX90" fmla="*/ 1665142 w 4772243"/>
              <a:gd name="connsiteY90" fmla="*/ 5923784 h 8861755"/>
              <a:gd name="connsiteX91" fmla="*/ 1647636 w 4772243"/>
              <a:gd name="connsiteY91" fmla="*/ 5944217 h 8861755"/>
              <a:gd name="connsiteX92" fmla="*/ 1632243 w 4772243"/>
              <a:gd name="connsiteY92" fmla="*/ 5965726 h 8861755"/>
              <a:gd name="connsiteX93" fmla="*/ 1618660 w 4772243"/>
              <a:gd name="connsiteY93" fmla="*/ 5988041 h 8861755"/>
              <a:gd name="connsiteX94" fmla="*/ 1606587 w 4772243"/>
              <a:gd name="connsiteY94" fmla="*/ 6011971 h 8861755"/>
              <a:gd name="connsiteX95" fmla="*/ 1601456 w 4772243"/>
              <a:gd name="connsiteY95" fmla="*/ 6024070 h 8861755"/>
              <a:gd name="connsiteX96" fmla="*/ 1604172 w 4772243"/>
              <a:gd name="connsiteY96" fmla="*/ 6009282 h 8861755"/>
              <a:gd name="connsiteX97" fmla="*/ 1612321 w 4772243"/>
              <a:gd name="connsiteY97" fmla="*/ 5981589 h 8861755"/>
              <a:gd name="connsiteX98" fmla="*/ 1622886 w 4772243"/>
              <a:gd name="connsiteY98" fmla="*/ 5955510 h 8861755"/>
              <a:gd name="connsiteX99" fmla="*/ 1635563 w 4772243"/>
              <a:gd name="connsiteY99" fmla="*/ 5930236 h 8861755"/>
              <a:gd name="connsiteX100" fmla="*/ 1657295 w 4772243"/>
              <a:gd name="connsiteY100" fmla="*/ 5895015 h 8861755"/>
              <a:gd name="connsiteX101" fmla="*/ 1692610 w 4772243"/>
              <a:gd name="connsiteY101" fmla="*/ 5851459 h 8861755"/>
              <a:gd name="connsiteX102" fmla="*/ 1731546 w 4772243"/>
              <a:gd name="connsiteY102" fmla="*/ 5811130 h 8861755"/>
              <a:gd name="connsiteX103" fmla="*/ 1773502 w 4772243"/>
              <a:gd name="connsiteY103" fmla="*/ 5772682 h 8861755"/>
              <a:gd name="connsiteX104" fmla="*/ 1816061 w 4772243"/>
              <a:gd name="connsiteY104" fmla="*/ 5735580 h 8861755"/>
              <a:gd name="connsiteX105" fmla="*/ 1857110 w 4772243"/>
              <a:gd name="connsiteY105" fmla="*/ 5697939 h 8861755"/>
              <a:gd name="connsiteX106" fmla="*/ 1863149 w 4772243"/>
              <a:gd name="connsiteY106" fmla="*/ 5691887 h 8861755"/>
              <a:gd name="connsiteX107" fmla="*/ 1881388 w 4772243"/>
              <a:gd name="connsiteY107" fmla="*/ 5707458 h 8861755"/>
              <a:gd name="connsiteX108" fmla="*/ 1955779 w 4772243"/>
              <a:gd name="connsiteY108" fmla="*/ 5645567 h 8861755"/>
              <a:gd name="connsiteX109" fmla="*/ 1924864 w 4772243"/>
              <a:gd name="connsiteY109" fmla="*/ 5658310 h 8861755"/>
              <a:gd name="connsiteX110" fmla="*/ 1892470 w 4772243"/>
              <a:gd name="connsiteY110" fmla="*/ 5667401 h 8861755"/>
              <a:gd name="connsiteX111" fmla="*/ 1860929 w 4772243"/>
              <a:gd name="connsiteY111" fmla="*/ 5673367 h 8861755"/>
              <a:gd name="connsiteX112" fmla="*/ 1849018 w 4772243"/>
              <a:gd name="connsiteY112" fmla="*/ 5674643 h 8861755"/>
              <a:gd name="connsiteX113" fmla="*/ 1792216 w 4772243"/>
              <a:gd name="connsiteY113" fmla="*/ 5666482 h 8861755"/>
              <a:gd name="connsiteX114" fmla="*/ 1670274 w 4772243"/>
              <a:gd name="connsiteY114" fmla="*/ 5650082 h 8861755"/>
              <a:gd name="connsiteX115" fmla="*/ 1584553 w 4772243"/>
              <a:gd name="connsiteY115" fmla="*/ 5640940 h 8861755"/>
              <a:gd name="connsiteX116" fmla="*/ 1567650 w 4772243"/>
              <a:gd name="connsiteY116" fmla="*/ 5640133 h 8861755"/>
              <a:gd name="connsiteX117" fmla="*/ 1532939 w 4772243"/>
              <a:gd name="connsiteY117" fmla="*/ 5642015 h 8861755"/>
              <a:gd name="connsiteX118" fmla="*/ 1498530 w 4772243"/>
              <a:gd name="connsiteY118" fmla="*/ 5649005 h 8861755"/>
              <a:gd name="connsiteX119" fmla="*/ 1466837 w 4772243"/>
              <a:gd name="connsiteY119" fmla="*/ 5660298 h 8861755"/>
              <a:gd name="connsiteX120" fmla="*/ 1452651 w 4772243"/>
              <a:gd name="connsiteY120" fmla="*/ 5667289 h 8861755"/>
              <a:gd name="connsiteX121" fmla="*/ 1430316 w 4772243"/>
              <a:gd name="connsiteY121" fmla="*/ 5680194 h 8861755"/>
              <a:gd name="connsiteX122" fmla="*/ 1388058 w 4772243"/>
              <a:gd name="connsiteY122" fmla="*/ 5708424 h 8861755"/>
              <a:gd name="connsiteX123" fmla="*/ 1327691 w 4772243"/>
              <a:gd name="connsiteY123" fmla="*/ 5754669 h 8861755"/>
              <a:gd name="connsiteX124" fmla="*/ 1286944 w 4772243"/>
              <a:gd name="connsiteY124" fmla="*/ 5785050 h 8861755"/>
              <a:gd name="connsiteX125" fmla="*/ 1278794 w 4772243"/>
              <a:gd name="connsiteY125" fmla="*/ 5790159 h 8861755"/>
              <a:gd name="connsiteX126" fmla="*/ 1270343 w 4772243"/>
              <a:gd name="connsiteY126" fmla="*/ 5794729 h 8861755"/>
              <a:gd name="connsiteX127" fmla="*/ 1265212 w 4772243"/>
              <a:gd name="connsiteY127" fmla="*/ 5790159 h 8861755"/>
              <a:gd name="connsiteX128" fmla="*/ 1260684 w 4772243"/>
              <a:gd name="connsiteY128" fmla="*/ 5785588 h 8861755"/>
              <a:gd name="connsiteX129" fmla="*/ 1312600 w 4772243"/>
              <a:gd name="connsiteY129" fmla="*/ 5740150 h 8861755"/>
              <a:gd name="connsiteX130" fmla="*/ 1359988 w 4772243"/>
              <a:gd name="connsiteY130" fmla="*/ 5697939 h 8861755"/>
              <a:gd name="connsiteX131" fmla="*/ 1263400 w 4772243"/>
              <a:gd name="connsiteY131" fmla="*/ 5706812 h 8861755"/>
              <a:gd name="connsiteX132" fmla="*/ 1161381 w 4772243"/>
              <a:gd name="connsiteY132" fmla="*/ 5715415 h 8861755"/>
              <a:gd name="connsiteX133" fmla="*/ 1145685 w 4772243"/>
              <a:gd name="connsiteY133" fmla="*/ 5716759 h 8861755"/>
              <a:gd name="connsiteX134" fmla="*/ 1115804 w 4772243"/>
              <a:gd name="connsiteY134" fmla="*/ 5721330 h 8861755"/>
              <a:gd name="connsiteX135" fmla="*/ 1088035 w 4772243"/>
              <a:gd name="connsiteY135" fmla="*/ 5728858 h 8861755"/>
              <a:gd name="connsiteX136" fmla="*/ 1062681 w 4772243"/>
              <a:gd name="connsiteY136" fmla="*/ 5739075 h 8861755"/>
              <a:gd name="connsiteX137" fmla="*/ 1039138 w 4772243"/>
              <a:gd name="connsiteY137" fmla="*/ 5751443 h 8861755"/>
              <a:gd name="connsiteX138" fmla="*/ 1017707 w 4772243"/>
              <a:gd name="connsiteY138" fmla="*/ 5766768 h 8861755"/>
              <a:gd name="connsiteX139" fmla="*/ 997785 w 4772243"/>
              <a:gd name="connsiteY139" fmla="*/ 5784512 h 8861755"/>
              <a:gd name="connsiteX140" fmla="*/ 980279 w 4772243"/>
              <a:gd name="connsiteY140" fmla="*/ 5805216 h 8861755"/>
              <a:gd name="connsiteX141" fmla="*/ 971828 w 4772243"/>
              <a:gd name="connsiteY141" fmla="*/ 5816238 h 8861755"/>
              <a:gd name="connsiteX142" fmla="*/ 959452 w 4772243"/>
              <a:gd name="connsiteY142" fmla="*/ 5833446 h 8861755"/>
              <a:gd name="connsiteX143" fmla="*/ 931381 w 4772243"/>
              <a:gd name="connsiteY143" fmla="*/ 5864096 h 8861755"/>
              <a:gd name="connsiteX144" fmla="*/ 906631 w 4772243"/>
              <a:gd name="connsiteY144" fmla="*/ 5883992 h 8861755"/>
              <a:gd name="connsiteX145" fmla="*/ 888219 w 4772243"/>
              <a:gd name="connsiteY145" fmla="*/ 5895553 h 8861755"/>
              <a:gd name="connsiteX146" fmla="*/ 868298 w 4772243"/>
              <a:gd name="connsiteY146" fmla="*/ 5905232 h 8861755"/>
              <a:gd name="connsiteX147" fmla="*/ 846868 w 4772243"/>
              <a:gd name="connsiteY147" fmla="*/ 5913298 h 8861755"/>
              <a:gd name="connsiteX148" fmla="*/ 834493 w 4772243"/>
              <a:gd name="connsiteY148" fmla="*/ 5916256 h 8861755"/>
              <a:gd name="connsiteX149" fmla="*/ 847471 w 4772243"/>
              <a:gd name="connsiteY149" fmla="*/ 5908996 h 8861755"/>
              <a:gd name="connsiteX150" fmla="*/ 871316 w 4772243"/>
              <a:gd name="connsiteY150" fmla="*/ 5893671 h 8861755"/>
              <a:gd name="connsiteX151" fmla="*/ 893955 w 4772243"/>
              <a:gd name="connsiteY151" fmla="*/ 5876732 h 8861755"/>
              <a:gd name="connsiteX152" fmla="*/ 914781 w 4772243"/>
              <a:gd name="connsiteY152" fmla="*/ 5858449 h 8861755"/>
              <a:gd name="connsiteX153" fmla="*/ 934401 w 4772243"/>
              <a:gd name="connsiteY153" fmla="*/ 5839092 h 8861755"/>
              <a:gd name="connsiteX154" fmla="*/ 951907 w 4772243"/>
              <a:gd name="connsiteY154" fmla="*/ 5818121 h 8861755"/>
              <a:gd name="connsiteX155" fmla="*/ 967904 w 4772243"/>
              <a:gd name="connsiteY155" fmla="*/ 5795536 h 8861755"/>
              <a:gd name="connsiteX156" fmla="*/ 982392 w 4772243"/>
              <a:gd name="connsiteY156" fmla="*/ 5771338 h 8861755"/>
              <a:gd name="connsiteX157" fmla="*/ 989033 w 4772243"/>
              <a:gd name="connsiteY157" fmla="*/ 5758433 h 8861755"/>
              <a:gd name="connsiteX158" fmla="*/ 969716 w 4772243"/>
              <a:gd name="connsiteY158" fmla="*/ 5757088 h 8861755"/>
              <a:gd name="connsiteX159" fmla="*/ 955228 w 4772243"/>
              <a:gd name="connsiteY159" fmla="*/ 5756282 h 8861755"/>
              <a:gd name="connsiteX160" fmla="*/ 952813 w 4772243"/>
              <a:gd name="connsiteY160" fmla="*/ 5753056 h 8861755"/>
              <a:gd name="connsiteX161" fmla="*/ 951605 w 4772243"/>
              <a:gd name="connsiteY161" fmla="*/ 5746871 h 8861755"/>
              <a:gd name="connsiteX162" fmla="*/ 953115 w 4772243"/>
              <a:gd name="connsiteY162" fmla="*/ 5743914 h 8861755"/>
              <a:gd name="connsiteX163" fmla="*/ 955228 w 4772243"/>
              <a:gd name="connsiteY163" fmla="*/ 5743107 h 8861755"/>
              <a:gd name="connsiteX164" fmla="*/ 960962 w 4772243"/>
              <a:gd name="connsiteY164" fmla="*/ 5741764 h 8861755"/>
              <a:gd name="connsiteX165" fmla="*/ 974545 w 4772243"/>
              <a:gd name="connsiteY165" fmla="*/ 5741495 h 8861755"/>
              <a:gd name="connsiteX166" fmla="*/ 989636 w 4772243"/>
              <a:gd name="connsiteY166" fmla="*/ 5741495 h 8861755"/>
              <a:gd name="connsiteX167" fmla="*/ 1006237 w 4772243"/>
              <a:gd name="connsiteY167" fmla="*/ 5737192 h 8861755"/>
              <a:gd name="connsiteX168" fmla="*/ 1014991 w 4772243"/>
              <a:gd name="connsiteY168" fmla="*/ 5732354 h 8861755"/>
              <a:gd name="connsiteX169" fmla="*/ 1024650 w 4772243"/>
              <a:gd name="connsiteY169" fmla="*/ 5726438 h 8861755"/>
              <a:gd name="connsiteX170" fmla="*/ 1045174 w 4772243"/>
              <a:gd name="connsiteY170" fmla="*/ 5716759 h 8861755"/>
              <a:gd name="connsiteX171" fmla="*/ 1076263 w 4772243"/>
              <a:gd name="connsiteY171" fmla="*/ 5704929 h 8861755"/>
              <a:gd name="connsiteX172" fmla="*/ 1120633 w 4772243"/>
              <a:gd name="connsiteY172" fmla="*/ 5694713 h 8861755"/>
              <a:gd name="connsiteX173" fmla="*/ 1166512 w 4772243"/>
              <a:gd name="connsiteY173" fmla="*/ 5687723 h 8861755"/>
              <a:gd name="connsiteX174" fmla="*/ 1189753 w 4772243"/>
              <a:gd name="connsiteY174" fmla="*/ 5685033 h 8861755"/>
              <a:gd name="connsiteX175" fmla="*/ 1220238 w 4772243"/>
              <a:gd name="connsiteY175" fmla="*/ 5680731 h 8861755"/>
              <a:gd name="connsiteX176" fmla="*/ 1281511 w 4772243"/>
              <a:gd name="connsiteY176" fmla="*/ 5670784 h 8861755"/>
              <a:gd name="connsiteX177" fmla="*/ 1341878 w 4772243"/>
              <a:gd name="connsiteY177" fmla="*/ 5658147 h 8861755"/>
              <a:gd name="connsiteX178" fmla="*/ 1401038 w 4772243"/>
              <a:gd name="connsiteY178" fmla="*/ 5642822 h 8861755"/>
              <a:gd name="connsiteX179" fmla="*/ 1429712 w 4772243"/>
              <a:gd name="connsiteY179" fmla="*/ 5634219 h 8861755"/>
              <a:gd name="connsiteX180" fmla="*/ 1455367 w 4772243"/>
              <a:gd name="connsiteY180" fmla="*/ 5626153 h 8861755"/>
              <a:gd name="connsiteX181" fmla="*/ 1506982 w 4772243"/>
              <a:gd name="connsiteY181" fmla="*/ 5613516 h 8861755"/>
              <a:gd name="connsiteX182" fmla="*/ 1545918 w 4772243"/>
              <a:gd name="connsiteY182" fmla="*/ 5608408 h 8861755"/>
              <a:gd name="connsiteX183" fmla="*/ 1572480 w 4772243"/>
              <a:gd name="connsiteY183" fmla="*/ 5607601 h 8861755"/>
              <a:gd name="connsiteX184" fmla="*/ 1599343 w 4772243"/>
              <a:gd name="connsiteY184" fmla="*/ 5608946 h 8861755"/>
              <a:gd name="connsiteX185" fmla="*/ 1626810 w 4772243"/>
              <a:gd name="connsiteY185" fmla="*/ 5613247 h 8861755"/>
              <a:gd name="connsiteX186" fmla="*/ 1640997 w 4772243"/>
              <a:gd name="connsiteY186" fmla="*/ 5616742 h 8861755"/>
              <a:gd name="connsiteX187" fmla="*/ 1669067 w 4772243"/>
              <a:gd name="connsiteY187" fmla="*/ 5623732 h 8861755"/>
              <a:gd name="connsiteX188" fmla="*/ 1724907 w 4772243"/>
              <a:gd name="connsiteY188" fmla="*/ 5634487 h 8861755"/>
              <a:gd name="connsiteX189" fmla="*/ 1781048 w 4772243"/>
              <a:gd name="connsiteY189" fmla="*/ 5641746 h 8861755"/>
              <a:gd name="connsiteX190" fmla="*/ 1836585 w 4772243"/>
              <a:gd name="connsiteY190" fmla="*/ 5645510 h 8861755"/>
              <a:gd name="connsiteX191" fmla="*/ 1892424 w 4772243"/>
              <a:gd name="connsiteY191" fmla="*/ 5647124 h 8861755"/>
              <a:gd name="connsiteX192" fmla="*/ 1947963 w 4772243"/>
              <a:gd name="connsiteY192" fmla="*/ 5646048 h 8861755"/>
              <a:gd name="connsiteX193" fmla="*/ 2284447 w 4772243"/>
              <a:gd name="connsiteY193" fmla="*/ 8396878 h 8861755"/>
              <a:gd name="connsiteX194" fmla="*/ 2280520 w 4772243"/>
              <a:gd name="connsiteY194" fmla="*/ 8396072 h 8861755"/>
              <a:gd name="connsiteX195" fmla="*/ 2262397 w 4772243"/>
              <a:gd name="connsiteY195" fmla="*/ 8392036 h 8861755"/>
              <a:gd name="connsiteX196" fmla="*/ 2218601 w 4772243"/>
              <a:gd name="connsiteY196" fmla="*/ 8375625 h 8861755"/>
              <a:gd name="connsiteX197" fmla="*/ 2167254 w 4772243"/>
              <a:gd name="connsiteY197" fmla="*/ 8352220 h 8861755"/>
              <a:gd name="connsiteX198" fmla="*/ 2112583 w 4772243"/>
              <a:gd name="connsiteY198" fmla="*/ 8324241 h 8861755"/>
              <a:gd name="connsiteX199" fmla="*/ 2029822 w 4772243"/>
              <a:gd name="connsiteY199" fmla="*/ 8278237 h 8861755"/>
              <a:gd name="connsiteX200" fmla="*/ 1937094 w 4772243"/>
              <a:gd name="connsiteY200" fmla="*/ 8223088 h 8861755"/>
              <a:gd name="connsiteX201" fmla="*/ 1908098 w 4772243"/>
              <a:gd name="connsiteY201" fmla="*/ 8205332 h 8861755"/>
              <a:gd name="connsiteX202" fmla="*/ 1897224 w 4772243"/>
              <a:gd name="connsiteY202" fmla="*/ 8245417 h 8861755"/>
              <a:gd name="connsiteX203" fmla="*/ 1888465 w 4772243"/>
              <a:gd name="connsiteY203" fmla="*/ 8278507 h 8861755"/>
              <a:gd name="connsiteX204" fmla="*/ 1874571 w 4772243"/>
              <a:gd name="connsiteY204" fmla="*/ 8274471 h 8861755"/>
              <a:gd name="connsiteX205" fmla="*/ 1861593 w 4772243"/>
              <a:gd name="connsiteY205" fmla="*/ 8270953 h 8861755"/>
              <a:gd name="connsiteX206" fmla="*/ 1867020 w 4772243"/>
              <a:gd name="connsiteY206" fmla="*/ 8259675 h 8861755"/>
              <a:gd name="connsiteX207" fmla="*/ 1873363 w 4772243"/>
              <a:gd name="connsiteY207" fmla="*/ 8237883 h 8861755"/>
              <a:gd name="connsiteX208" fmla="*/ 1874873 w 4772243"/>
              <a:gd name="connsiteY208" fmla="*/ 8217169 h 8861755"/>
              <a:gd name="connsiteX209" fmla="*/ 1871248 w 4772243"/>
              <a:gd name="connsiteY209" fmla="*/ 8198068 h 8861755"/>
              <a:gd name="connsiteX210" fmla="*/ 1863093 w 4772243"/>
              <a:gd name="connsiteY210" fmla="*/ 8180043 h 8861755"/>
              <a:gd name="connsiteX211" fmla="*/ 1850407 w 4772243"/>
              <a:gd name="connsiteY211" fmla="*/ 8163095 h 8861755"/>
              <a:gd name="connsiteX212" fmla="*/ 1834097 w 4772243"/>
              <a:gd name="connsiteY212" fmla="*/ 8147222 h 8861755"/>
              <a:gd name="connsiteX213" fmla="*/ 1813256 w 4772243"/>
              <a:gd name="connsiteY213" fmla="*/ 8132425 h 8861755"/>
              <a:gd name="connsiteX214" fmla="*/ 1801476 w 4772243"/>
              <a:gd name="connsiteY214" fmla="*/ 8125161 h 8861755"/>
              <a:gd name="connsiteX215" fmla="*/ 1776104 w 4772243"/>
              <a:gd name="connsiteY215" fmla="*/ 8108213 h 8861755"/>
              <a:gd name="connsiteX216" fmla="*/ 1752243 w 4772243"/>
              <a:gd name="connsiteY216" fmla="*/ 8088843 h 8861755"/>
              <a:gd name="connsiteX217" fmla="*/ 1736234 w 4772243"/>
              <a:gd name="connsiteY217" fmla="*/ 8076468 h 8861755"/>
              <a:gd name="connsiteX218" fmla="*/ 1706030 w 4772243"/>
              <a:gd name="connsiteY218" fmla="*/ 8050103 h 8861755"/>
              <a:gd name="connsiteX219" fmla="*/ 1679449 w 4772243"/>
              <a:gd name="connsiteY219" fmla="*/ 8022663 h 8861755"/>
              <a:gd name="connsiteX220" fmla="*/ 1655890 w 4772243"/>
              <a:gd name="connsiteY220" fmla="*/ 7993609 h 8861755"/>
              <a:gd name="connsiteX221" fmla="*/ 1635653 w 4772243"/>
              <a:gd name="connsiteY221" fmla="*/ 7963477 h 8861755"/>
              <a:gd name="connsiteX222" fmla="*/ 1618738 w 4772243"/>
              <a:gd name="connsiteY222" fmla="*/ 7931732 h 8861755"/>
              <a:gd name="connsiteX223" fmla="*/ 1605147 w 4772243"/>
              <a:gd name="connsiteY223" fmla="*/ 7898642 h 8861755"/>
              <a:gd name="connsiteX224" fmla="*/ 1594877 w 4772243"/>
              <a:gd name="connsiteY224" fmla="*/ 7863937 h 8861755"/>
              <a:gd name="connsiteX225" fmla="*/ 1590950 w 4772243"/>
              <a:gd name="connsiteY225" fmla="*/ 7846183 h 8861755"/>
              <a:gd name="connsiteX226" fmla="*/ 1587024 w 4772243"/>
              <a:gd name="connsiteY226" fmla="*/ 7833000 h 8861755"/>
              <a:gd name="connsiteX227" fmla="*/ 1581285 w 4772243"/>
              <a:gd name="connsiteY227" fmla="*/ 7820356 h 8861755"/>
              <a:gd name="connsiteX228" fmla="*/ 1581889 w 4772243"/>
              <a:gd name="connsiteY228" fmla="*/ 7868781 h 8861755"/>
              <a:gd name="connsiteX229" fmla="*/ 1578566 w 4772243"/>
              <a:gd name="connsiteY229" fmla="*/ 7962133 h 8861755"/>
              <a:gd name="connsiteX230" fmla="*/ 1569505 w 4772243"/>
              <a:gd name="connsiteY230" fmla="*/ 8049835 h 8861755"/>
              <a:gd name="connsiteX231" fmla="*/ 1555007 w 4772243"/>
              <a:gd name="connsiteY231" fmla="*/ 8131081 h 8861755"/>
              <a:gd name="connsiteX232" fmla="*/ 1535072 w 4772243"/>
              <a:gd name="connsiteY232" fmla="*/ 8205870 h 8861755"/>
              <a:gd name="connsiteX233" fmla="*/ 1516345 w 4772243"/>
              <a:gd name="connsiteY233" fmla="*/ 8256715 h 8861755"/>
              <a:gd name="connsiteX234" fmla="*/ 1502149 w 4772243"/>
              <a:gd name="connsiteY234" fmla="*/ 8288461 h 8861755"/>
              <a:gd name="connsiteX235" fmla="*/ 1486744 w 4772243"/>
              <a:gd name="connsiteY235" fmla="*/ 8317785 h 8861755"/>
              <a:gd name="connsiteX236" fmla="*/ 1470132 w 4772243"/>
              <a:gd name="connsiteY236" fmla="*/ 8345225 h 8861755"/>
              <a:gd name="connsiteX237" fmla="*/ 1452009 w 4772243"/>
              <a:gd name="connsiteY237" fmla="*/ 8369975 h 8861755"/>
              <a:gd name="connsiteX238" fmla="*/ 1432679 w 4772243"/>
              <a:gd name="connsiteY238" fmla="*/ 8393112 h 8861755"/>
              <a:gd name="connsiteX239" fmla="*/ 1422711 w 4772243"/>
              <a:gd name="connsiteY239" fmla="*/ 8403066 h 8861755"/>
              <a:gd name="connsiteX240" fmla="*/ 1471642 w 4772243"/>
              <a:gd name="connsiteY240" fmla="*/ 8297070 h 8861755"/>
              <a:gd name="connsiteX241" fmla="*/ 1516949 w 4772243"/>
              <a:gd name="connsiteY241" fmla="*/ 8198875 h 8861755"/>
              <a:gd name="connsiteX242" fmla="*/ 1511210 w 4772243"/>
              <a:gd name="connsiteY242" fmla="*/ 8196723 h 8861755"/>
              <a:gd name="connsiteX243" fmla="*/ 1505170 w 4772243"/>
              <a:gd name="connsiteY243" fmla="*/ 8194571 h 8861755"/>
              <a:gd name="connsiteX244" fmla="*/ 1488557 w 4772243"/>
              <a:gd name="connsiteY244" fmla="*/ 8214479 h 8861755"/>
              <a:gd name="connsiteX245" fmla="*/ 1471038 w 4772243"/>
              <a:gd name="connsiteY245" fmla="*/ 8233849 h 8861755"/>
              <a:gd name="connsiteX246" fmla="*/ 1452311 w 4772243"/>
              <a:gd name="connsiteY246" fmla="*/ 8252681 h 8861755"/>
              <a:gd name="connsiteX247" fmla="*/ 1428450 w 4772243"/>
              <a:gd name="connsiteY247" fmla="*/ 8276086 h 8861755"/>
              <a:gd name="connsiteX248" fmla="*/ 1428148 w 4772243"/>
              <a:gd name="connsiteY248" fmla="*/ 8264787 h 8861755"/>
              <a:gd name="connsiteX249" fmla="*/ 1428450 w 4772243"/>
              <a:gd name="connsiteY249" fmla="*/ 8262903 h 8861755"/>
              <a:gd name="connsiteX250" fmla="*/ 1437209 w 4772243"/>
              <a:gd name="connsiteY250" fmla="*/ 8250259 h 8861755"/>
              <a:gd name="connsiteX251" fmla="*/ 1447176 w 4772243"/>
              <a:gd name="connsiteY251" fmla="*/ 8238422 h 8861755"/>
              <a:gd name="connsiteX252" fmla="*/ 1460769 w 4772243"/>
              <a:gd name="connsiteY252" fmla="*/ 8224163 h 8861755"/>
              <a:gd name="connsiteX253" fmla="*/ 1484027 w 4772243"/>
              <a:gd name="connsiteY253" fmla="*/ 8195379 h 8861755"/>
              <a:gd name="connsiteX254" fmla="*/ 1503357 w 4772243"/>
              <a:gd name="connsiteY254" fmla="*/ 8164978 h 8861755"/>
              <a:gd name="connsiteX255" fmla="*/ 1519064 w 4772243"/>
              <a:gd name="connsiteY255" fmla="*/ 8134309 h 8861755"/>
              <a:gd name="connsiteX256" fmla="*/ 1530239 w 4772243"/>
              <a:gd name="connsiteY256" fmla="*/ 8102295 h 8861755"/>
              <a:gd name="connsiteX257" fmla="*/ 1538092 w 4772243"/>
              <a:gd name="connsiteY257" fmla="*/ 8069473 h 8861755"/>
              <a:gd name="connsiteX258" fmla="*/ 1542019 w 4772243"/>
              <a:gd name="connsiteY258" fmla="*/ 8035845 h 8861755"/>
              <a:gd name="connsiteX259" fmla="*/ 1542019 w 4772243"/>
              <a:gd name="connsiteY259" fmla="*/ 8001411 h 8861755"/>
              <a:gd name="connsiteX260" fmla="*/ 1540811 w 4772243"/>
              <a:gd name="connsiteY260" fmla="*/ 7983655 h 8861755"/>
              <a:gd name="connsiteX261" fmla="*/ 1538394 w 4772243"/>
              <a:gd name="connsiteY261" fmla="*/ 7958905 h 8861755"/>
              <a:gd name="connsiteX262" fmla="*/ 1538146 w 4772243"/>
              <a:gd name="connsiteY262" fmla="*/ 7955221 h 8861755"/>
              <a:gd name="connsiteX263" fmla="*/ 1521454 w 4772243"/>
              <a:gd name="connsiteY263" fmla="*/ 7956991 h 8861755"/>
              <a:gd name="connsiteX264" fmla="*/ 1496090 w 4772243"/>
              <a:gd name="connsiteY264" fmla="*/ 7962905 h 8861755"/>
              <a:gd name="connsiteX265" fmla="*/ 1471027 w 4772243"/>
              <a:gd name="connsiteY265" fmla="*/ 7971777 h 8861755"/>
              <a:gd name="connsiteX266" fmla="*/ 1447172 w 4772243"/>
              <a:gd name="connsiteY266" fmla="*/ 7982530 h 8861755"/>
              <a:gd name="connsiteX267" fmla="*/ 1425129 w 4772243"/>
              <a:gd name="connsiteY267" fmla="*/ 7994627 h 8861755"/>
              <a:gd name="connsiteX268" fmla="*/ 1406407 w 4772243"/>
              <a:gd name="connsiteY268" fmla="*/ 8007263 h 8861755"/>
              <a:gd name="connsiteX269" fmla="*/ 1391611 w 4772243"/>
              <a:gd name="connsiteY269" fmla="*/ 8019359 h 8861755"/>
              <a:gd name="connsiteX270" fmla="*/ 1386176 w 4772243"/>
              <a:gd name="connsiteY270" fmla="*/ 8025273 h 8861755"/>
              <a:gd name="connsiteX271" fmla="*/ 1369568 w 4772243"/>
              <a:gd name="connsiteY271" fmla="*/ 8044361 h 8861755"/>
              <a:gd name="connsiteX272" fmla="*/ 1339976 w 4772243"/>
              <a:gd name="connsiteY272" fmla="*/ 8084955 h 8861755"/>
              <a:gd name="connsiteX273" fmla="*/ 1299513 w 4772243"/>
              <a:gd name="connsiteY273" fmla="*/ 8147861 h 8861755"/>
              <a:gd name="connsiteX274" fmla="*/ 1272638 w 4772243"/>
              <a:gd name="connsiteY274" fmla="*/ 8189799 h 8861755"/>
              <a:gd name="connsiteX275" fmla="*/ 1266599 w 4772243"/>
              <a:gd name="connsiteY275" fmla="*/ 8197058 h 8861755"/>
              <a:gd name="connsiteX276" fmla="*/ 1260560 w 4772243"/>
              <a:gd name="connsiteY276" fmla="*/ 8204316 h 8861755"/>
              <a:gd name="connsiteX277" fmla="*/ 1253917 w 4772243"/>
              <a:gd name="connsiteY277" fmla="*/ 8201627 h 8861755"/>
              <a:gd name="connsiteX278" fmla="*/ 1247274 w 4772243"/>
              <a:gd name="connsiteY278" fmla="*/ 8199209 h 8861755"/>
              <a:gd name="connsiteX279" fmla="*/ 1279282 w 4772243"/>
              <a:gd name="connsiteY279" fmla="*/ 8139528 h 8861755"/>
              <a:gd name="connsiteX280" fmla="*/ 1308572 w 4772243"/>
              <a:gd name="connsiteY280" fmla="*/ 8084955 h 8861755"/>
              <a:gd name="connsiteX281" fmla="*/ 1217681 w 4772243"/>
              <a:gd name="connsiteY281" fmla="*/ 8126085 h 8861755"/>
              <a:gd name="connsiteX282" fmla="*/ 1121960 w 4772243"/>
              <a:gd name="connsiteY282" fmla="*/ 8167755 h 8861755"/>
              <a:gd name="connsiteX283" fmla="*/ 1107164 w 4772243"/>
              <a:gd name="connsiteY283" fmla="*/ 8174475 h 8861755"/>
              <a:gd name="connsiteX284" fmla="*/ 1079987 w 4772243"/>
              <a:gd name="connsiteY284" fmla="*/ 8188724 h 8861755"/>
              <a:gd name="connsiteX285" fmla="*/ 1056132 w 4772243"/>
              <a:gd name="connsiteY285" fmla="*/ 8205123 h 8861755"/>
              <a:gd name="connsiteX286" fmla="*/ 1035297 w 4772243"/>
              <a:gd name="connsiteY286" fmla="*/ 8222865 h 8861755"/>
              <a:gd name="connsiteX287" fmla="*/ 1017783 w 4772243"/>
              <a:gd name="connsiteY287" fmla="*/ 8242759 h 8861755"/>
              <a:gd name="connsiteX288" fmla="*/ 1002987 w 4772243"/>
              <a:gd name="connsiteY288" fmla="*/ 8263997 h 8861755"/>
              <a:gd name="connsiteX289" fmla="*/ 990909 w 4772243"/>
              <a:gd name="connsiteY289" fmla="*/ 8286849 h 8861755"/>
              <a:gd name="connsiteX290" fmla="*/ 981850 w 4772243"/>
              <a:gd name="connsiteY290" fmla="*/ 8312117 h 8861755"/>
              <a:gd name="connsiteX291" fmla="*/ 978226 w 4772243"/>
              <a:gd name="connsiteY291" fmla="*/ 8325021 h 8861755"/>
              <a:gd name="connsiteX292" fmla="*/ 963732 w 4772243"/>
              <a:gd name="connsiteY292" fmla="*/ 8371529 h 8861755"/>
              <a:gd name="connsiteX293" fmla="*/ 938368 w 4772243"/>
              <a:gd name="connsiteY293" fmla="*/ 8448953 h 8861755"/>
              <a:gd name="connsiteX294" fmla="*/ 915720 w 4772243"/>
              <a:gd name="connsiteY294" fmla="*/ 8510247 h 8861755"/>
              <a:gd name="connsiteX295" fmla="*/ 895791 w 4772243"/>
              <a:gd name="connsiteY295" fmla="*/ 8557293 h 8861755"/>
              <a:gd name="connsiteX296" fmla="*/ 877371 w 4772243"/>
              <a:gd name="connsiteY296" fmla="*/ 8593048 h 8861755"/>
              <a:gd name="connsiteX297" fmla="*/ 859555 w 4772243"/>
              <a:gd name="connsiteY297" fmla="*/ 8619393 h 8861755"/>
              <a:gd name="connsiteX298" fmla="*/ 841740 w 4772243"/>
              <a:gd name="connsiteY298" fmla="*/ 8639286 h 8861755"/>
              <a:gd name="connsiteX299" fmla="*/ 822415 w 4772243"/>
              <a:gd name="connsiteY299" fmla="*/ 8654610 h 8861755"/>
              <a:gd name="connsiteX300" fmla="*/ 812450 w 4772243"/>
              <a:gd name="connsiteY300" fmla="*/ 8661600 h 8861755"/>
              <a:gd name="connsiteX301" fmla="*/ 822415 w 4772243"/>
              <a:gd name="connsiteY301" fmla="*/ 8648965 h 8861755"/>
              <a:gd name="connsiteX302" fmla="*/ 845665 w 4772243"/>
              <a:gd name="connsiteY302" fmla="*/ 8610254 h 8861755"/>
              <a:gd name="connsiteX303" fmla="*/ 871030 w 4772243"/>
              <a:gd name="connsiteY303" fmla="*/ 8559443 h 8861755"/>
              <a:gd name="connsiteX304" fmla="*/ 896697 w 4772243"/>
              <a:gd name="connsiteY304" fmla="*/ 8500839 h 8861755"/>
              <a:gd name="connsiteX305" fmla="*/ 921156 w 4772243"/>
              <a:gd name="connsiteY305" fmla="*/ 8439276 h 8861755"/>
              <a:gd name="connsiteX306" fmla="*/ 942897 w 4772243"/>
              <a:gd name="connsiteY306" fmla="*/ 8379057 h 8861755"/>
              <a:gd name="connsiteX307" fmla="*/ 959505 w 4772243"/>
              <a:gd name="connsiteY307" fmla="*/ 8325021 h 8861755"/>
              <a:gd name="connsiteX308" fmla="*/ 970074 w 4772243"/>
              <a:gd name="connsiteY308" fmla="*/ 8281471 h 8861755"/>
              <a:gd name="connsiteX309" fmla="*/ 971583 w 4772243"/>
              <a:gd name="connsiteY309" fmla="*/ 8265609 h 8861755"/>
              <a:gd name="connsiteX310" fmla="*/ 961014 w 4772243"/>
              <a:gd name="connsiteY310" fmla="*/ 8270717 h 8861755"/>
              <a:gd name="connsiteX311" fmla="*/ 902736 w 4772243"/>
              <a:gd name="connsiteY311" fmla="*/ 8301903 h 8861755"/>
              <a:gd name="connsiteX312" fmla="*/ 793124 w 4772243"/>
              <a:gd name="connsiteY312" fmla="*/ 8362927 h 8861755"/>
              <a:gd name="connsiteX313" fmla="*/ 764136 w 4772243"/>
              <a:gd name="connsiteY313" fmla="*/ 8377983 h 8861755"/>
              <a:gd name="connsiteX314" fmla="*/ 760211 w 4772243"/>
              <a:gd name="connsiteY314" fmla="*/ 8375561 h 8861755"/>
              <a:gd name="connsiteX315" fmla="*/ 757191 w 4772243"/>
              <a:gd name="connsiteY315" fmla="*/ 8370186 h 8861755"/>
              <a:gd name="connsiteX316" fmla="*/ 757191 w 4772243"/>
              <a:gd name="connsiteY316" fmla="*/ 8367229 h 8861755"/>
              <a:gd name="connsiteX317" fmla="*/ 758398 w 4772243"/>
              <a:gd name="connsiteY317" fmla="*/ 8365615 h 8861755"/>
              <a:gd name="connsiteX318" fmla="*/ 765042 w 4772243"/>
              <a:gd name="connsiteY318" fmla="*/ 8360239 h 8861755"/>
              <a:gd name="connsiteX319" fmla="*/ 796747 w 4772243"/>
              <a:gd name="connsiteY319" fmla="*/ 8334969 h 8861755"/>
              <a:gd name="connsiteX320" fmla="*/ 836607 w 4772243"/>
              <a:gd name="connsiteY320" fmla="*/ 8307817 h 8861755"/>
              <a:gd name="connsiteX321" fmla="*/ 870728 w 4772243"/>
              <a:gd name="connsiteY321" fmla="*/ 8287655 h 8861755"/>
              <a:gd name="connsiteX322" fmla="*/ 911191 w 4772243"/>
              <a:gd name="connsiteY322" fmla="*/ 8266147 h 8861755"/>
              <a:gd name="connsiteX323" fmla="*/ 959505 w 4772243"/>
              <a:gd name="connsiteY323" fmla="*/ 8244103 h 8861755"/>
              <a:gd name="connsiteX324" fmla="*/ 986379 w 4772243"/>
              <a:gd name="connsiteY324" fmla="*/ 8233081 h 8861755"/>
              <a:gd name="connsiteX325" fmla="*/ 993626 w 4772243"/>
              <a:gd name="connsiteY325" fmla="*/ 8224209 h 8861755"/>
              <a:gd name="connsiteX326" fmla="*/ 1009027 w 4772243"/>
              <a:gd name="connsiteY326" fmla="*/ 8208349 h 8861755"/>
              <a:gd name="connsiteX327" fmla="*/ 1034995 w 4772243"/>
              <a:gd name="connsiteY327" fmla="*/ 8187111 h 8861755"/>
              <a:gd name="connsiteX328" fmla="*/ 1073646 w 4772243"/>
              <a:gd name="connsiteY328" fmla="*/ 8162647 h 8861755"/>
              <a:gd name="connsiteX329" fmla="*/ 1115618 w 4772243"/>
              <a:gd name="connsiteY329" fmla="*/ 8140871 h 8861755"/>
              <a:gd name="connsiteX330" fmla="*/ 1137662 w 4772243"/>
              <a:gd name="connsiteY330" fmla="*/ 8130118 h 8861755"/>
              <a:gd name="connsiteX331" fmla="*/ 1165442 w 4772243"/>
              <a:gd name="connsiteY331" fmla="*/ 8115870 h 8861755"/>
              <a:gd name="connsiteX332" fmla="*/ 1221003 w 4772243"/>
              <a:gd name="connsiteY332" fmla="*/ 8086030 h 8861755"/>
              <a:gd name="connsiteX333" fmla="*/ 1274450 w 4772243"/>
              <a:gd name="connsiteY333" fmla="*/ 8054308 h 8861755"/>
              <a:gd name="connsiteX334" fmla="*/ 1325783 w 4772243"/>
              <a:gd name="connsiteY334" fmla="*/ 8020435 h 8861755"/>
              <a:gd name="connsiteX335" fmla="*/ 1350544 w 4772243"/>
              <a:gd name="connsiteY335" fmla="*/ 8002423 h 8861755"/>
              <a:gd name="connsiteX336" fmla="*/ 1372286 w 4772243"/>
              <a:gd name="connsiteY336" fmla="*/ 7986293 h 8861755"/>
              <a:gd name="connsiteX337" fmla="*/ 1417278 w 4772243"/>
              <a:gd name="connsiteY337" fmla="*/ 7957259 h 8861755"/>
              <a:gd name="connsiteX338" fmla="*/ 1452909 w 4772243"/>
              <a:gd name="connsiteY338" fmla="*/ 7939516 h 8861755"/>
              <a:gd name="connsiteX339" fmla="*/ 1478576 w 4772243"/>
              <a:gd name="connsiteY339" fmla="*/ 7929569 h 8861755"/>
              <a:gd name="connsiteX340" fmla="*/ 1505450 w 4772243"/>
              <a:gd name="connsiteY340" fmla="*/ 7921774 h 8861755"/>
              <a:gd name="connsiteX341" fmla="*/ 1534137 w 4772243"/>
              <a:gd name="connsiteY341" fmla="*/ 7916665 h 8861755"/>
              <a:gd name="connsiteX342" fmla="*/ 1535531 w 4772243"/>
              <a:gd name="connsiteY342" fmla="*/ 7916488 h 8861755"/>
              <a:gd name="connsiteX343" fmla="*/ 1535072 w 4772243"/>
              <a:gd name="connsiteY343" fmla="*/ 7909673 h 8861755"/>
              <a:gd name="connsiteX344" fmla="*/ 1535374 w 4772243"/>
              <a:gd name="connsiteY344" fmla="*/ 7884921 h 8861755"/>
              <a:gd name="connsiteX345" fmla="*/ 1537488 w 4772243"/>
              <a:gd name="connsiteY345" fmla="*/ 7811747 h 8861755"/>
              <a:gd name="connsiteX346" fmla="*/ 1540811 w 4772243"/>
              <a:gd name="connsiteY346" fmla="*/ 7702253 h 8861755"/>
              <a:gd name="connsiteX347" fmla="*/ 1546248 w 4772243"/>
              <a:gd name="connsiteY347" fmla="*/ 7629347 h 8861755"/>
              <a:gd name="connsiteX348" fmla="*/ 1551080 w 4772243"/>
              <a:gd name="connsiteY348" fmla="*/ 7593297 h 8861755"/>
              <a:gd name="connsiteX349" fmla="*/ 1556215 w 4772243"/>
              <a:gd name="connsiteY349" fmla="*/ 7562629 h 8861755"/>
              <a:gd name="connsiteX350" fmla="*/ 1570713 w 4772243"/>
              <a:gd name="connsiteY350" fmla="*/ 7501291 h 8861755"/>
              <a:gd name="connsiteX351" fmla="*/ 1597897 w 4772243"/>
              <a:gd name="connsiteY351" fmla="*/ 7410359 h 8861755"/>
              <a:gd name="connsiteX352" fmla="*/ 1616020 w 4772243"/>
              <a:gd name="connsiteY352" fmla="*/ 7349829 h 8861755"/>
              <a:gd name="connsiteX353" fmla="*/ 1600918 w 4772243"/>
              <a:gd name="connsiteY353" fmla="*/ 7358707 h 8861755"/>
              <a:gd name="connsiteX354" fmla="*/ 1570713 w 4772243"/>
              <a:gd name="connsiteY354" fmla="*/ 7377807 h 8861755"/>
              <a:gd name="connsiteX355" fmla="*/ 1542925 w 4772243"/>
              <a:gd name="connsiteY355" fmla="*/ 7398791 h 8861755"/>
              <a:gd name="connsiteX356" fmla="*/ 1525709 w 4772243"/>
              <a:gd name="connsiteY356" fmla="*/ 7416009 h 8861755"/>
              <a:gd name="connsiteX357" fmla="*/ 1516345 w 4772243"/>
              <a:gd name="connsiteY357" fmla="*/ 7428385 h 8861755"/>
              <a:gd name="connsiteX358" fmla="*/ 1512418 w 4772243"/>
              <a:gd name="connsiteY358" fmla="*/ 7434841 h 8861755"/>
              <a:gd name="connsiteX359" fmla="*/ 1483724 w 4772243"/>
              <a:gd name="connsiteY359" fmla="*/ 7485687 h 8861755"/>
              <a:gd name="connsiteX360" fmla="*/ 1428148 w 4772243"/>
              <a:gd name="connsiteY360" fmla="*/ 7576079 h 8861755"/>
              <a:gd name="connsiteX361" fmla="*/ 1385559 w 4772243"/>
              <a:gd name="connsiteY361" fmla="*/ 7639839 h 8861755"/>
              <a:gd name="connsiteX362" fmla="*/ 1339346 w 4772243"/>
              <a:gd name="connsiteY362" fmla="*/ 7703329 h 8861755"/>
              <a:gd name="connsiteX363" fmla="*/ 1289811 w 4772243"/>
              <a:gd name="connsiteY363" fmla="*/ 7764667 h 8861755"/>
              <a:gd name="connsiteX364" fmla="*/ 1237859 w 4772243"/>
              <a:gd name="connsiteY364" fmla="*/ 7820894 h 8861755"/>
              <a:gd name="connsiteX365" fmla="*/ 1198291 w 4772243"/>
              <a:gd name="connsiteY365" fmla="*/ 7857750 h 8861755"/>
              <a:gd name="connsiteX366" fmla="*/ 1171409 w 4772243"/>
              <a:gd name="connsiteY366" fmla="*/ 7879809 h 8861755"/>
              <a:gd name="connsiteX367" fmla="*/ 1158119 w 4772243"/>
              <a:gd name="connsiteY367" fmla="*/ 7889765 h 8861755"/>
              <a:gd name="connsiteX368" fmla="*/ 1194667 w 4772243"/>
              <a:gd name="connsiteY368" fmla="*/ 7844837 h 8861755"/>
              <a:gd name="connsiteX369" fmla="*/ 1319411 w 4772243"/>
              <a:gd name="connsiteY369" fmla="*/ 7685573 h 8861755"/>
              <a:gd name="connsiteX370" fmla="*/ 1368343 w 4772243"/>
              <a:gd name="connsiteY370" fmla="*/ 7618587 h 8861755"/>
              <a:gd name="connsiteX371" fmla="*/ 1410629 w 4772243"/>
              <a:gd name="connsiteY371" fmla="*/ 7556173 h 8861755"/>
              <a:gd name="connsiteX372" fmla="*/ 1434793 w 4772243"/>
              <a:gd name="connsiteY372" fmla="*/ 7516087 h 8861755"/>
              <a:gd name="connsiteX373" fmla="*/ 1446270 w 4772243"/>
              <a:gd name="connsiteY373" fmla="*/ 7493489 h 8861755"/>
              <a:gd name="connsiteX374" fmla="*/ 1450197 w 4772243"/>
              <a:gd name="connsiteY374" fmla="*/ 7483535 h 8861755"/>
              <a:gd name="connsiteX375" fmla="*/ 1458957 w 4772243"/>
              <a:gd name="connsiteY375" fmla="*/ 7461743 h 8861755"/>
              <a:gd name="connsiteX376" fmla="*/ 1482516 w 4772243"/>
              <a:gd name="connsiteY376" fmla="*/ 7420852 h 8861755"/>
              <a:gd name="connsiteX377" fmla="*/ 1512720 w 4772243"/>
              <a:gd name="connsiteY377" fmla="*/ 7383996 h 8861755"/>
              <a:gd name="connsiteX378" fmla="*/ 1548966 w 4772243"/>
              <a:gd name="connsiteY378" fmla="*/ 7349291 h 8861755"/>
              <a:gd name="connsiteX379" fmla="*/ 1569807 w 4772243"/>
              <a:gd name="connsiteY379" fmla="*/ 7332881 h 8861755"/>
              <a:gd name="connsiteX380" fmla="*/ 1588232 w 4772243"/>
              <a:gd name="connsiteY380" fmla="*/ 7318891 h 8861755"/>
              <a:gd name="connsiteX381" fmla="*/ 1623571 w 4772243"/>
              <a:gd name="connsiteY381" fmla="*/ 7289298 h 8861755"/>
              <a:gd name="connsiteX382" fmla="*/ 1656796 w 4772243"/>
              <a:gd name="connsiteY382" fmla="*/ 7258091 h 8861755"/>
              <a:gd name="connsiteX383" fmla="*/ 1686397 w 4772243"/>
              <a:gd name="connsiteY383" fmla="*/ 7224733 h 8861755"/>
              <a:gd name="connsiteX384" fmla="*/ 1700290 w 4772243"/>
              <a:gd name="connsiteY384" fmla="*/ 7207783 h 8861755"/>
              <a:gd name="connsiteX385" fmla="*/ 1719017 w 4772243"/>
              <a:gd name="connsiteY385" fmla="*/ 7182763 h 8861755"/>
              <a:gd name="connsiteX386" fmla="*/ 1759190 w 4772243"/>
              <a:gd name="connsiteY386" fmla="*/ 7134877 h 8861755"/>
              <a:gd name="connsiteX387" fmla="*/ 1803893 w 4772243"/>
              <a:gd name="connsiteY387" fmla="*/ 7090219 h 8861755"/>
              <a:gd name="connsiteX388" fmla="*/ 1841648 w 4772243"/>
              <a:gd name="connsiteY388" fmla="*/ 7059281 h 8861755"/>
              <a:gd name="connsiteX389" fmla="*/ 1868530 w 4772243"/>
              <a:gd name="connsiteY389" fmla="*/ 7040180 h 8861755"/>
              <a:gd name="connsiteX390" fmla="*/ 1883028 w 4772243"/>
              <a:gd name="connsiteY390" fmla="*/ 7031034 h 8861755"/>
              <a:gd name="connsiteX391" fmla="*/ 1892693 w 4772243"/>
              <a:gd name="connsiteY391" fmla="*/ 7025115 h 8861755"/>
              <a:gd name="connsiteX392" fmla="*/ 1909609 w 4772243"/>
              <a:gd name="connsiteY392" fmla="*/ 7012471 h 8861755"/>
              <a:gd name="connsiteX393" fmla="*/ 1924409 w 4772243"/>
              <a:gd name="connsiteY393" fmla="*/ 6999019 h 8861755"/>
              <a:gd name="connsiteX394" fmla="*/ 1937396 w 4772243"/>
              <a:gd name="connsiteY394" fmla="*/ 6984223 h 8861755"/>
              <a:gd name="connsiteX395" fmla="*/ 1947666 w 4772243"/>
              <a:gd name="connsiteY395" fmla="*/ 6968620 h 8861755"/>
              <a:gd name="connsiteX396" fmla="*/ 1955519 w 4772243"/>
              <a:gd name="connsiteY396" fmla="*/ 6952208 h 8861755"/>
              <a:gd name="connsiteX397" fmla="*/ 1960956 w 4772243"/>
              <a:gd name="connsiteY397" fmla="*/ 6934722 h 8861755"/>
              <a:gd name="connsiteX398" fmla="*/ 1963976 w 4772243"/>
              <a:gd name="connsiteY398" fmla="*/ 6916967 h 8861755"/>
              <a:gd name="connsiteX399" fmla="*/ 1964581 w 4772243"/>
              <a:gd name="connsiteY399" fmla="*/ 6907550 h 8861755"/>
              <a:gd name="connsiteX400" fmla="*/ 1965789 w 4772243"/>
              <a:gd name="connsiteY400" fmla="*/ 6835451 h 8861755"/>
              <a:gd name="connsiteX401" fmla="*/ 1965370 w 4772243"/>
              <a:gd name="connsiteY401" fmla="*/ 6785491 h 8861755"/>
              <a:gd name="connsiteX402" fmla="*/ 1961852 w 4772243"/>
              <a:gd name="connsiteY402" fmla="*/ 6786520 h 8861755"/>
              <a:gd name="connsiteX403" fmla="*/ 1852143 w 4772243"/>
              <a:gd name="connsiteY403" fmla="*/ 6824797 h 8861755"/>
              <a:gd name="connsiteX404" fmla="*/ 1779393 w 4772243"/>
              <a:gd name="connsiteY404" fmla="*/ 6851809 h 8861755"/>
              <a:gd name="connsiteX405" fmla="*/ 1759863 w 4772243"/>
              <a:gd name="connsiteY405" fmla="*/ 6859015 h 8861755"/>
              <a:gd name="connsiteX406" fmla="*/ 1721707 w 4772243"/>
              <a:gd name="connsiteY406" fmla="*/ 6871205 h 8861755"/>
              <a:gd name="connsiteX407" fmla="*/ 1682877 w 4772243"/>
              <a:gd name="connsiteY407" fmla="*/ 6881306 h 8861755"/>
              <a:gd name="connsiteX408" fmla="*/ 1644205 w 4772243"/>
              <a:gd name="connsiteY408" fmla="*/ 6889000 h 8861755"/>
              <a:gd name="connsiteX409" fmla="*/ 1605327 w 4772243"/>
              <a:gd name="connsiteY409" fmla="*/ 6894897 h 8861755"/>
              <a:gd name="connsiteX410" fmla="*/ 1566225 w 4772243"/>
              <a:gd name="connsiteY410" fmla="*/ 6897591 h 8861755"/>
              <a:gd name="connsiteX411" fmla="*/ 1526632 w 4772243"/>
              <a:gd name="connsiteY411" fmla="*/ 6897893 h 8861755"/>
              <a:gd name="connsiteX412" fmla="*/ 1486913 w 4772243"/>
              <a:gd name="connsiteY412" fmla="*/ 6895194 h 8861755"/>
              <a:gd name="connsiteX413" fmla="*/ 1466993 w 4772243"/>
              <a:gd name="connsiteY413" fmla="*/ 6892694 h 8861755"/>
              <a:gd name="connsiteX414" fmla="*/ 1458061 w 4772243"/>
              <a:gd name="connsiteY414" fmla="*/ 6891873 h 8861755"/>
              <a:gd name="connsiteX415" fmla="*/ 1448662 w 4772243"/>
              <a:gd name="connsiteY415" fmla="*/ 6893077 h 8861755"/>
              <a:gd name="connsiteX416" fmla="*/ 1440271 w 4772243"/>
              <a:gd name="connsiteY416" fmla="*/ 6903859 h 8861755"/>
              <a:gd name="connsiteX417" fmla="*/ 1426087 w 4772243"/>
              <a:gd name="connsiteY417" fmla="*/ 6918393 h 8861755"/>
              <a:gd name="connsiteX418" fmla="*/ 1403454 w 4772243"/>
              <a:gd name="connsiteY418" fmla="*/ 6938582 h 8861755"/>
              <a:gd name="connsiteX419" fmla="*/ 1344607 w 4772243"/>
              <a:gd name="connsiteY419" fmla="*/ 6986495 h 8861755"/>
              <a:gd name="connsiteX420" fmla="*/ 1299943 w 4772243"/>
              <a:gd name="connsiteY420" fmla="*/ 7025795 h 8861755"/>
              <a:gd name="connsiteX421" fmla="*/ 1274594 w 4772243"/>
              <a:gd name="connsiteY421" fmla="*/ 7052712 h 8861755"/>
              <a:gd name="connsiteX422" fmla="*/ 1255279 w 4772243"/>
              <a:gd name="connsiteY422" fmla="*/ 7079629 h 8861755"/>
              <a:gd name="connsiteX423" fmla="*/ 1246830 w 4772243"/>
              <a:gd name="connsiteY423" fmla="*/ 7099548 h 8861755"/>
              <a:gd name="connsiteX424" fmla="*/ 1243812 w 4772243"/>
              <a:gd name="connsiteY424" fmla="*/ 7112469 h 8861755"/>
              <a:gd name="connsiteX425" fmla="*/ 1243812 w 4772243"/>
              <a:gd name="connsiteY425" fmla="*/ 7118929 h 8861755"/>
              <a:gd name="connsiteX426" fmla="*/ 1244717 w 4772243"/>
              <a:gd name="connsiteY426" fmla="*/ 7195374 h 8861755"/>
              <a:gd name="connsiteX427" fmla="*/ 1244717 w 4772243"/>
              <a:gd name="connsiteY427" fmla="*/ 7264281 h 8861755"/>
              <a:gd name="connsiteX428" fmla="*/ 1242907 w 4772243"/>
              <a:gd name="connsiteY428" fmla="*/ 7261859 h 8861755"/>
              <a:gd name="connsiteX429" fmla="*/ 1227817 w 4772243"/>
              <a:gd name="connsiteY429" fmla="*/ 7243286 h 8861755"/>
              <a:gd name="connsiteX430" fmla="*/ 1218764 w 4772243"/>
              <a:gd name="connsiteY430" fmla="*/ 7270204 h 8861755"/>
              <a:gd name="connsiteX431" fmla="*/ 1210314 w 4772243"/>
              <a:gd name="connsiteY431" fmla="*/ 7309771 h 8861755"/>
              <a:gd name="connsiteX432" fmla="*/ 1207297 w 4772243"/>
              <a:gd name="connsiteY432" fmla="*/ 7335612 h 8861755"/>
              <a:gd name="connsiteX433" fmla="*/ 1206090 w 4772243"/>
              <a:gd name="connsiteY433" fmla="*/ 7361453 h 8861755"/>
              <a:gd name="connsiteX434" fmla="*/ 1206693 w 4772243"/>
              <a:gd name="connsiteY434" fmla="*/ 7387025 h 8861755"/>
              <a:gd name="connsiteX435" fmla="*/ 1210013 w 4772243"/>
              <a:gd name="connsiteY435" fmla="*/ 7412595 h 8861755"/>
              <a:gd name="connsiteX436" fmla="*/ 1215445 w 4772243"/>
              <a:gd name="connsiteY436" fmla="*/ 7437898 h 8861755"/>
              <a:gd name="connsiteX437" fmla="*/ 1218764 w 4772243"/>
              <a:gd name="connsiteY437" fmla="*/ 7450549 h 8861755"/>
              <a:gd name="connsiteX438" fmla="*/ 1211824 w 4772243"/>
              <a:gd name="connsiteY438" fmla="*/ 7437360 h 8861755"/>
              <a:gd name="connsiteX439" fmla="*/ 1200960 w 4772243"/>
              <a:gd name="connsiteY439" fmla="*/ 7409904 h 8861755"/>
              <a:gd name="connsiteX440" fmla="*/ 1192812 w 4772243"/>
              <a:gd name="connsiteY440" fmla="*/ 7383255 h 8861755"/>
              <a:gd name="connsiteX441" fmla="*/ 1186776 w 4772243"/>
              <a:gd name="connsiteY441" fmla="*/ 7356339 h 8861755"/>
              <a:gd name="connsiteX442" fmla="*/ 1182551 w 4772243"/>
              <a:gd name="connsiteY442" fmla="*/ 7315693 h 8861755"/>
              <a:gd name="connsiteX443" fmla="*/ 1183456 w 4772243"/>
              <a:gd name="connsiteY443" fmla="*/ 7262397 h 8861755"/>
              <a:gd name="connsiteX444" fmla="*/ 1190095 w 4772243"/>
              <a:gd name="connsiteY444" fmla="*/ 7209101 h 8861755"/>
              <a:gd name="connsiteX445" fmla="*/ 1199752 w 4772243"/>
              <a:gd name="connsiteY445" fmla="*/ 7156343 h 8861755"/>
              <a:gd name="connsiteX446" fmla="*/ 1210616 w 4772243"/>
              <a:gd name="connsiteY446" fmla="*/ 7104124 h 8861755"/>
              <a:gd name="connsiteX447" fmla="*/ 1220575 w 4772243"/>
              <a:gd name="connsiteY447" fmla="*/ 7052443 h 8861755"/>
              <a:gd name="connsiteX448" fmla="*/ 1224498 w 4772243"/>
              <a:gd name="connsiteY448" fmla="*/ 7026601 h 8861755"/>
              <a:gd name="connsiteX449" fmla="*/ 1147242 w 4772243"/>
              <a:gd name="connsiteY449" fmla="*/ 7059441 h 8861755"/>
              <a:gd name="connsiteX450" fmla="*/ 1111231 w 4772243"/>
              <a:gd name="connsiteY450" fmla="*/ 7075152 h 8861755"/>
              <a:gd name="connsiteX451" fmla="*/ 1105713 w 4772243"/>
              <a:gd name="connsiteY451" fmla="*/ 7081482 h 8861755"/>
              <a:gd name="connsiteX452" fmla="*/ 1091348 w 4772243"/>
              <a:gd name="connsiteY452" fmla="*/ 7101502 h 8861755"/>
              <a:gd name="connsiteX453" fmla="*/ 1082385 w 4772243"/>
              <a:gd name="connsiteY453" fmla="*/ 7114301 h 8861755"/>
              <a:gd name="connsiteX454" fmla="*/ 1059255 w 4772243"/>
              <a:gd name="connsiteY454" fmla="*/ 7148219 h 8861755"/>
              <a:gd name="connsiteX455" fmla="*/ 1043247 w 4772243"/>
              <a:gd name="connsiteY455" fmla="*/ 7179189 h 8861755"/>
              <a:gd name="connsiteX456" fmla="*/ 1034404 w 4772243"/>
              <a:gd name="connsiteY456" fmla="*/ 7202501 h 8861755"/>
              <a:gd name="connsiteX457" fmla="*/ 1028559 w 4772243"/>
              <a:gd name="connsiteY457" fmla="*/ 7227957 h 8861755"/>
              <a:gd name="connsiteX458" fmla="*/ 1025800 w 4772243"/>
              <a:gd name="connsiteY458" fmla="*/ 7255052 h 8861755"/>
              <a:gd name="connsiteX459" fmla="*/ 1026523 w 4772243"/>
              <a:gd name="connsiteY459" fmla="*/ 7269558 h 8861755"/>
              <a:gd name="connsiteX460" fmla="*/ 1026206 w 4772243"/>
              <a:gd name="connsiteY460" fmla="*/ 7274371 h 8861755"/>
              <a:gd name="connsiteX461" fmla="*/ 1023312 w 4772243"/>
              <a:gd name="connsiteY461" fmla="*/ 7281341 h 8861755"/>
              <a:gd name="connsiteX462" fmla="*/ 1016370 w 4772243"/>
              <a:gd name="connsiteY462" fmla="*/ 7283985 h 8861755"/>
              <a:gd name="connsiteX463" fmla="*/ 1006485 w 4772243"/>
              <a:gd name="connsiteY463" fmla="*/ 7281180 h 8861755"/>
              <a:gd name="connsiteX464" fmla="*/ 1000401 w 4772243"/>
              <a:gd name="connsiteY464" fmla="*/ 7277398 h 8861755"/>
              <a:gd name="connsiteX465" fmla="*/ 1003294 w 4772243"/>
              <a:gd name="connsiteY465" fmla="*/ 7245793 h 8861755"/>
              <a:gd name="connsiteX466" fmla="*/ 1005894 w 4772243"/>
              <a:gd name="connsiteY466" fmla="*/ 7196469 h 8861755"/>
              <a:gd name="connsiteX467" fmla="*/ 983430 w 4772243"/>
              <a:gd name="connsiteY467" fmla="*/ 7215352 h 8861755"/>
              <a:gd name="connsiteX468" fmla="*/ 953642 w 4772243"/>
              <a:gd name="connsiteY468" fmla="*/ 7244297 h 8861755"/>
              <a:gd name="connsiteX469" fmla="*/ 935931 w 4772243"/>
              <a:gd name="connsiteY469" fmla="*/ 7264185 h 8861755"/>
              <a:gd name="connsiteX470" fmla="*/ 919804 w 4772243"/>
              <a:gd name="connsiteY470" fmla="*/ 7284641 h 8861755"/>
              <a:gd name="connsiteX471" fmla="*/ 905637 w 4772243"/>
              <a:gd name="connsiteY471" fmla="*/ 7305758 h 8861755"/>
              <a:gd name="connsiteX472" fmla="*/ 892963 w 4772243"/>
              <a:gd name="connsiteY472" fmla="*/ 7327245 h 8861755"/>
              <a:gd name="connsiteX473" fmla="*/ 882341 w 4772243"/>
              <a:gd name="connsiteY473" fmla="*/ 7349593 h 8861755"/>
              <a:gd name="connsiteX474" fmla="*/ 877733 w 4772243"/>
              <a:gd name="connsiteY474" fmla="*/ 7361203 h 8861755"/>
              <a:gd name="connsiteX475" fmla="*/ 880278 w 4772243"/>
              <a:gd name="connsiteY475" fmla="*/ 7348033 h 8861755"/>
              <a:gd name="connsiteX476" fmla="*/ 886956 w 4772243"/>
              <a:gd name="connsiteY476" fmla="*/ 7322260 h 8861755"/>
              <a:gd name="connsiteX477" fmla="*/ 896530 w 4772243"/>
              <a:gd name="connsiteY477" fmla="*/ 7297731 h 8861755"/>
              <a:gd name="connsiteX478" fmla="*/ 908062 w 4772243"/>
              <a:gd name="connsiteY478" fmla="*/ 7273863 h 8861755"/>
              <a:gd name="connsiteX479" fmla="*/ 928400 w 4772243"/>
              <a:gd name="connsiteY479" fmla="*/ 7239601 h 8861755"/>
              <a:gd name="connsiteX480" fmla="*/ 960351 w 4772243"/>
              <a:gd name="connsiteY480" fmla="*/ 7196691 h 8861755"/>
              <a:gd name="connsiteX481" fmla="*/ 996602 w 4772243"/>
              <a:gd name="connsiteY481" fmla="*/ 7155899 h 8861755"/>
              <a:gd name="connsiteX482" fmla="*/ 1035192 w 4772243"/>
              <a:gd name="connsiteY482" fmla="*/ 7116561 h 8861755"/>
              <a:gd name="connsiteX483" fmla="*/ 1050205 w 4772243"/>
              <a:gd name="connsiteY483" fmla="*/ 7101777 h 8861755"/>
              <a:gd name="connsiteX484" fmla="*/ 1036187 w 4772243"/>
              <a:gd name="connsiteY484" fmla="*/ 7107893 h 8861755"/>
              <a:gd name="connsiteX485" fmla="*/ 960441 w 4772243"/>
              <a:gd name="connsiteY485" fmla="*/ 7144230 h 8861755"/>
              <a:gd name="connsiteX486" fmla="*/ 945955 w 4772243"/>
              <a:gd name="connsiteY486" fmla="*/ 7151498 h 8861755"/>
              <a:gd name="connsiteX487" fmla="*/ 918795 w 4772243"/>
              <a:gd name="connsiteY487" fmla="*/ 7171149 h 8861755"/>
              <a:gd name="connsiteX488" fmla="*/ 894652 w 4772243"/>
              <a:gd name="connsiteY488" fmla="*/ 7194027 h 8861755"/>
              <a:gd name="connsiteX489" fmla="*/ 875942 w 4772243"/>
              <a:gd name="connsiteY489" fmla="*/ 7219599 h 8861755"/>
              <a:gd name="connsiteX490" fmla="*/ 868699 w 4772243"/>
              <a:gd name="connsiteY490" fmla="*/ 7232519 h 8861755"/>
              <a:gd name="connsiteX491" fmla="*/ 858137 w 4772243"/>
              <a:gd name="connsiteY491" fmla="*/ 7254322 h 8861755"/>
              <a:gd name="connsiteX492" fmla="*/ 841841 w 4772243"/>
              <a:gd name="connsiteY492" fmla="*/ 7299005 h 8861755"/>
              <a:gd name="connsiteX493" fmla="*/ 821622 w 4772243"/>
              <a:gd name="connsiteY493" fmla="*/ 7367914 h 8861755"/>
              <a:gd name="connsiteX494" fmla="*/ 807740 w 4772243"/>
              <a:gd name="connsiteY494" fmla="*/ 7413942 h 8861755"/>
              <a:gd name="connsiteX495" fmla="*/ 804420 w 4772243"/>
              <a:gd name="connsiteY495" fmla="*/ 7422017 h 8861755"/>
              <a:gd name="connsiteX496" fmla="*/ 800497 w 4772243"/>
              <a:gd name="connsiteY496" fmla="*/ 7429823 h 8861755"/>
              <a:gd name="connsiteX497" fmla="*/ 793254 w 4772243"/>
              <a:gd name="connsiteY497" fmla="*/ 7428747 h 8861755"/>
              <a:gd name="connsiteX498" fmla="*/ 786615 w 4772243"/>
              <a:gd name="connsiteY498" fmla="*/ 7427400 h 8861755"/>
              <a:gd name="connsiteX499" fmla="*/ 799893 w 4772243"/>
              <a:gd name="connsiteY499" fmla="*/ 7363606 h 8861755"/>
              <a:gd name="connsiteX500" fmla="*/ 812266 w 4772243"/>
              <a:gd name="connsiteY500" fmla="*/ 7304658 h 8861755"/>
              <a:gd name="connsiteX501" fmla="*/ 738330 w 4772243"/>
              <a:gd name="connsiteY501" fmla="*/ 7361453 h 8861755"/>
              <a:gd name="connsiteX502" fmla="*/ 659566 w 4772243"/>
              <a:gd name="connsiteY502" fmla="*/ 7420133 h 8861755"/>
              <a:gd name="connsiteX503" fmla="*/ 647494 w 4772243"/>
              <a:gd name="connsiteY503" fmla="*/ 7429285 h 8861755"/>
              <a:gd name="connsiteX504" fmla="*/ 626370 w 4772243"/>
              <a:gd name="connsiteY504" fmla="*/ 7448127 h 8861755"/>
              <a:gd name="connsiteX505" fmla="*/ 608263 w 4772243"/>
              <a:gd name="connsiteY505" fmla="*/ 7468315 h 8861755"/>
              <a:gd name="connsiteX506" fmla="*/ 593778 w 4772243"/>
              <a:gd name="connsiteY506" fmla="*/ 7489580 h 8861755"/>
              <a:gd name="connsiteX507" fmla="*/ 582612 w 4772243"/>
              <a:gd name="connsiteY507" fmla="*/ 7511921 h 8861755"/>
              <a:gd name="connsiteX508" fmla="*/ 574766 w 4772243"/>
              <a:gd name="connsiteY508" fmla="*/ 7535608 h 8861755"/>
              <a:gd name="connsiteX509" fmla="*/ 569937 w 4772243"/>
              <a:gd name="connsiteY509" fmla="*/ 7560103 h 8861755"/>
              <a:gd name="connsiteX510" fmla="*/ 568428 w 4772243"/>
              <a:gd name="connsiteY510" fmla="*/ 7585943 h 8861755"/>
              <a:gd name="connsiteX511" fmla="*/ 568730 w 4772243"/>
              <a:gd name="connsiteY511" fmla="*/ 7599402 h 8861755"/>
              <a:gd name="connsiteX512" fmla="*/ 569333 w 4772243"/>
              <a:gd name="connsiteY512" fmla="*/ 7619591 h 8861755"/>
              <a:gd name="connsiteX513" fmla="*/ 566014 w 4772243"/>
              <a:gd name="connsiteY513" fmla="*/ 7659427 h 8861755"/>
              <a:gd name="connsiteX514" fmla="*/ 558168 w 4772243"/>
              <a:gd name="connsiteY514" fmla="*/ 7687961 h 8861755"/>
              <a:gd name="connsiteX515" fmla="*/ 550925 w 4772243"/>
              <a:gd name="connsiteY515" fmla="*/ 7706803 h 8861755"/>
              <a:gd name="connsiteX516" fmla="*/ 540665 w 4772243"/>
              <a:gd name="connsiteY516" fmla="*/ 7725106 h 8861755"/>
              <a:gd name="connsiteX517" fmla="*/ 527687 w 4772243"/>
              <a:gd name="connsiteY517" fmla="*/ 7742871 h 8861755"/>
              <a:gd name="connsiteX518" fmla="*/ 519842 w 4772243"/>
              <a:gd name="connsiteY518" fmla="*/ 7751215 h 8861755"/>
              <a:gd name="connsiteX519" fmla="*/ 525877 w 4772243"/>
              <a:gd name="connsiteY519" fmla="*/ 7739103 h 8861755"/>
              <a:gd name="connsiteX520" fmla="*/ 535534 w 4772243"/>
              <a:gd name="connsiteY520" fmla="*/ 7713801 h 8861755"/>
              <a:gd name="connsiteX521" fmla="*/ 543380 w 4772243"/>
              <a:gd name="connsiteY521" fmla="*/ 7688767 h 8861755"/>
              <a:gd name="connsiteX522" fmla="*/ 548812 w 4772243"/>
              <a:gd name="connsiteY522" fmla="*/ 7662927 h 8861755"/>
              <a:gd name="connsiteX523" fmla="*/ 552433 w 4772243"/>
              <a:gd name="connsiteY523" fmla="*/ 7637087 h 8861755"/>
              <a:gd name="connsiteX524" fmla="*/ 553641 w 4772243"/>
              <a:gd name="connsiteY524" fmla="*/ 7610977 h 8861755"/>
              <a:gd name="connsiteX525" fmla="*/ 552433 w 4772243"/>
              <a:gd name="connsiteY525" fmla="*/ 7584059 h 8861755"/>
              <a:gd name="connsiteX526" fmla="*/ 548812 w 4772243"/>
              <a:gd name="connsiteY526" fmla="*/ 7556873 h 8861755"/>
              <a:gd name="connsiteX527" fmla="*/ 545794 w 4772243"/>
              <a:gd name="connsiteY527" fmla="*/ 7542876 h 8861755"/>
              <a:gd name="connsiteX528" fmla="*/ 529196 w 4772243"/>
              <a:gd name="connsiteY528" fmla="*/ 7552028 h 8861755"/>
              <a:gd name="connsiteX529" fmla="*/ 516522 w 4772243"/>
              <a:gd name="connsiteY529" fmla="*/ 7558757 h 8861755"/>
              <a:gd name="connsiteX530" fmla="*/ 512598 w 4772243"/>
              <a:gd name="connsiteY530" fmla="*/ 7556873 h 8861755"/>
              <a:gd name="connsiteX531" fmla="*/ 507770 w 4772243"/>
              <a:gd name="connsiteY531" fmla="*/ 7552835 h 8861755"/>
              <a:gd name="connsiteX532" fmla="*/ 507167 w 4772243"/>
              <a:gd name="connsiteY532" fmla="*/ 7549337 h 8861755"/>
              <a:gd name="connsiteX533" fmla="*/ 508072 w 4772243"/>
              <a:gd name="connsiteY533" fmla="*/ 7547721 h 8861755"/>
              <a:gd name="connsiteX534" fmla="*/ 511995 w 4772243"/>
              <a:gd name="connsiteY534" fmla="*/ 7543415 h 8861755"/>
              <a:gd name="connsiteX535" fmla="*/ 523161 w 4772243"/>
              <a:gd name="connsiteY535" fmla="*/ 7536416 h 8861755"/>
              <a:gd name="connsiteX536" fmla="*/ 535534 w 4772243"/>
              <a:gd name="connsiteY536" fmla="*/ 7528609 h 8861755"/>
              <a:gd name="connsiteX537" fmla="*/ 546398 w 4772243"/>
              <a:gd name="connsiteY537" fmla="*/ 7516767 h 8861755"/>
              <a:gd name="connsiteX538" fmla="*/ 550321 w 4772243"/>
              <a:gd name="connsiteY538" fmla="*/ 7508422 h 8861755"/>
              <a:gd name="connsiteX539" fmla="*/ 554848 w 4772243"/>
              <a:gd name="connsiteY539" fmla="*/ 7498731 h 8861755"/>
              <a:gd name="connsiteX540" fmla="*/ 564807 w 4772243"/>
              <a:gd name="connsiteY540" fmla="*/ 7480159 h 8861755"/>
              <a:gd name="connsiteX541" fmla="*/ 583215 w 4772243"/>
              <a:gd name="connsiteY541" fmla="*/ 7454587 h 8861755"/>
              <a:gd name="connsiteX542" fmla="*/ 613393 w 4772243"/>
              <a:gd name="connsiteY542" fmla="*/ 7423633 h 8861755"/>
              <a:gd name="connsiteX543" fmla="*/ 646589 w 4772243"/>
              <a:gd name="connsiteY543" fmla="*/ 7394561 h 8861755"/>
              <a:gd name="connsiteX544" fmla="*/ 663791 w 4772243"/>
              <a:gd name="connsiteY544" fmla="*/ 7380295 h 8861755"/>
              <a:gd name="connsiteX545" fmla="*/ 686424 w 4772243"/>
              <a:gd name="connsiteY545" fmla="*/ 7361453 h 8861755"/>
              <a:gd name="connsiteX546" fmla="*/ 729880 w 4772243"/>
              <a:gd name="connsiteY546" fmla="*/ 7322154 h 8861755"/>
              <a:gd name="connsiteX547" fmla="*/ 771828 w 4772243"/>
              <a:gd name="connsiteY547" fmla="*/ 7281239 h 8861755"/>
              <a:gd name="connsiteX548" fmla="*/ 810456 w 4772243"/>
              <a:gd name="connsiteY548" fmla="*/ 7238711 h 8861755"/>
              <a:gd name="connsiteX549" fmla="*/ 828562 w 4772243"/>
              <a:gd name="connsiteY549" fmla="*/ 7216637 h 8861755"/>
              <a:gd name="connsiteX550" fmla="*/ 844557 w 4772243"/>
              <a:gd name="connsiteY550" fmla="*/ 7197258 h 8861755"/>
              <a:gd name="connsiteX551" fmla="*/ 878960 w 4772243"/>
              <a:gd name="connsiteY551" fmla="*/ 7160650 h 8861755"/>
              <a:gd name="connsiteX552" fmla="*/ 907629 w 4772243"/>
              <a:gd name="connsiteY552" fmla="*/ 7136963 h 8861755"/>
              <a:gd name="connsiteX553" fmla="*/ 928754 w 4772243"/>
              <a:gd name="connsiteY553" fmla="*/ 7122427 h 8861755"/>
              <a:gd name="connsiteX554" fmla="*/ 951689 w 4772243"/>
              <a:gd name="connsiteY554" fmla="*/ 7110046 h 8861755"/>
              <a:gd name="connsiteX555" fmla="*/ 977038 w 4772243"/>
              <a:gd name="connsiteY555" fmla="*/ 7099548 h 8861755"/>
              <a:gd name="connsiteX556" fmla="*/ 991222 w 4772243"/>
              <a:gd name="connsiteY556" fmla="*/ 7095241 h 8861755"/>
              <a:gd name="connsiteX557" fmla="*/ 1018684 w 4772243"/>
              <a:gd name="connsiteY557" fmla="*/ 7086897 h 8861755"/>
              <a:gd name="connsiteX558" fmla="*/ 1071495 w 4772243"/>
              <a:gd name="connsiteY558" fmla="*/ 7066977 h 8861755"/>
              <a:gd name="connsiteX559" fmla="*/ 1095743 w 4772243"/>
              <a:gd name="connsiteY559" fmla="*/ 7056229 h 8861755"/>
              <a:gd name="connsiteX560" fmla="*/ 1112390 w 4772243"/>
              <a:gd name="connsiteY560" fmla="*/ 7039285 h 8861755"/>
              <a:gd name="connsiteX561" fmla="*/ 1130015 w 4772243"/>
              <a:gd name="connsiteY561" fmla="*/ 7019901 h 8861755"/>
              <a:gd name="connsiteX562" fmla="*/ 1040406 w 4772243"/>
              <a:gd name="connsiteY562" fmla="*/ 7019313 h 8861755"/>
              <a:gd name="connsiteX563" fmla="*/ 904597 w 4772243"/>
              <a:gd name="connsiteY563" fmla="*/ 7018261 h 8861755"/>
              <a:gd name="connsiteX564" fmla="*/ 813979 w 4772243"/>
              <a:gd name="connsiteY564" fmla="*/ 7018997 h 8861755"/>
              <a:gd name="connsiteX565" fmla="*/ 768080 w 4772243"/>
              <a:gd name="connsiteY565" fmla="*/ 7020529 h 8861755"/>
              <a:gd name="connsiteX566" fmla="*/ 752572 w 4772243"/>
              <a:gd name="connsiteY566" fmla="*/ 7021745 h 8861755"/>
              <a:gd name="connsiteX567" fmla="*/ 720389 w 4772243"/>
              <a:gd name="connsiteY567" fmla="*/ 7027905 h 8861755"/>
              <a:gd name="connsiteX568" fmla="*/ 688254 w 4772243"/>
              <a:gd name="connsiteY568" fmla="*/ 7038271 h 8861755"/>
              <a:gd name="connsiteX569" fmla="*/ 658856 w 4772243"/>
              <a:gd name="connsiteY569" fmla="*/ 7052286 h 8861755"/>
              <a:gd name="connsiteX570" fmla="*/ 645655 w 4772243"/>
              <a:gd name="connsiteY570" fmla="*/ 7060366 h 8861755"/>
              <a:gd name="connsiteX571" fmla="*/ 625087 w 4772243"/>
              <a:gd name="connsiteY571" fmla="*/ 7074302 h 8861755"/>
              <a:gd name="connsiteX572" fmla="*/ 586210 w 4772243"/>
              <a:gd name="connsiteY572" fmla="*/ 7104833 h 8861755"/>
              <a:gd name="connsiteX573" fmla="*/ 529692 w 4772243"/>
              <a:gd name="connsiteY573" fmla="*/ 7153348 h 8861755"/>
              <a:gd name="connsiteX574" fmla="*/ 492599 w 4772243"/>
              <a:gd name="connsiteY574" fmla="*/ 7185547 h 8861755"/>
              <a:gd name="connsiteX575" fmla="*/ 484762 w 4772243"/>
              <a:gd name="connsiteY575" fmla="*/ 7191113 h 8861755"/>
              <a:gd name="connsiteX576" fmla="*/ 477107 w 4772243"/>
              <a:gd name="connsiteY576" fmla="*/ 7196375 h 8861755"/>
              <a:gd name="connsiteX577" fmla="*/ 472514 w 4772243"/>
              <a:gd name="connsiteY577" fmla="*/ 7192964 h 8861755"/>
              <a:gd name="connsiteX578" fmla="*/ 468016 w 4772243"/>
              <a:gd name="connsiteY578" fmla="*/ 7189750 h 8861755"/>
              <a:gd name="connsiteX579" fmla="*/ 515808 w 4772243"/>
              <a:gd name="connsiteY579" fmla="*/ 7142214 h 8861755"/>
              <a:gd name="connsiteX580" fmla="*/ 559841 w 4772243"/>
              <a:gd name="connsiteY580" fmla="*/ 7099159 h 8861755"/>
              <a:gd name="connsiteX581" fmla="*/ 469630 w 4772243"/>
              <a:gd name="connsiteY581" fmla="*/ 7119215 h 8861755"/>
              <a:gd name="connsiteX582" fmla="*/ 374493 w 4772243"/>
              <a:gd name="connsiteY582" fmla="*/ 7139269 h 8861755"/>
              <a:gd name="connsiteX583" fmla="*/ 359936 w 4772243"/>
              <a:gd name="connsiteY583" fmla="*/ 7142469 h 8861755"/>
              <a:gd name="connsiteX584" fmla="*/ 332235 w 4772243"/>
              <a:gd name="connsiteY584" fmla="*/ 7150441 h 8861755"/>
              <a:gd name="connsiteX585" fmla="*/ 306882 w 4772243"/>
              <a:gd name="connsiteY585" fmla="*/ 7160569 h 8861755"/>
              <a:gd name="connsiteX586" fmla="*/ 282855 w 4772243"/>
              <a:gd name="connsiteY586" fmla="*/ 7172773 h 8861755"/>
              <a:gd name="connsiteX587" fmla="*/ 261081 w 4772243"/>
              <a:gd name="connsiteY587" fmla="*/ 7186936 h 8861755"/>
              <a:gd name="connsiteX588" fmla="*/ 241281 w 4772243"/>
              <a:gd name="connsiteY588" fmla="*/ 7203159 h 8861755"/>
              <a:gd name="connsiteX589" fmla="*/ 223179 w 4772243"/>
              <a:gd name="connsiteY589" fmla="*/ 7221553 h 8861755"/>
              <a:gd name="connsiteX590" fmla="*/ 206680 w 4772243"/>
              <a:gd name="connsiteY590" fmla="*/ 7241917 h 8861755"/>
              <a:gd name="connsiteX591" fmla="*/ 199184 w 4772243"/>
              <a:gd name="connsiteY591" fmla="*/ 7252984 h 8861755"/>
              <a:gd name="connsiteX592" fmla="*/ 187937 w 4772243"/>
              <a:gd name="connsiteY592" fmla="*/ 7269236 h 8861755"/>
              <a:gd name="connsiteX593" fmla="*/ 161895 w 4772243"/>
              <a:gd name="connsiteY593" fmla="*/ 7300508 h 8861755"/>
              <a:gd name="connsiteX594" fmla="*/ 138987 w 4772243"/>
              <a:gd name="connsiteY594" fmla="*/ 7321203 h 8861755"/>
              <a:gd name="connsiteX595" fmla="*/ 122027 w 4772243"/>
              <a:gd name="connsiteY595" fmla="*/ 7333763 h 8861755"/>
              <a:gd name="connsiteX596" fmla="*/ 103750 w 4772243"/>
              <a:gd name="connsiteY596" fmla="*/ 7344950 h 8861755"/>
              <a:gd name="connsiteX597" fmla="*/ 83229 w 4772243"/>
              <a:gd name="connsiteY597" fmla="*/ 7354881 h 8861755"/>
              <a:gd name="connsiteX598" fmla="*/ 72401 w 4772243"/>
              <a:gd name="connsiteY598" fmla="*/ 7359005 h 8861755"/>
              <a:gd name="connsiteX599" fmla="*/ 84204 w 4772243"/>
              <a:gd name="connsiteY599" fmla="*/ 7350755 h 8861755"/>
              <a:gd name="connsiteX600" fmla="*/ 106415 w 4772243"/>
              <a:gd name="connsiteY600" fmla="*/ 7334081 h 8861755"/>
              <a:gd name="connsiteX601" fmla="*/ 127404 w 4772243"/>
              <a:gd name="connsiteY601" fmla="*/ 7316229 h 8861755"/>
              <a:gd name="connsiteX602" fmla="*/ 146434 w 4772243"/>
              <a:gd name="connsiteY602" fmla="*/ 7297717 h 8861755"/>
              <a:gd name="connsiteX603" fmla="*/ 164146 w 4772243"/>
              <a:gd name="connsiteY603" fmla="*/ 7277830 h 8861755"/>
              <a:gd name="connsiteX604" fmla="*/ 180733 w 4772243"/>
              <a:gd name="connsiteY604" fmla="*/ 7256963 h 8861755"/>
              <a:gd name="connsiteX605" fmla="*/ 195725 w 4772243"/>
              <a:gd name="connsiteY605" fmla="*/ 7234829 h 8861755"/>
              <a:gd name="connsiteX606" fmla="*/ 208566 w 4772243"/>
              <a:gd name="connsiteY606" fmla="*/ 7211634 h 8861755"/>
              <a:gd name="connsiteX607" fmla="*/ 214745 w 4772243"/>
              <a:gd name="connsiteY607" fmla="*/ 7199191 h 8861755"/>
              <a:gd name="connsiteX608" fmla="*/ 196730 w 4772243"/>
              <a:gd name="connsiteY608" fmla="*/ 7200658 h 8861755"/>
              <a:gd name="connsiteX609" fmla="*/ 183078 w 4772243"/>
              <a:gd name="connsiteY609" fmla="*/ 7201636 h 8861755"/>
              <a:gd name="connsiteX610" fmla="*/ 180539 w 4772243"/>
              <a:gd name="connsiteY610" fmla="*/ 7199083 h 8861755"/>
              <a:gd name="connsiteX611" fmla="*/ 179643 w 4772243"/>
              <a:gd name="connsiteY611" fmla="*/ 7193794 h 8861755"/>
              <a:gd name="connsiteX612" fmla="*/ 180816 w 4772243"/>
              <a:gd name="connsiteY612" fmla="*/ 7190765 h 8861755"/>
              <a:gd name="connsiteX613" fmla="*/ 182387 w 4772243"/>
              <a:gd name="connsiteY613" fmla="*/ 7189933 h 8861755"/>
              <a:gd name="connsiteX614" fmla="*/ 188217 w 4772243"/>
              <a:gd name="connsiteY614" fmla="*/ 7187712 h 8861755"/>
              <a:gd name="connsiteX615" fmla="*/ 201116 w 4772243"/>
              <a:gd name="connsiteY615" fmla="*/ 7185847 h 8861755"/>
              <a:gd name="connsiteX616" fmla="*/ 214943 w 4772243"/>
              <a:gd name="connsiteY616" fmla="*/ 7183865 h 8861755"/>
              <a:gd name="connsiteX617" fmla="*/ 230682 w 4772243"/>
              <a:gd name="connsiteY617" fmla="*/ 7178339 h 8861755"/>
              <a:gd name="connsiteX618" fmla="*/ 238518 w 4772243"/>
              <a:gd name="connsiteY618" fmla="*/ 7172772 h 8861755"/>
              <a:gd name="connsiteX619" fmla="*/ 247276 w 4772243"/>
              <a:gd name="connsiteY619" fmla="*/ 7166385 h 8861755"/>
              <a:gd name="connsiteX620" fmla="*/ 266108 w 4772243"/>
              <a:gd name="connsiteY620" fmla="*/ 7154987 h 8861755"/>
              <a:gd name="connsiteX621" fmla="*/ 295411 w 4772243"/>
              <a:gd name="connsiteY621" fmla="*/ 7140773 h 8861755"/>
              <a:gd name="connsiteX622" fmla="*/ 336605 w 4772243"/>
              <a:gd name="connsiteY622" fmla="*/ 7126017 h 8861755"/>
              <a:gd name="connsiteX623" fmla="*/ 378949 w 4772243"/>
              <a:gd name="connsiteY623" fmla="*/ 7114343 h 8861755"/>
              <a:gd name="connsiteX624" fmla="*/ 401193 w 4772243"/>
              <a:gd name="connsiteY624" fmla="*/ 7108685 h 8861755"/>
              <a:gd name="connsiteX625" fmla="*/ 429457 w 4772243"/>
              <a:gd name="connsiteY625" fmla="*/ 7101201 h 8861755"/>
              <a:gd name="connsiteX626" fmla="*/ 486152 w 4772243"/>
              <a:gd name="connsiteY626" fmla="*/ 7084531 h 8861755"/>
              <a:gd name="connsiteX627" fmla="*/ 542268 w 4772243"/>
              <a:gd name="connsiteY627" fmla="*/ 7065967 h 8861755"/>
              <a:gd name="connsiteX628" fmla="*/ 596963 w 4772243"/>
              <a:gd name="connsiteY628" fmla="*/ 7045129 h 8861755"/>
              <a:gd name="connsiteX629" fmla="*/ 623973 w 4772243"/>
              <a:gd name="connsiteY629" fmla="*/ 7033665 h 8861755"/>
              <a:gd name="connsiteX630" fmla="*/ 647834 w 4772243"/>
              <a:gd name="connsiteY630" fmla="*/ 7023168 h 8861755"/>
              <a:gd name="connsiteX631" fmla="*/ 695875 w 4772243"/>
              <a:gd name="connsiteY631" fmla="*/ 7005569 h 8861755"/>
              <a:gd name="connsiteX632" fmla="*/ 731834 w 4772243"/>
              <a:gd name="connsiteY632" fmla="*/ 6996328 h 8861755"/>
              <a:gd name="connsiteX633" fmla="*/ 756790 w 4772243"/>
              <a:gd name="connsiteY633" fmla="*/ 6992216 h 8861755"/>
              <a:gd name="connsiteX634" fmla="*/ 781770 w 4772243"/>
              <a:gd name="connsiteY634" fmla="*/ 6990208 h 8861755"/>
              <a:gd name="connsiteX635" fmla="*/ 807521 w 4772243"/>
              <a:gd name="connsiteY635" fmla="*/ 6990487 h 8861755"/>
              <a:gd name="connsiteX636" fmla="*/ 820919 w 4772243"/>
              <a:gd name="connsiteY636" fmla="*/ 6991717 h 8861755"/>
              <a:gd name="connsiteX637" fmla="*/ 846883 w 4772243"/>
              <a:gd name="connsiteY637" fmla="*/ 6994496 h 8861755"/>
              <a:gd name="connsiteX638" fmla="*/ 898963 w 4772243"/>
              <a:gd name="connsiteY638" fmla="*/ 6996945 h 8861755"/>
              <a:gd name="connsiteX639" fmla="*/ 951288 w 4772243"/>
              <a:gd name="connsiteY639" fmla="*/ 6996485 h 8861755"/>
              <a:gd name="connsiteX640" fmla="*/ 1003208 w 4772243"/>
              <a:gd name="connsiteY640" fmla="*/ 6993129 h 8861755"/>
              <a:gd name="connsiteX641" fmla="*/ 1055009 w 4772243"/>
              <a:gd name="connsiteY641" fmla="*/ 6987472 h 8861755"/>
              <a:gd name="connsiteX642" fmla="*/ 1106968 w 4772243"/>
              <a:gd name="connsiteY642" fmla="*/ 6979408 h 8861755"/>
              <a:gd name="connsiteX643" fmla="*/ 1183947 w 4772243"/>
              <a:gd name="connsiteY643" fmla="*/ 6964629 h 8861755"/>
              <a:gd name="connsiteX644" fmla="*/ 1235398 w 4772243"/>
              <a:gd name="connsiteY644" fmla="*/ 6952769 h 8861755"/>
              <a:gd name="connsiteX645" fmla="*/ 1244481 w 4772243"/>
              <a:gd name="connsiteY645" fmla="*/ 6950483 h 8861755"/>
              <a:gd name="connsiteX646" fmla="*/ 1261799 w 4772243"/>
              <a:gd name="connsiteY646" fmla="*/ 6944823 h 8861755"/>
              <a:gd name="connsiteX647" fmla="*/ 1287699 w 4772243"/>
              <a:gd name="connsiteY647" fmla="*/ 6933783 h 8861755"/>
              <a:gd name="connsiteX648" fmla="*/ 1336928 w 4772243"/>
              <a:gd name="connsiteY648" fmla="*/ 6906347 h 8861755"/>
              <a:gd name="connsiteX649" fmla="*/ 1356235 w 4772243"/>
              <a:gd name="connsiteY649" fmla="*/ 6894337 h 8861755"/>
              <a:gd name="connsiteX650" fmla="*/ 1367014 w 4772243"/>
              <a:gd name="connsiteY650" fmla="*/ 6885845 h 8861755"/>
              <a:gd name="connsiteX651" fmla="*/ 1309851 w 4772243"/>
              <a:gd name="connsiteY651" fmla="*/ 6871144 h 8861755"/>
              <a:gd name="connsiteX652" fmla="*/ 1221867 w 4772243"/>
              <a:gd name="connsiteY652" fmla="*/ 6849995 h 8861755"/>
              <a:gd name="connsiteX653" fmla="*/ 1162981 w 4772243"/>
              <a:gd name="connsiteY653" fmla="*/ 6837468 h 8861755"/>
              <a:gd name="connsiteX654" fmla="*/ 1103659 w 4772243"/>
              <a:gd name="connsiteY654" fmla="*/ 6827455 h 8861755"/>
              <a:gd name="connsiteX655" fmla="*/ 1043535 w 4772243"/>
              <a:gd name="connsiteY655" fmla="*/ 6820561 h 8861755"/>
              <a:gd name="connsiteX656" fmla="*/ 982254 w 4772243"/>
              <a:gd name="connsiteY656" fmla="*/ 6818099 h 8861755"/>
              <a:gd name="connsiteX657" fmla="*/ 919910 w 4772243"/>
              <a:gd name="connsiteY657" fmla="*/ 6820264 h 8861755"/>
              <a:gd name="connsiteX658" fmla="*/ 887417 w 4772243"/>
              <a:gd name="connsiteY658" fmla="*/ 6823727 h 8861755"/>
              <a:gd name="connsiteX659" fmla="*/ 848896 w 4772243"/>
              <a:gd name="connsiteY659" fmla="*/ 6828313 h 8861755"/>
              <a:gd name="connsiteX660" fmla="*/ 770433 w 4772243"/>
              <a:gd name="connsiteY660" fmla="*/ 6835213 h 8861755"/>
              <a:gd name="connsiteX661" fmla="*/ 652552 w 4772243"/>
              <a:gd name="connsiteY661" fmla="*/ 6841409 h 8861755"/>
              <a:gd name="connsiteX662" fmla="*/ 573945 w 4772243"/>
              <a:gd name="connsiteY662" fmla="*/ 6843903 h 8861755"/>
              <a:gd name="connsiteX663" fmla="*/ 558984 w 4772243"/>
              <a:gd name="connsiteY663" fmla="*/ 6844206 h 8861755"/>
              <a:gd name="connsiteX664" fmla="*/ 528951 w 4772243"/>
              <a:gd name="connsiteY664" fmla="*/ 6843213 h 8861755"/>
              <a:gd name="connsiteX665" fmla="*/ 499543 w 4772243"/>
              <a:gd name="connsiteY665" fmla="*/ 6840104 h 8861755"/>
              <a:gd name="connsiteX666" fmla="*/ 471230 w 4772243"/>
              <a:gd name="connsiteY666" fmla="*/ 6835171 h 8861755"/>
              <a:gd name="connsiteX667" fmla="*/ 443084 w 4772243"/>
              <a:gd name="connsiteY667" fmla="*/ 6828530 h 8861755"/>
              <a:gd name="connsiteX668" fmla="*/ 416215 w 4772243"/>
              <a:gd name="connsiteY668" fmla="*/ 6819761 h 8861755"/>
              <a:gd name="connsiteX669" fmla="*/ 389235 w 4772243"/>
              <a:gd name="connsiteY669" fmla="*/ 6809393 h 8861755"/>
              <a:gd name="connsiteX670" fmla="*/ 363540 w 4772243"/>
              <a:gd name="connsiteY670" fmla="*/ 6797596 h 8861755"/>
              <a:gd name="connsiteX671" fmla="*/ 351101 w 4772243"/>
              <a:gd name="connsiteY671" fmla="*/ 6790839 h 8861755"/>
              <a:gd name="connsiteX672" fmla="*/ 341661 w 4772243"/>
              <a:gd name="connsiteY672" fmla="*/ 6786223 h 8861755"/>
              <a:gd name="connsiteX673" fmla="*/ 320679 w 4772243"/>
              <a:gd name="connsiteY673" fmla="*/ 6780139 h 8861755"/>
              <a:gd name="connsiteX674" fmla="*/ 286226 w 4772243"/>
              <a:gd name="connsiteY674" fmla="*/ 6774728 h 8861755"/>
              <a:gd name="connsiteX675" fmla="*/ 263340 w 4772243"/>
              <a:gd name="connsiteY675" fmla="*/ 6772889 h 8861755"/>
              <a:gd name="connsiteX676" fmla="*/ 235249 w 4772243"/>
              <a:gd name="connsiteY676" fmla="*/ 6771155 h 8861755"/>
              <a:gd name="connsiteX677" fmla="*/ 179117 w 4772243"/>
              <a:gd name="connsiteY677" fmla="*/ 6771893 h 8861755"/>
              <a:gd name="connsiteX678" fmla="*/ 121889 w 4772243"/>
              <a:gd name="connsiteY678" fmla="*/ 6774455 h 8861755"/>
              <a:gd name="connsiteX679" fmla="*/ 65201 w 4772243"/>
              <a:gd name="connsiteY679" fmla="*/ 6775404 h 8861755"/>
              <a:gd name="connsiteX680" fmla="*/ 37301 w 4772243"/>
              <a:gd name="connsiteY680" fmla="*/ 6774067 h 8861755"/>
              <a:gd name="connsiteX681" fmla="*/ 32177 w 4772243"/>
              <a:gd name="connsiteY681" fmla="*/ 6772969 h 8861755"/>
              <a:gd name="connsiteX682" fmla="*/ 22903 w 4772243"/>
              <a:gd name="connsiteY682" fmla="*/ 6766647 h 8861755"/>
              <a:gd name="connsiteX683" fmla="*/ 9274 w 4772243"/>
              <a:gd name="connsiteY683" fmla="*/ 6753305 h 8861755"/>
              <a:gd name="connsiteX684" fmla="*/ 0 w 4772243"/>
              <a:gd name="connsiteY684" fmla="*/ 6746983 h 8861755"/>
              <a:gd name="connsiteX685" fmla="*/ 69515 w 4772243"/>
              <a:gd name="connsiteY685" fmla="*/ 6754287 h 8861755"/>
              <a:gd name="connsiteX686" fmla="*/ 156586 w 4772243"/>
              <a:gd name="connsiteY686" fmla="*/ 6760533 h 8861755"/>
              <a:gd name="connsiteX687" fmla="*/ 192007 w 4772243"/>
              <a:gd name="connsiteY687" fmla="*/ 6761115 h 8861755"/>
              <a:gd name="connsiteX688" fmla="*/ 227958 w 4772243"/>
              <a:gd name="connsiteY688" fmla="*/ 6759386 h 8861755"/>
              <a:gd name="connsiteX689" fmla="*/ 264068 w 4772243"/>
              <a:gd name="connsiteY689" fmla="*/ 6755249 h 8861755"/>
              <a:gd name="connsiteX690" fmla="*/ 282527 w 4772243"/>
              <a:gd name="connsiteY690" fmla="*/ 6751970 h 8861755"/>
              <a:gd name="connsiteX691" fmla="*/ 229311 w 4772243"/>
              <a:gd name="connsiteY691" fmla="*/ 6698570 h 8861755"/>
              <a:gd name="connsiteX692" fmla="*/ 124941 w 4772243"/>
              <a:gd name="connsiteY692" fmla="*/ 6601542 h 8861755"/>
              <a:gd name="connsiteX693" fmla="*/ 47369 w 4772243"/>
              <a:gd name="connsiteY693" fmla="*/ 6531611 h 8861755"/>
              <a:gd name="connsiteX694" fmla="*/ 27901 w 4772243"/>
              <a:gd name="connsiteY694" fmla="*/ 6511576 h 8861755"/>
              <a:gd name="connsiteX695" fmla="*/ 26569 w 4772243"/>
              <a:gd name="connsiteY695" fmla="*/ 6508799 h 8861755"/>
              <a:gd name="connsiteX696" fmla="*/ 33843 w 4772243"/>
              <a:gd name="connsiteY696" fmla="*/ 6510955 h 8861755"/>
              <a:gd name="connsiteX697" fmla="*/ 46662 w 4772243"/>
              <a:gd name="connsiteY697" fmla="*/ 6518508 h 8861755"/>
              <a:gd name="connsiteX698" fmla="*/ 73246 w 4772243"/>
              <a:gd name="connsiteY698" fmla="*/ 6534893 h 8861755"/>
              <a:gd name="connsiteX699" fmla="*/ 125129 w 4772243"/>
              <a:gd name="connsiteY699" fmla="*/ 6569092 h 8861755"/>
              <a:gd name="connsiteX700" fmla="*/ 175362 w 4772243"/>
              <a:gd name="connsiteY700" fmla="*/ 6605327 h 8861755"/>
              <a:gd name="connsiteX701" fmla="*/ 223200 w 4772243"/>
              <a:gd name="connsiteY701" fmla="*/ 6643414 h 8861755"/>
              <a:gd name="connsiteX702" fmla="*/ 246475 w 4772243"/>
              <a:gd name="connsiteY702" fmla="*/ 6663171 h 8861755"/>
              <a:gd name="connsiteX703" fmla="*/ 269839 w 4772243"/>
              <a:gd name="connsiteY703" fmla="*/ 6682426 h 8861755"/>
              <a:gd name="connsiteX704" fmla="*/ 318461 w 4772243"/>
              <a:gd name="connsiteY704" fmla="*/ 6715991 h 8861755"/>
              <a:gd name="connsiteX705" fmla="*/ 357182 w 4772243"/>
              <a:gd name="connsiteY705" fmla="*/ 6737137 h 8861755"/>
              <a:gd name="connsiteX706" fmla="*/ 383441 w 4772243"/>
              <a:gd name="connsiteY706" fmla="*/ 6749423 h 8861755"/>
              <a:gd name="connsiteX707" fmla="*/ 410889 w 4772243"/>
              <a:gd name="connsiteY707" fmla="*/ 6760083 h 8861755"/>
              <a:gd name="connsiteX708" fmla="*/ 438694 w 4772243"/>
              <a:gd name="connsiteY708" fmla="*/ 6769434 h 8861755"/>
              <a:gd name="connsiteX709" fmla="*/ 467689 w 4772243"/>
              <a:gd name="connsiteY709" fmla="*/ 6777159 h 8861755"/>
              <a:gd name="connsiteX710" fmla="*/ 496668 w 4772243"/>
              <a:gd name="connsiteY710" fmla="*/ 6783481 h 8861755"/>
              <a:gd name="connsiteX711" fmla="*/ 526655 w 4772243"/>
              <a:gd name="connsiteY711" fmla="*/ 6788480 h 8861755"/>
              <a:gd name="connsiteX712" fmla="*/ 557553 w 4772243"/>
              <a:gd name="connsiteY712" fmla="*/ 6791959 h 8861755"/>
              <a:gd name="connsiteX713" fmla="*/ 604801 w 4772243"/>
              <a:gd name="connsiteY713" fmla="*/ 6794607 h 8861755"/>
              <a:gd name="connsiteX714" fmla="*/ 670128 w 4772243"/>
              <a:gd name="connsiteY714" fmla="*/ 6793183 h 8861755"/>
              <a:gd name="connsiteX715" fmla="*/ 704294 w 4772243"/>
              <a:gd name="connsiteY715" fmla="*/ 6789785 h 8861755"/>
              <a:gd name="connsiteX716" fmla="*/ 738365 w 4772243"/>
              <a:gd name="connsiteY716" fmla="*/ 6786191 h 8861755"/>
              <a:gd name="connsiteX717" fmla="*/ 772246 w 4772243"/>
              <a:gd name="connsiteY717" fmla="*/ 6782199 h 8861755"/>
              <a:gd name="connsiteX718" fmla="*/ 828030 w 4772243"/>
              <a:gd name="connsiteY718" fmla="*/ 6775259 h 8861755"/>
              <a:gd name="connsiteX719" fmla="*/ 911402 w 4772243"/>
              <a:gd name="connsiteY719" fmla="*/ 6766959 h 8861755"/>
              <a:gd name="connsiteX720" fmla="*/ 966940 w 4772243"/>
              <a:gd name="connsiteY720" fmla="*/ 6762929 h 8861755"/>
              <a:gd name="connsiteX721" fmla="*/ 1021954 w 4772243"/>
              <a:gd name="connsiteY721" fmla="*/ 6761915 h 8861755"/>
              <a:gd name="connsiteX722" fmla="*/ 1077001 w 4772243"/>
              <a:gd name="connsiteY722" fmla="*/ 6763701 h 8861755"/>
              <a:gd name="connsiteX723" fmla="*/ 1131348 w 4772243"/>
              <a:gd name="connsiteY723" fmla="*/ 6769511 h 8861755"/>
              <a:gd name="connsiteX724" fmla="*/ 1185466 w 4772243"/>
              <a:gd name="connsiteY724" fmla="*/ 6779630 h 8861755"/>
              <a:gd name="connsiteX725" fmla="*/ 1212406 w 4772243"/>
              <a:gd name="connsiteY725" fmla="*/ 6786493 h 8861755"/>
              <a:gd name="connsiteX726" fmla="*/ 1214216 w 4772243"/>
              <a:gd name="connsiteY726" fmla="*/ 6782051 h 8861755"/>
              <a:gd name="connsiteX727" fmla="*/ 1216301 w 4772243"/>
              <a:gd name="connsiteY727" fmla="*/ 6777502 h 8861755"/>
              <a:gd name="connsiteX728" fmla="*/ 1207980 w 4772243"/>
              <a:gd name="connsiteY728" fmla="*/ 6773163 h 8861755"/>
              <a:gd name="connsiteX729" fmla="*/ 1191050 w 4772243"/>
              <a:gd name="connsiteY729" fmla="*/ 6763893 h 8861755"/>
              <a:gd name="connsiteX730" fmla="*/ 1182102 w 4772243"/>
              <a:gd name="connsiteY730" fmla="*/ 6761671 h 8861755"/>
              <a:gd name="connsiteX731" fmla="*/ 1164214 w 4772243"/>
              <a:gd name="connsiteY731" fmla="*/ 6757927 h 8861755"/>
              <a:gd name="connsiteX732" fmla="*/ 1129530 w 4772243"/>
              <a:gd name="connsiteY732" fmla="*/ 6748617 h 8861755"/>
              <a:gd name="connsiteX733" fmla="*/ 1096584 w 4772243"/>
              <a:gd name="connsiteY733" fmla="*/ 6736767 h 8861755"/>
              <a:gd name="connsiteX734" fmla="*/ 1065011 w 4772243"/>
              <a:gd name="connsiteY734" fmla="*/ 6722987 h 8861755"/>
              <a:gd name="connsiteX735" fmla="*/ 1020499 w 4772243"/>
              <a:gd name="connsiteY735" fmla="*/ 6699354 h 8861755"/>
              <a:gd name="connsiteX736" fmla="*/ 965149 w 4772243"/>
              <a:gd name="connsiteY736" fmla="*/ 6662721 h 8861755"/>
              <a:gd name="connsiteX737" fmla="*/ 938438 w 4772243"/>
              <a:gd name="connsiteY737" fmla="*/ 6643333 h 8861755"/>
              <a:gd name="connsiteX738" fmla="*/ 913600 w 4772243"/>
              <a:gd name="connsiteY738" fmla="*/ 6625109 h 8861755"/>
              <a:gd name="connsiteX739" fmla="*/ 860995 w 4772243"/>
              <a:gd name="connsiteY739" fmla="*/ 6592827 h 8861755"/>
              <a:gd name="connsiteX740" fmla="*/ 819211 w 4772243"/>
              <a:gd name="connsiteY740" fmla="*/ 6572143 h 8861755"/>
              <a:gd name="connsiteX741" fmla="*/ 789701 w 4772243"/>
              <a:gd name="connsiteY741" fmla="*/ 6559923 h 8861755"/>
              <a:gd name="connsiteX742" fmla="*/ 759737 w 4772243"/>
              <a:gd name="connsiteY742" fmla="*/ 6548813 h 8861755"/>
              <a:gd name="connsiteX743" fmla="*/ 728307 w 4772243"/>
              <a:gd name="connsiteY743" fmla="*/ 6539436 h 8861755"/>
              <a:gd name="connsiteX744" fmla="*/ 712458 w 4772243"/>
              <a:gd name="connsiteY744" fmla="*/ 6535151 h 8861755"/>
              <a:gd name="connsiteX745" fmla="*/ 692601 w 4772243"/>
              <a:gd name="connsiteY745" fmla="*/ 6530046 h 8861755"/>
              <a:gd name="connsiteX746" fmla="*/ 655649 w 4772243"/>
              <a:gd name="connsiteY746" fmla="*/ 6517375 h 8861755"/>
              <a:gd name="connsiteX747" fmla="*/ 622473 w 4772243"/>
              <a:gd name="connsiteY747" fmla="*/ 6501624 h 8861755"/>
              <a:gd name="connsiteX748" fmla="*/ 594097 w 4772243"/>
              <a:gd name="connsiteY748" fmla="*/ 6482871 h 8861755"/>
              <a:gd name="connsiteX749" fmla="*/ 569591 w 4772243"/>
              <a:gd name="connsiteY749" fmla="*/ 6461237 h 8861755"/>
              <a:gd name="connsiteX750" fmla="*/ 550058 w 4772243"/>
              <a:gd name="connsiteY750" fmla="*/ 6435595 h 8861755"/>
              <a:gd name="connsiteX751" fmla="*/ 535135 w 4772243"/>
              <a:gd name="connsiteY751" fmla="*/ 6406555 h 8861755"/>
              <a:gd name="connsiteX752" fmla="*/ 525931 w 4772243"/>
              <a:gd name="connsiteY752" fmla="*/ 6373694 h 8861755"/>
              <a:gd name="connsiteX753" fmla="*/ 523494 w 4772243"/>
              <a:gd name="connsiteY753" fmla="*/ 6355616 h 8861755"/>
              <a:gd name="connsiteX754" fmla="*/ 520955 w 4772243"/>
              <a:gd name="connsiteY754" fmla="*/ 6336640 h 8861755"/>
              <a:gd name="connsiteX755" fmla="*/ 516074 w 4772243"/>
              <a:gd name="connsiteY755" fmla="*/ 6307998 h 8861755"/>
              <a:gd name="connsiteX756" fmla="*/ 515296 w 4772243"/>
              <a:gd name="connsiteY756" fmla="*/ 6288586 h 8861755"/>
              <a:gd name="connsiteX757" fmla="*/ 516295 w 4772243"/>
              <a:gd name="connsiteY757" fmla="*/ 6278351 h 8861755"/>
              <a:gd name="connsiteX758" fmla="*/ 530084 w 4772243"/>
              <a:gd name="connsiteY758" fmla="*/ 6322134 h 8861755"/>
              <a:gd name="connsiteX759" fmla="*/ 542478 w 4772243"/>
              <a:gd name="connsiteY759" fmla="*/ 6365747 h 8861755"/>
              <a:gd name="connsiteX760" fmla="*/ 545589 w 4772243"/>
              <a:gd name="connsiteY760" fmla="*/ 6377702 h 8861755"/>
              <a:gd name="connsiteX761" fmla="*/ 554109 w 4772243"/>
              <a:gd name="connsiteY761" fmla="*/ 6399561 h 8861755"/>
              <a:gd name="connsiteX762" fmla="*/ 565122 w 4772243"/>
              <a:gd name="connsiteY762" fmla="*/ 6419767 h 8861755"/>
              <a:gd name="connsiteX763" fmla="*/ 578530 w 4772243"/>
              <a:gd name="connsiteY763" fmla="*/ 6438122 h 8861755"/>
              <a:gd name="connsiteX764" fmla="*/ 594984 w 4772243"/>
              <a:gd name="connsiteY764" fmla="*/ 6454613 h 8861755"/>
              <a:gd name="connsiteX765" fmla="*/ 613920 w 4772243"/>
              <a:gd name="connsiteY765" fmla="*/ 6468750 h 8861755"/>
              <a:gd name="connsiteX766" fmla="*/ 636180 w 4772243"/>
              <a:gd name="connsiteY766" fmla="*/ 6480917 h 8861755"/>
              <a:gd name="connsiteX767" fmla="*/ 661113 w 4772243"/>
              <a:gd name="connsiteY767" fmla="*/ 6491128 h 8861755"/>
              <a:gd name="connsiteX768" fmla="*/ 674917 w 4772243"/>
              <a:gd name="connsiteY768" fmla="*/ 6495253 h 8861755"/>
              <a:gd name="connsiteX769" fmla="*/ 705316 w 4772243"/>
              <a:gd name="connsiteY769" fmla="*/ 6503850 h 8861755"/>
              <a:gd name="connsiteX770" fmla="*/ 766114 w 4772243"/>
              <a:gd name="connsiteY770" fmla="*/ 6521044 h 8861755"/>
              <a:gd name="connsiteX771" fmla="*/ 795878 w 4772243"/>
              <a:gd name="connsiteY771" fmla="*/ 6531056 h 8861755"/>
              <a:gd name="connsiteX772" fmla="*/ 818463 w 4772243"/>
              <a:gd name="connsiteY772" fmla="*/ 6539111 h 8861755"/>
              <a:gd name="connsiteX773" fmla="*/ 862738 w 4772243"/>
              <a:gd name="connsiteY773" fmla="*/ 6558141 h 8861755"/>
              <a:gd name="connsiteX774" fmla="*/ 884879 w 4772243"/>
              <a:gd name="connsiteY774" fmla="*/ 6568009 h 8861755"/>
              <a:gd name="connsiteX775" fmla="*/ 872645 w 4772243"/>
              <a:gd name="connsiteY775" fmla="*/ 6538413 h 8861755"/>
              <a:gd name="connsiteX776" fmla="*/ 860013 w 4772243"/>
              <a:gd name="connsiteY776" fmla="*/ 6506623 h 8861755"/>
              <a:gd name="connsiteX777" fmla="*/ 872612 w 4772243"/>
              <a:gd name="connsiteY777" fmla="*/ 6527397 h 8861755"/>
              <a:gd name="connsiteX778" fmla="*/ 900372 w 4772243"/>
              <a:gd name="connsiteY778" fmla="*/ 6565390 h 8861755"/>
              <a:gd name="connsiteX779" fmla="*/ 932367 w 4772243"/>
              <a:gd name="connsiteY779" fmla="*/ 6599892 h 8861755"/>
              <a:gd name="connsiteX780" fmla="*/ 968503 w 4772243"/>
              <a:gd name="connsiteY780" fmla="*/ 6630706 h 8861755"/>
              <a:gd name="connsiteX781" fmla="*/ 1007574 w 4772243"/>
              <a:gd name="connsiteY781" fmla="*/ 6658055 h 8861755"/>
              <a:gd name="connsiteX782" fmla="*/ 1050793 w 4772243"/>
              <a:gd name="connsiteY782" fmla="*/ 6682414 h 8861755"/>
              <a:gd name="connsiteX783" fmla="*/ 1096765 w 4772243"/>
              <a:gd name="connsiteY783" fmla="*/ 6703616 h 8861755"/>
              <a:gd name="connsiteX784" fmla="*/ 1146053 w 4772243"/>
              <a:gd name="connsiteY784" fmla="*/ 6722144 h 8861755"/>
              <a:gd name="connsiteX785" fmla="*/ 1171986 w 4772243"/>
              <a:gd name="connsiteY785" fmla="*/ 6730329 h 8861755"/>
              <a:gd name="connsiteX786" fmla="*/ 1194190 w 4772243"/>
              <a:gd name="connsiteY786" fmla="*/ 6737591 h 8861755"/>
              <a:gd name="connsiteX787" fmla="*/ 1237345 w 4772243"/>
              <a:gd name="connsiteY787" fmla="*/ 6756345 h 8861755"/>
              <a:gd name="connsiteX788" fmla="*/ 1257361 w 4772243"/>
              <a:gd name="connsiteY788" fmla="*/ 6767255 h 8861755"/>
              <a:gd name="connsiteX789" fmla="*/ 1283921 w 4772243"/>
              <a:gd name="connsiteY789" fmla="*/ 6781539 h 8861755"/>
              <a:gd name="connsiteX790" fmla="*/ 1323903 w 4772243"/>
              <a:gd name="connsiteY790" fmla="*/ 6799155 h 8861755"/>
              <a:gd name="connsiteX791" fmla="*/ 1351344 w 4772243"/>
              <a:gd name="connsiteY791" fmla="*/ 6809113 h 8861755"/>
              <a:gd name="connsiteX792" fmla="*/ 1378855 w 4772243"/>
              <a:gd name="connsiteY792" fmla="*/ 6817168 h 8861755"/>
              <a:gd name="connsiteX793" fmla="*/ 1406724 w 4772243"/>
              <a:gd name="connsiteY793" fmla="*/ 6823915 h 8861755"/>
              <a:gd name="connsiteX794" fmla="*/ 1434759 w 4772243"/>
              <a:gd name="connsiteY794" fmla="*/ 6828953 h 8861755"/>
              <a:gd name="connsiteX795" fmla="*/ 1463238 w 4772243"/>
              <a:gd name="connsiteY795" fmla="*/ 6832182 h 8861755"/>
              <a:gd name="connsiteX796" fmla="*/ 1492169 w 4772243"/>
              <a:gd name="connsiteY796" fmla="*/ 6834299 h 8861755"/>
              <a:gd name="connsiteX797" fmla="*/ 1521449 w 4772243"/>
              <a:gd name="connsiteY797" fmla="*/ 6834406 h 8861755"/>
              <a:gd name="connsiteX798" fmla="*/ 1550436 w 4772243"/>
              <a:gd name="connsiteY798" fmla="*/ 6833218 h 8861755"/>
              <a:gd name="connsiteX799" fmla="*/ 1580335 w 4772243"/>
              <a:gd name="connsiteY799" fmla="*/ 6830508 h 8861755"/>
              <a:gd name="connsiteX800" fmla="*/ 1625154 w 4772243"/>
              <a:gd name="connsiteY800" fmla="*/ 6823991 h 8861755"/>
              <a:gd name="connsiteX801" fmla="*/ 1686062 w 4772243"/>
              <a:gd name="connsiteY801" fmla="*/ 6809937 h 8861755"/>
              <a:gd name="connsiteX802" fmla="*/ 1717276 w 4772243"/>
              <a:gd name="connsiteY802" fmla="*/ 6800392 h 8861755"/>
              <a:gd name="connsiteX803" fmla="*/ 1777747 w 4772243"/>
              <a:gd name="connsiteY803" fmla="*/ 6780639 h 8861755"/>
              <a:gd name="connsiteX804" fmla="*/ 1850902 w 4772243"/>
              <a:gd name="connsiteY804" fmla="*/ 6756523 h 8861755"/>
              <a:gd name="connsiteX805" fmla="*/ 1828712 w 4772243"/>
              <a:gd name="connsiteY805" fmla="*/ 6734241 h 8861755"/>
              <a:gd name="connsiteX806" fmla="*/ 1798899 w 4772243"/>
              <a:gd name="connsiteY806" fmla="*/ 6703599 h 8861755"/>
              <a:gd name="connsiteX807" fmla="*/ 1778527 w 4772243"/>
              <a:gd name="connsiteY807" fmla="*/ 6685786 h 8861755"/>
              <a:gd name="connsiteX808" fmla="*/ 1767476 w 4772243"/>
              <a:gd name="connsiteY808" fmla="*/ 6678499 h 8861755"/>
              <a:gd name="connsiteX809" fmla="*/ 1727698 w 4772243"/>
              <a:gd name="connsiteY809" fmla="*/ 6654470 h 8861755"/>
              <a:gd name="connsiteX810" fmla="*/ 1666535 w 4772243"/>
              <a:gd name="connsiteY810" fmla="*/ 6621460 h 8861755"/>
              <a:gd name="connsiteX811" fmla="*/ 1624387 w 4772243"/>
              <a:gd name="connsiteY811" fmla="*/ 6601384 h 8861755"/>
              <a:gd name="connsiteX812" fmla="*/ 1581144 w 4772243"/>
              <a:gd name="connsiteY812" fmla="*/ 6583134 h 8861755"/>
              <a:gd name="connsiteX813" fmla="*/ 1536251 w 4772243"/>
              <a:gd name="connsiteY813" fmla="*/ 6566919 h 8861755"/>
              <a:gd name="connsiteX814" fmla="*/ 1490176 w 4772243"/>
              <a:gd name="connsiteY814" fmla="*/ 6553031 h 8861755"/>
              <a:gd name="connsiteX815" fmla="*/ 1442277 w 4772243"/>
              <a:gd name="connsiteY815" fmla="*/ 6542186 h 8861755"/>
              <a:gd name="connsiteX816" fmla="*/ 1417503 w 4772243"/>
              <a:gd name="connsiteY816" fmla="*/ 6537780 h 8861755"/>
              <a:gd name="connsiteX817" fmla="*/ 1400923 w 4772243"/>
              <a:gd name="connsiteY817" fmla="*/ 6534712 h 8861755"/>
              <a:gd name="connsiteX818" fmla="*/ 1369049 w 4772243"/>
              <a:gd name="connsiteY818" fmla="*/ 6527146 h 8861755"/>
              <a:gd name="connsiteX819" fmla="*/ 1338823 w 4772243"/>
              <a:gd name="connsiteY819" fmla="*/ 6517545 h 8861755"/>
              <a:gd name="connsiteX820" fmla="*/ 1310717 w 4772243"/>
              <a:gd name="connsiteY820" fmla="*/ 6506197 h 8861755"/>
              <a:gd name="connsiteX821" fmla="*/ 1283705 w 4772243"/>
              <a:gd name="connsiteY821" fmla="*/ 6493024 h 8861755"/>
              <a:gd name="connsiteX822" fmla="*/ 1258438 w 4772243"/>
              <a:gd name="connsiteY822" fmla="*/ 6478015 h 8861755"/>
              <a:gd name="connsiteX823" fmla="*/ 1233710 w 4772243"/>
              <a:gd name="connsiteY823" fmla="*/ 6461391 h 8861755"/>
              <a:gd name="connsiteX824" fmla="*/ 1210259 w 4772243"/>
              <a:gd name="connsiteY824" fmla="*/ 6442639 h 8861755"/>
              <a:gd name="connsiteX825" fmla="*/ 1198622 w 4772243"/>
              <a:gd name="connsiteY825" fmla="*/ 6432760 h 8861755"/>
              <a:gd name="connsiteX826" fmla="*/ 1177876 w 4772243"/>
              <a:gd name="connsiteY826" fmla="*/ 6414854 h 8861755"/>
              <a:gd name="connsiteX827" fmla="*/ 1131959 w 4772243"/>
              <a:gd name="connsiteY827" fmla="*/ 6382136 h 8861755"/>
              <a:gd name="connsiteX828" fmla="*/ 1083178 w 4772243"/>
              <a:gd name="connsiteY828" fmla="*/ 6350978 h 8861755"/>
              <a:gd name="connsiteX829" fmla="*/ 1035421 w 4772243"/>
              <a:gd name="connsiteY829" fmla="*/ 6319900 h 8861755"/>
              <a:gd name="connsiteX830" fmla="*/ 1012740 w 4772243"/>
              <a:gd name="connsiteY830" fmla="*/ 6303436 h 8861755"/>
              <a:gd name="connsiteX831" fmla="*/ 994835 w 4772243"/>
              <a:gd name="connsiteY831" fmla="*/ 6290080 h 8861755"/>
              <a:gd name="connsiteX832" fmla="*/ 961246 w 4772243"/>
              <a:gd name="connsiteY832" fmla="*/ 6262519 h 8861755"/>
              <a:gd name="connsiteX833" fmla="*/ 912885 w 4772243"/>
              <a:gd name="connsiteY833" fmla="*/ 6219235 h 8861755"/>
              <a:gd name="connsiteX834" fmla="*/ 881691 w 4772243"/>
              <a:gd name="connsiteY834" fmla="*/ 6189824 h 8861755"/>
              <a:gd name="connsiteX835" fmla="*/ 879334 w 4772243"/>
              <a:gd name="connsiteY835" fmla="*/ 6186968 h 8861755"/>
              <a:gd name="connsiteX836" fmla="*/ 879516 w 4772243"/>
              <a:gd name="connsiteY836" fmla="*/ 6178452 h 8861755"/>
              <a:gd name="connsiteX837" fmla="*/ 881999 w 4772243"/>
              <a:gd name="connsiteY837" fmla="*/ 6167886 h 8861755"/>
              <a:gd name="connsiteX838" fmla="*/ 883648 w 4772243"/>
              <a:gd name="connsiteY838" fmla="*/ 6157638 h 8861755"/>
              <a:gd name="connsiteX839" fmla="*/ 882759 w 4772243"/>
              <a:gd name="connsiteY839" fmla="*/ 6153049 h 8861755"/>
              <a:gd name="connsiteX840" fmla="*/ 876674 w 4772243"/>
              <a:gd name="connsiteY840" fmla="*/ 6132843 h 8861755"/>
              <a:gd name="connsiteX841" fmla="*/ 870896 w 4772243"/>
              <a:gd name="connsiteY841" fmla="*/ 6098911 h 8861755"/>
              <a:gd name="connsiteX842" fmla="*/ 870991 w 4772243"/>
              <a:gd name="connsiteY842" fmla="*/ 6082686 h 8861755"/>
              <a:gd name="connsiteX843" fmla="*/ 872974 w 4772243"/>
              <a:gd name="connsiteY843" fmla="*/ 6077238 h 8861755"/>
              <a:gd name="connsiteX844" fmla="*/ 876504 w 4772243"/>
              <a:gd name="connsiteY844" fmla="*/ 6077066 h 8861755"/>
              <a:gd name="connsiteX845" fmla="*/ 881406 w 4772243"/>
              <a:gd name="connsiteY845" fmla="*/ 6083175 h 8861755"/>
              <a:gd name="connsiteX846" fmla="*/ 884723 w 4772243"/>
              <a:gd name="connsiteY846" fmla="*/ 6088716 h 8861755"/>
              <a:gd name="connsiteX847" fmla="*/ 891499 w 4772243"/>
              <a:gd name="connsiteY847" fmla="*/ 6104202 h 8861755"/>
              <a:gd name="connsiteX848" fmla="*/ 900512 w 4772243"/>
              <a:gd name="connsiteY848" fmla="*/ 6136667 h 8861755"/>
              <a:gd name="connsiteX849" fmla="*/ 904043 w 4772243"/>
              <a:gd name="connsiteY849" fmla="*/ 6152918 h 8861755"/>
              <a:gd name="connsiteX850" fmla="*/ 906669 w 4772243"/>
              <a:gd name="connsiteY850" fmla="*/ 6163180 h 8861755"/>
              <a:gd name="connsiteX851" fmla="*/ 913858 w 4772243"/>
              <a:gd name="connsiteY851" fmla="*/ 6182261 h 8861755"/>
              <a:gd name="connsiteX852" fmla="*/ 922895 w 4772243"/>
              <a:gd name="connsiteY852" fmla="*/ 6200405 h 8861755"/>
              <a:gd name="connsiteX853" fmla="*/ 934239 w 4772243"/>
              <a:gd name="connsiteY853" fmla="*/ 6217200 h 8861755"/>
              <a:gd name="connsiteX854" fmla="*/ 948075 w 4772243"/>
              <a:gd name="connsiteY854" fmla="*/ 6232342 h 8861755"/>
              <a:gd name="connsiteX855" fmla="*/ 963387 w 4772243"/>
              <a:gd name="connsiteY855" fmla="*/ 6246453 h 8861755"/>
              <a:gd name="connsiteX856" fmla="*/ 980451 w 4772243"/>
              <a:gd name="connsiteY856" fmla="*/ 6259425 h 8861755"/>
              <a:gd name="connsiteX857" fmla="*/ 999919 w 4772243"/>
              <a:gd name="connsiteY857" fmla="*/ 6271248 h 8861755"/>
              <a:gd name="connsiteX858" fmla="*/ 1010017 w 4772243"/>
              <a:gd name="connsiteY858" fmla="*/ 6276552 h 8861755"/>
              <a:gd name="connsiteX859" fmla="*/ 1084993 w 4772243"/>
              <a:gd name="connsiteY859" fmla="*/ 6314389 h 8861755"/>
              <a:gd name="connsiteX860" fmla="*/ 1164736 w 4772243"/>
              <a:gd name="connsiteY860" fmla="*/ 6354632 h 8861755"/>
              <a:gd name="connsiteX861" fmla="*/ 1053440 w 4772243"/>
              <a:gd name="connsiteY861" fmla="*/ 6122750 h 8861755"/>
              <a:gd name="connsiteX862" fmla="*/ 1055939 w 4772243"/>
              <a:gd name="connsiteY862" fmla="*/ 6121797 h 8861755"/>
              <a:gd name="connsiteX863" fmla="*/ 1058533 w 4772243"/>
              <a:gd name="connsiteY863" fmla="*/ 6121044 h 8861755"/>
              <a:gd name="connsiteX864" fmla="*/ 1140654 w 4772243"/>
              <a:gd name="connsiteY864" fmla="*/ 6264089 h 8861755"/>
              <a:gd name="connsiteX865" fmla="*/ 1223140 w 4772243"/>
              <a:gd name="connsiteY865" fmla="*/ 6406526 h 8861755"/>
              <a:gd name="connsiteX866" fmla="*/ 1232233 w 4772243"/>
              <a:gd name="connsiteY866" fmla="*/ 6421363 h 8861755"/>
              <a:gd name="connsiteX867" fmla="*/ 1255200 w 4772243"/>
              <a:gd name="connsiteY867" fmla="*/ 6446635 h 8861755"/>
              <a:gd name="connsiteX868" fmla="*/ 1275548 w 4772243"/>
              <a:gd name="connsiteY868" fmla="*/ 6462345 h 8861755"/>
              <a:gd name="connsiteX869" fmla="*/ 1290803 w 4772243"/>
              <a:gd name="connsiteY869" fmla="*/ 6471550 h 8861755"/>
              <a:gd name="connsiteX870" fmla="*/ 1307248 w 4772243"/>
              <a:gd name="connsiteY870" fmla="*/ 6479128 h 8861755"/>
              <a:gd name="connsiteX871" fmla="*/ 1325725 w 4772243"/>
              <a:gd name="connsiteY871" fmla="*/ 6485463 h 8861755"/>
              <a:gd name="connsiteX872" fmla="*/ 1335331 w 4772243"/>
              <a:gd name="connsiteY872" fmla="*/ 6488373 h 8861755"/>
              <a:gd name="connsiteX873" fmla="*/ 1509666 w 4772243"/>
              <a:gd name="connsiteY873" fmla="*/ 6534110 h 8861755"/>
              <a:gd name="connsiteX874" fmla="*/ 1679153 w 4772243"/>
              <a:gd name="connsiteY874" fmla="*/ 6578643 h 8861755"/>
              <a:gd name="connsiteX875" fmla="*/ 1577474 w 4772243"/>
              <a:gd name="connsiteY875" fmla="*/ 6366794 h 8861755"/>
              <a:gd name="connsiteX876" fmla="*/ 1585168 w 4772243"/>
              <a:gd name="connsiteY876" fmla="*/ 6373248 h 8861755"/>
              <a:gd name="connsiteX877" fmla="*/ 1592301 w 4772243"/>
              <a:gd name="connsiteY877" fmla="*/ 6379211 h 8861755"/>
              <a:gd name="connsiteX878" fmla="*/ 1578461 w 4772243"/>
              <a:gd name="connsiteY878" fmla="*/ 6298374 h 8861755"/>
              <a:gd name="connsiteX879" fmla="*/ 1564319 w 4772243"/>
              <a:gd name="connsiteY879" fmla="*/ 6215540 h 8861755"/>
              <a:gd name="connsiteX880" fmla="*/ 1563518 w 4772243"/>
              <a:gd name="connsiteY880" fmla="*/ 6210449 h 8861755"/>
              <a:gd name="connsiteX881" fmla="*/ 1565350 w 4772243"/>
              <a:gd name="connsiteY881" fmla="*/ 6199897 h 8861755"/>
              <a:gd name="connsiteX882" fmla="*/ 1569712 w 4772243"/>
              <a:gd name="connsiteY882" fmla="*/ 6191196 h 8861755"/>
              <a:gd name="connsiteX883" fmla="*/ 1574202 w 4772243"/>
              <a:gd name="connsiteY883" fmla="*/ 6185497 h 8861755"/>
              <a:gd name="connsiteX884" fmla="*/ 1575868 w 4772243"/>
              <a:gd name="connsiteY884" fmla="*/ 6184863 h 8861755"/>
              <a:gd name="connsiteX885" fmla="*/ 1588269 w 4772243"/>
              <a:gd name="connsiteY885" fmla="*/ 6229176 h 8861755"/>
              <a:gd name="connsiteX886" fmla="*/ 1614280 w 4772243"/>
              <a:gd name="connsiteY886" fmla="*/ 6334001 h 8861755"/>
              <a:gd name="connsiteX887" fmla="*/ 1627554 w 4772243"/>
              <a:gd name="connsiteY887" fmla="*/ 6381501 h 8861755"/>
              <a:gd name="connsiteX888" fmla="*/ 1629386 w 4772243"/>
              <a:gd name="connsiteY888" fmla="*/ 6379161 h 8861755"/>
              <a:gd name="connsiteX889" fmla="*/ 1631052 w 4772243"/>
              <a:gd name="connsiteY889" fmla="*/ 6370314 h 8861755"/>
              <a:gd name="connsiteX890" fmla="*/ 1632828 w 4772243"/>
              <a:gd name="connsiteY890" fmla="*/ 6354856 h 8861755"/>
              <a:gd name="connsiteX891" fmla="*/ 1634541 w 4772243"/>
              <a:gd name="connsiteY891" fmla="*/ 6350215 h 8861755"/>
              <a:gd name="connsiteX892" fmla="*/ 1636382 w 4772243"/>
              <a:gd name="connsiteY892" fmla="*/ 6348574 h 8861755"/>
              <a:gd name="connsiteX893" fmla="*/ 1640181 w 4772243"/>
              <a:gd name="connsiteY893" fmla="*/ 6347596 h 8861755"/>
              <a:gd name="connsiteX894" fmla="*/ 1645393 w 4772243"/>
              <a:gd name="connsiteY894" fmla="*/ 6348191 h 8861755"/>
              <a:gd name="connsiteX895" fmla="*/ 1647741 w 4772243"/>
              <a:gd name="connsiteY895" fmla="*/ 6350347 h 8861755"/>
              <a:gd name="connsiteX896" fmla="*/ 1645957 w 4772243"/>
              <a:gd name="connsiteY896" fmla="*/ 6356893 h 8861755"/>
              <a:gd name="connsiteX897" fmla="*/ 1643801 w 4772243"/>
              <a:gd name="connsiteY897" fmla="*/ 6371558 h 8861755"/>
              <a:gd name="connsiteX898" fmla="*/ 1643905 w 4772243"/>
              <a:gd name="connsiteY898" fmla="*/ 6397094 h 8861755"/>
              <a:gd name="connsiteX899" fmla="*/ 1650015 w 4772243"/>
              <a:gd name="connsiteY899" fmla="*/ 6435826 h 8861755"/>
              <a:gd name="connsiteX900" fmla="*/ 1663322 w 4772243"/>
              <a:gd name="connsiteY900" fmla="*/ 6477917 h 8861755"/>
              <a:gd name="connsiteX901" fmla="*/ 1683703 w 4772243"/>
              <a:gd name="connsiteY901" fmla="*/ 6521066 h 8861755"/>
              <a:gd name="connsiteX902" fmla="*/ 1704228 w 4772243"/>
              <a:gd name="connsiteY902" fmla="*/ 6552196 h 8861755"/>
              <a:gd name="connsiteX903" fmla="*/ 1719697 w 4772243"/>
              <a:gd name="connsiteY903" fmla="*/ 6572112 h 8861755"/>
              <a:gd name="connsiteX904" fmla="*/ 1737103 w 4772243"/>
              <a:gd name="connsiteY904" fmla="*/ 6590586 h 8861755"/>
              <a:gd name="connsiteX905" fmla="*/ 1756730 w 4772243"/>
              <a:gd name="connsiteY905" fmla="*/ 6608215 h 8861755"/>
              <a:gd name="connsiteX906" fmla="*/ 1777729 w 4772243"/>
              <a:gd name="connsiteY906" fmla="*/ 6623912 h 8861755"/>
              <a:gd name="connsiteX907" fmla="*/ 1800751 w 4772243"/>
              <a:gd name="connsiteY907" fmla="*/ 6637667 h 8861755"/>
              <a:gd name="connsiteX908" fmla="*/ 1812810 w 4772243"/>
              <a:gd name="connsiteY908" fmla="*/ 6643631 h 8861755"/>
              <a:gd name="connsiteX909" fmla="*/ 1820005 w 4772243"/>
              <a:gd name="connsiteY909" fmla="*/ 6646990 h 8861755"/>
              <a:gd name="connsiteX910" fmla="*/ 1832832 w 4772243"/>
              <a:gd name="connsiteY910" fmla="*/ 6655243 h 8861755"/>
              <a:gd name="connsiteX911" fmla="*/ 1850849 w 4772243"/>
              <a:gd name="connsiteY911" fmla="*/ 6670200 h 8861755"/>
              <a:gd name="connsiteX912" fmla="*/ 1883241 w 4772243"/>
              <a:gd name="connsiteY912" fmla="*/ 6706896 h 8861755"/>
              <a:gd name="connsiteX913" fmla="*/ 1907422 w 4772243"/>
              <a:gd name="connsiteY913" fmla="*/ 6732645 h 8861755"/>
              <a:gd name="connsiteX914" fmla="*/ 1927135 w 4772243"/>
              <a:gd name="connsiteY914" fmla="*/ 6725135 h 8861755"/>
              <a:gd name="connsiteX915" fmla="*/ 1964754 w 4772243"/>
              <a:gd name="connsiteY915" fmla="*/ 6711924 h 8861755"/>
              <a:gd name="connsiteX916" fmla="*/ 1964581 w 4772243"/>
              <a:gd name="connsiteY916" fmla="*/ 6691254 h 8861755"/>
              <a:gd name="connsiteX917" fmla="*/ 1961258 w 4772243"/>
              <a:gd name="connsiteY917" fmla="*/ 6619424 h 8861755"/>
              <a:gd name="connsiteX918" fmla="*/ 1959748 w 4772243"/>
              <a:gd name="connsiteY918" fmla="*/ 6599785 h 8861755"/>
              <a:gd name="connsiteX919" fmla="*/ 1954009 w 4772243"/>
              <a:gd name="connsiteY919" fmla="*/ 6560238 h 8861755"/>
              <a:gd name="connsiteX920" fmla="*/ 1941625 w 4772243"/>
              <a:gd name="connsiteY920" fmla="*/ 6501322 h 8861755"/>
              <a:gd name="connsiteX921" fmla="*/ 1934839 w 4772243"/>
              <a:gd name="connsiteY921" fmla="*/ 6465542 h 8861755"/>
              <a:gd name="connsiteX922" fmla="*/ 1934839 w 4772243"/>
              <a:gd name="connsiteY922" fmla="*/ 6056212 h 8861755"/>
              <a:gd name="connsiteX923" fmla="*/ 1959748 w 4772243"/>
              <a:gd name="connsiteY923" fmla="*/ 6000664 h 8861755"/>
              <a:gd name="connsiteX924" fmla="*/ 2011700 w 4772243"/>
              <a:gd name="connsiteY924" fmla="*/ 5894130 h 8861755"/>
              <a:gd name="connsiteX925" fmla="*/ 2053986 w 4772243"/>
              <a:gd name="connsiteY925" fmla="*/ 5818265 h 8861755"/>
              <a:gd name="connsiteX926" fmla="*/ 2081473 w 4772243"/>
              <a:gd name="connsiteY926" fmla="*/ 5773337 h 8861755"/>
              <a:gd name="connsiteX927" fmla="*/ 2091010 w 4772243"/>
              <a:gd name="connsiteY927" fmla="*/ 5754708 h 8861755"/>
              <a:gd name="connsiteX928" fmla="*/ 2094789 w 4772243"/>
              <a:gd name="connsiteY928" fmla="*/ 5753197 h 8861755"/>
              <a:gd name="connsiteX929" fmla="*/ 2103882 w 4772243"/>
              <a:gd name="connsiteY929" fmla="*/ 5748367 h 8861755"/>
              <a:gd name="connsiteX930" fmla="*/ 2116669 w 4772243"/>
              <a:gd name="connsiteY930" fmla="*/ 5763424 h 8861755"/>
              <a:gd name="connsiteX931" fmla="*/ 2143664 w 4772243"/>
              <a:gd name="connsiteY931" fmla="*/ 5789561 h 8861755"/>
              <a:gd name="connsiteX932" fmla="*/ 2172364 w 4772243"/>
              <a:gd name="connsiteY932" fmla="*/ 5810868 h 8861755"/>
              <a:gd name="connsiteX933" fmla="*/ 2197462 w 4772243"/>
              <a:gd name="connsiteY933" fmla="*/ 5824809 h 8861755"/>
              <a:gd name="connsiteX934" fmla="*/ 2197156 w 4772243"/>
              <a:gd name="connsiteY934" fmla="*/ 5824991 h 8861755"/>
              <a:gd name="connsiteX935" fmla="*/ 2181751 w 4772243"/>
              <a:gd name="connsiteY935" fmla="*/ 5836827 h 8861755"/>
              <a:gd name="connsiteX936" fmla="*/ 2169971 w 4772243"/>
              <a:gd name="connsiteY936" fmla="*/ 5849741 h 8861755"/>
              <a:gd name="connsiteX937" fmla="*/ 2165743 w 4772243"/>
              <a:gd name="connsiteY937" fmla="*/ 5856466 h 8861755"/>
              <a:gd name="connsiteX938" fmla="*/ 2146412 w 4772243"/>
              <a:gd name="connsiteY938" fmla="*/ 5891171 h 8861755"/>
              <a:gd name="connsiteX939" fmla="*/ 2111375 w 4772243"/>
              <a:gd name="connsiteY939" fmla="*/ 5960579 h 8861755"/>
              <a:gd name="connsiteX940" fmla="*/ 2079962 w 4772243"/>
              <a:gd name="connsiteY940" fmla="*/ 6030257 h 8861755"/>
              <a:gd name="connsiteX941" fmla="*/ 2053684 w 4772243"/>
              <a:gd name="connsiteY941" fmla="*/ 6101011 h 8861755"/>
              <a:gd name="connsiteX942" fmla="*/ 2033447 w 4772243"/>
              <a:gd name="connsiteY942" fmla="*/ 6172840 h 8861755"/>
              <a:gd name="connsiteX943" fmla="*/ 2020157 w 4772243"/>
              <a:gd name="connsiteY943" fmla="*/ 6245747 h 8861755"/>
              <a:gd name="connsiteX944" fmla="*/ 2015022 w 4772243"/>
              <a:gd name="connsiteY944" fmla="*/ 6301435 h 8861755"/>
              <a:gd name="connsiteX945" fmla="*/ 2014116 w 4772243"/>
              <a:gd name="connsiteY945" fmla="*/ 6338829 h 8861755"/>
              <a:gd name="connsiteX946" fmla="*/ 2015627 w 4772243"/>
              <a:gd name="connsiteY946" fmla="*/ 6376763 h 8861755"/>
              <a:gd name="connsiteX947" fmla="*/ 2019250 w 4772243"/>
              <a:gd name="connsiteY947" fmla="*/ 6415234 h 8861755"/>
              <a:gd name="connsiteX948" fmla="*/ 2021969 w 4772243"/>
              <a:gd name="connsiteY948" fmla="*/ 6434334 h 8861755"/>
              <a:gd name="connsiteX949" fmla="*/ 2029520 w 4772243"/>
              <a:gd name="connsiteY949" fmla="*/ 6483834 h 8861755"/>
              <a:gd name="connsiteX950" fmla="*/ 2040696 w 4772243"/>
              <a:gd name="connsiteY950" fmla="*/ 6583374 h 8861755"/>
              <a:gd name="connsiteX951" fmla="*/ 2049153 w 4772243"/>
              <a:gd name="connsiteY951" fmla="*/ 6682913 h 8861755"/>
              <a:gd name="connsiteX952" fmla="*/ 2054590 w 4772243"/>
              <a:gd name="connsiteY952" fmla="*/ 6782722 h 8861755"/>
              <a:gd name="connsiteX953" fmla="*/ 2056403 w 4772243"/>
              <a:gd name="connsiteY953" fmla="*/ 6832492 h 8861755"/>
              <a:gd name="connsiteX954" fmla="*/ 2057007 w 4772243"/>
              <a:gd name="connsiteY954" fmla="*/ 6852401 h 8861755"/>
              <a:gd name="connsiteX955" fmla="*/ 2053684 w 4772243"/>
              <a:gd name="connsiteY955" fmla="*/ 6891140 h 8861755"/>
              <a:gd name="connsiteX956" fmla="*/ 2045227 w 4772243"/>
              <a:gd name="connsiteY956" fmla="*/ 6927996 h 8861755"/>
              <a:gd name="connsiteX957" fmla="*/ 2031333 w 4772243"/>
              <a:gd name="connsiteY957" fmla="*/ 6963239 h 8861755"/>
              <a:gd name="connsiteX958" fmla="*/ 2012304 w 4772243"/>
              <a:gd name="connsiteY958" fmla="*/ 6996867 h 8861755"/>
              <a:gd name="connsiteX959" fmla="*/ 1987536 w 4772243"/>
              <a:gd name="connsiteY959" fmla="*/ 7028074 h 8861755"/>
              <a:gd name="connsiteX960" fmla="*/ 1957029 w 4772243"/>
              <a:gd name="connsiteY960" fmla="*/ 7057397 h 8861755"/>
              <a:gd name="connsiteX961" fmla="*/ 1920482 w 4772243"/>
              <a:gd name="connsiteY961" fmla="*/ 7085107 h 8861755"/>
              <a:gd name="connsiteX962" fmla="*/ 1899943 w 4772243"/>
              <a:gd name="connsiteY962" fmla="*/ 7097483 h 8861755"/>
              <a:gd name="connsiteX963" fmla="*/ 1886955 w 4772243"/>
              <a:gd name="connsiteY963" fmla="*/ 7105553 h 8861755"/>
              <a:gd name="connsiteX964" fmla="*/ 1863093 w 4772243"/>
              <a:gd name="connsiteY964" fmla="*/ 7124117 h 8861755"/>
              <a:gd name="connsiteX965" fmla="*/ 1829868 w 4772243"/>
              <a:gd name="connsiteY965" fmla="*/ 7154516 h 8861755"/>
              <a:gd name="connsiteX966" fmla="*/ 1807517 w 4772243"/>
              <a:gd name="connsiteY966" fmla="*/ 7174693 h 8861755"/>
              <a:gd name="connsiteX967" fmla="*/ 1800872 w 4772243"/>
              <a:gd name="connsiteY967" fmla="*/ 7180881 h 8861755"/>
              <a:gd name="connsiteX968" fmla="*/ 1793925 w 4772243"/>
              <a:gd name="connsiteY968" fmla="*/ 7193525 h 8861755"/>
              <a:gd name="connsiteX969" fmla="*/ 1793019 w 4772243"/>
              <a:gd name="connsiteY969" fmla="*/ 7206707 h 8861755"/>
              <a:gd name="connsiteX970" fmla="*/ 1797247 w 4772243"/>
              <a:gd name="connsiteY970" fmla="*/ 7221773 h 8861755"/>
              <a:gd name="connsiteX971" fmla="*/ 1801174 w 4772243"/>
              <a:gd name="connsiteY971" fmla="*/ 7229843 h 8861755"/>
              <a:gd name="connsiteX972" fmla="*/ 1841950 w 4772243"/>
              <a:gd name="connsiteY972" fmla="*/ 7314855 h 8861755"/>
              <a:gd name="connsiteX973" fmla="*/ 1919878 w 4772243"/>
              <a:gd name="connsiteY973" fmla="*/ 7485957 h 8861755"/>
              <a:gd name="connsiteX974" fmla="*/ 1958539 w 4772243"/>
              <a:gd name="connsiteY974" fmla="*/ 7571507 h 8861755"/>
              <a:gd name="connsiteX975" fmla="*/ 1953405 w 4772243"/>
              <a:gd name="connsiteY975" fmla="*/ 7573121 h 8861755"/>
              <a:gd name="connsiteX976" fmla="*/ 1948270 w 4772243"/>
              <a:gd name="connsiteY976" fmla="*/ 7575004 h 8861755"/>
              <a:gd name="connsiteX977" fmla="*/ 1921086 w 4772243"/>
              <a:gd name="connsiteY977" fmla="*/ 7530077 h 8861755"/>
              <a:gd name="connsiteX978" fmla="*/ 1893298 w 4772243"/>
              <a:gd name="connsiteY978" fmla="*/ 7485417 h 8861755"/>
              <a:gd name="connsiteX979" fmla="*/ 1889673 w 4772243"/>
              <a:gd name="connsiteY979" fmla="*/ 7513935 h 8861755"/>
              <a:gd name="connsiteX980" fmla="*/ 1885143 w 4772243"/>
              <a:gd name="connsiteY980" fmla="*/ 7570700 h 8861755"/>
              <a:gd name="connsiteX981" fmla="*/ 1883028 w 4772243"/>
              <a:gd name="connsiteY981" fmla="*/ 7626927 h 8861755"/>
              <a:gd name="connsiteX982" fmla="*/ 1883028 w 4772243"/>
              <a:gd name="connsiteY982" fmla="*/ 7682345 h 8861755"/>
              <a:gd name="connsiteX983" fmla="*/ 1884237 w 4772243"/>
              <a:gd name="connsiteY983" fmla="*/ 7710323 h 8861755"/>
              <a:gd name="connsiteX984" fmla="*/ 1886955 w 4772243"/>
              <a:gd name="connsiteY984" fmla="*/ 7764937 h 8861755"/>
              <a:gd name="connsiteX985" fmla="*/ 1897224 w 4772243"/>
              <a:gd name="connsiteY985" fmla="*/ 7874699 h 8861755"/>
              <a:gd name="connsiteX986" fmla="*/ 1901755 w 4772243"/>
              <a:gd name="connsiteY986" fmla="*/ 7929581 h 8861755"/>
              <a:gd name="connsiteX987" fmla="*/ 1896318 w 4772243"/>
              <a:gd name="connsiteY987" fmla="*/ 7916667 h 8861755"/>
              <a:gd name="connsiteX988" fmla="*/ 1886955 w 4772243"/>
              <a:gd name="connsiteY988" fmla="*/ 7889765 h 8861755"/>
              <a:gd name="connsiteX989" fmla="*/ 1879404 w 4772243"/>
              <a:gd name="connsiteY989" fmla="*/ 7862861 h 8861755"/>
              <a:gd name="connsiteX990" fmla="*/ 1874571 w 4772243"/>
              <a:gd name="connsiteY990" fmla="*/ 7835690 h 8861755"/>
              <a:gd name="connsiteX991" fmla="*/ 1872758 w 4772243"/>
              <a:gd name="connsiteY991" fmla="*/ 7822239 h 8861755"/>
              <a:gd name="connsiteX992" fmla="*/ 1864604 w 4772243"/>
              <a:gd name="connsiteY992" fmla="*/ 7735075 h 8861755"/>
              <a:gd name="connsiteX993" fmla="*/ 1849803 w 4772243"/>
              <a:gd name="connsiteY993" fmla="*/ 7560207 h 8861755"/>
              <a:gd name="connsiteX994" fmla="*/ 1840742 w 4772243"/>
              <a:gd name="connsiteY994" fmla="*/ 7473043 h 8861755"/>
              <a:gd name="connsiteX995" fmla="*/ 1836815 w 4772243"/>
              <a:gd name="connsiteY995" fmla="*/ 7443719 h 8861755"/>
              <a:gd name="connsiteX996" fmla="*/ 1827754 w 4772243"/>
              <a:gd name="connsiteY996" fmla="*/ 7400944 h 8861755"/>
              <a:gd name="connsiteX997" fmla="*/ 1819599 w 4772243"/>
              <a:gd name="connsiteY997" fmla="*/ 7372427 h 8861755"/>
              <a:gd name="connsiteX998" fmla="*/ 1809329 w 4772243"/>
              <a:gd name="connsiteY998" fmla="*/ 7343641 h 8861755"/>
              <a:gd name="connsiteX999" fmla="*/ 1796643 w 4772243"/>
              <a:gd name="connsiteY999" fmla="*/ 7315931 h 8861755"/>
              <a:gd name="connsiteX1000" fmla="*/ 1781541 w 4772243"/>
              <a:gd name="connsiteY1000" fmla="*/ 7287953 h 8861755"/>
              <a:gd name="connsiteX1001" fmla="*/ 1763116 w 4772243"/>
              <a:gd name="connsiteY1001" fmla="*/ 7260513 h 8861755"/>
              <a:gd name="connsiteX1002" fmla="*/ 1753149 w 4772243"/>
              <a:gd name="connsiteY1002" fmla="*/ 7246792 h 8861755"/>
              <a:gd name="connsiteX1003" fmla="*/ 1728683 w 4772243"/>
              <a:gd name="connsiteY1003" fmla="*/ 7294679 h 8861755"/>
              <a:gd name="connsiteX1004" fmla="*/ 1705727 w 4772243"/>
              <a:gd name="connsiteY1004" fmla="*/ 7337185 h 8861755"/>
              <a:gd name="connsiteX1005" fmla="*/ 1691532 w 4772243"/>
              <a:gd name="connsiteY1005" fmla="*/ 7361667 h 8861755"/>
              <a:gd name="connsiteX1006" fmla="*/ 1667066 w 4772243"/>
              <a:gd name="connsiteY1006" fmla="*/ 7411435 h 8861755"/>
              <a:gd name="connsiteX1007" fmla="*/ 1646829 w 4772243"/>
              <a:gd name="connsiteY1007" fmla="*/ 7461743 h 8861755"/>
              <a:gd name="connsiteX1008" fmla="*/ 1631425 w 4772243"/>
              <a:gd name="connsiteY1008" fmla="*/ 7512859 h 8861755"/>
              <a:gd name="connsiteX1009" fmla="*/ 1619644 w 4772243"/>
              <a:gd name="connsiteY1009" fmla="*/ 7564511 h 8861755"/>
              <a:gd name="connsiteX1010" fmla="*/ 1612395 w 4772243"/>
              <a:gd name="connsiteY1010" fmla="*/ 7616434 h 8861755"/>
              <a:gd name="connsiteX1011" fmla="*/ 1609375 w 4772243"/>
              <a:gd name="connsiteY1011" fmla="*/ 7669432 h 8861755"/>
              <a:gd name="connsiteX1012" fmla="*/ 1610584 w 4772243"/>
              <a:gd name="connsiteY1012" fmla="*/ 7722699 h 8861755"/>
              <a:gd name="connsiteX1013" fmla="*/ 1612999 w 4772243"/>
              <a:gd name="connsiteY1013" fmla="*/ 7749871 h 8861755"/>
              <a:gd name="connsiteX1014" fmla="*/ 1616020 w 4772243"/>
              <a:gd name="connsiteY1014" fmla="*/ 7778925 h 8861755"/>
              <a:gd name="connsiteX1015" fmla="*/ 1627498 w 4772243"/>
              <a:gd name="connsiteY1015" fmla="*/ 7835421 h 8861755"/>
              <a:gd name="connsiteX1016" fmla="*/ 1644110 w 4772243"/>
              <a:gd name="connsiteY1016" fmla="*/ 7889495 h 8861755"/>
              <a:gd name="connsiteX1017" fmla="*/ 1667368 w 4772243"/>
              <a:gd name="connsiteY1017" fmla="*/ 7940610 h 8861755"/>
              <a:gd name="connsiteX1018" fmla="*/ 1689719 w 4772243"/>
              <a:gd name="connsiteY1018" fmla="*/ 7977467 h 8861755"/>
              <a:gd name="connsiteX1019" fmla="*/ 1706332 w 4772243"/>
              <a:gd name="connsiteY1019" fmla="*/ 8000603 h 8861755"/>
              <a:gd name="connsiteX1020" fmla="*/ 1725360 w 4772243"/>
              <a:gd name="connsiteY1020" fmla="*/ 8023470 h 8861755"/>
              <a:gd name="connsiteX1021" fmla="*/ 1745899 w 4772243"/>
              <a:gd name="connsiteY1021" fmla="*/ 8045262 h 8861755"/>
              <a:gd name="connsiteX1022" fmla="*/ 1768855 w 4772243"/>
              <a:gd name="connsiteY1022" fmla="*/ 8066245 h 8861755"/>
              <a:gd name="connsiteX1023" fmla="*/ 1793925 w 4772243"/>
              <a:gd name="connsiteY1023" fmla="*/ 8086422 h 8861755"/>
              <a:gd name="connsiteX1024" fmla="*/ 1820505 w 4772243"/>
              <a:gd name="connsiteY1024" fmla="*/ 8106061 h 8861755"/>
              <a:gd name="connsiteX1025" fmla="*/ 1849803 w 4772243"/>
              <a:gd name="connsiteY1025" fmla="*/ 8124625 h 8861755"/>
              <a:gd name="connsiteX1026" fmla="*/ 1865510 w 4772243"/>
              <a:gd name="connsiteY1026" fmla="*/ 8133503 h 8861755"/>
              <a:gd name="connsiteX1027" fmla="*/ 1883935 w 4772243"/>
              <a:gd name="connsiteY1027" fmla="*/ 8144801 h 8861755"/>
              <a:gd name="connsiteX1028" fmla="*/ 1928033 w 4772243"/>
              <a:gd name="connsiteY1028" fmla="*/ 8176008 h 8861755"/>
              <a:gd name="connsiteX1029" fmla="*/ 1997805 w 4772243"/>
              <a:gd name="connsiteY1029" fmla="*/ 8229813 h 8861755"/>
              <a:gd name="connsiteX1030" fmla="*/ 2035259 w 4772243"/>
              <a:gd name="connsiteY1030" fmla="*/ 8256178 h 8861755"/>
              <a:gd name="connsiteX1031" fmla="*/ 2066370 w 4772243"/>
              <a:gd name="connsiteY1031" fmla="*/ 8276624 h 8861755"/>
              <a:gd name="connsiteX1032" fmla="*/ 2123155 w 4772243"/>
              <a:gd name="connsiteY1032" fmla="*/ 8310789 h 8861755"/>
              <a:gd name="connsiteX1033" fmla="*/ 2195343 w 4772243"/>
              <a:gd name="connsiteY1033" fmla="*/ 8351143 h 8861755"/>
              <a:gd name="connsiteX1034" fmla="*/ 2260283 w 4772243"/>
              <a:gd name="connsiteY1034" fmla="*/ 8383965 h 8861755"/>
              <a:gd name="connsiteX1035" fmla="*/ 2282332 w 4772243"/>
              <a:gd name="connsiteY1035" fmla="*/ 8394726 h 8861755"/>
              <a:gd name="connsiteX1036" fmla="*/ 2577504 w 4772243"/>
              <a:gd name="connsiteY1036" fmla="*/ 1385215 h 8861755"/>
              <a:gd name="connsiteX1037" fmla="*/ 2574785 w 4772243"/>
              <a:gd name="connsiteY1037" fmla="*/ 1404585 h 8861755"/>
              <a:gd name="connsiteX1038" fmla="*/ 2565724 w 4772243"/>
              <a:gd name="connsiteY1038" fmla="*/ 1443056 h 8861755"/>
              <a:gd name="connsiteX1039" fmla="*/ 2546393 w 4772243"/>
              <a:gd name="connsiteY1039" fmla="*/ 1500897 h 8861755"/>
              <a:gd name="connsiteX1040" fmla="*/ 2515585 w 4772243"/>
              <a:gd name="connsiteY1040" fmla="*/ 1577300 h 8861755"/>
              <a:gd name="connsiteX1041" fmla="*/ 2496556 w 4772243"/>
              <a:gd name="connsiteY1041" fmla="*/ 1635140 h 8861755"/>
              <a:gd name="connsiteX1042" fmla="*/ 2487494 w 4772243"/>
              <a:gd name="connsiteY1042" fmla="*/ 1673879 h 8861755"/>
              <a:gd name="connsiteX1043" fmla="*/ 2484776 w 4772243"/>
              <a:gd name="connsiteY1043" fmla="*/ 1692981 h 8861755"/>
              <a:gd name="connsiteX1044" fmla="*/ 2481755 w 4772243"/>
              <a:gd name="connsiteY1044" fmla="*/ 1715041 h 8861755"/>
              <a:gd name="connsiteX1045" fmla="*/ 2469976 w 4772243"/>
              <a:gd name="connsiteY1045" fmla="*/ 1758354 h 8861755"/>
              <a:gd name="connsiteX1046" fmla="*/ 2462726 w 4772243"/>
              <a:gd name="connsiteY1046" fmla="*/ 1790638 h 8861755"/>
              <a:gd name="connsiteX1047" fmla="*/ 2461216 w 4772243"/>
              <a:gd name="connsiteY1047" fmla="*/ 1811891 h 8861755"/>
              <a:gd name="connsiteX1048" fmla="*/ 2463330 w 4772243"/>
              <a:gd name="connsiteY1048" fmla="*/ 1833143 h 8861755"/>
              <a:gd name="connsiteX1049" fmla="*/ 2470278 w 4772243"/>
              <a:gd name="connsiteY1049" fmla="*/ 1854396 h 8861755"/>
              <a:gd name="connsiteX1050" fmla="*/ 2476620 w 4772243"/>
              <a:gd name="connsiteY1050" fmla="*/ 1864889 h 8861755"/>
              <a:gd name="connsiteX1051" fmla="*/ 2484474 w 4772243"/>
              <a:gd name="connsiteY1051" fmla="*/ 1877533 h 8861755"/>
              <a:gd name="connsiteX1052" fmla="*/ 2497462 w 4772243"/>
              <a:gd name="connsiteY1052" fmla="*/ 1902820 h 8861755"/>
              <a:gd name="connsiteX1053" fmla="*/ 2507127 w 4772243"/>
              <a:gd name="connsiteY1053" fmla="*/ 1928648 h 8861755"/>
              <a:gd name="connsiteX1054" fmla="*/ 2513772 w 4772243"/>
              <a:gd name="connsiteY1054" fmla="*/ 1955012 h 8861755"/>
              <a:gd name="connsiteX1055" fmla="*/ 2518001 w 4772243"/>
              <a:gd name="connsiteY1055" fmla="*/ 1981108 h 8861755"/>
              <a:gd name="connsiteX1056" fmla="*/ 2519511 w 4772243"/>
              <a:gd name="connsiteY1056" fmla="*/ 2007472 h 8861755"/>
              <a:gd name="connsiteX1057" fmla="*/ 2518907 w 4772243"/>
              <a:gd name="connsiteY1057" fmla="*/ 2034106 h 8861755"/>
              <a:gd name="connsiteX1058" fmla="*/ 2516189 w 4772243"/>
              <a:gd name="connsiteY1058" fmla="*/ 2060470 h 8861755"/>
              <a:gd name="connsiteX1059" fmla="*/ 2513772 w 4772243"/>
              <a:gd name="connsiteY1059" fmla="*/ 2073921 h 8861755"/>
              <a:gd name="connsiteX1060" fmla="*/ 2485984 w 4772243"/>
              <a:gd name="connsiteY1060" fmla="*/ 2224307 h 8861755"/>
              <a:gd name="connsiteX1061" fmla="*/ 2441281 w 4772243"/>
              <a:gd name="connsiteY1061" fmla="*/ 2450021 h 8861755"/>
              <a:gd name="connsiteX1062" fmla="*/ 2409265 w 4772243"/>
              <a:gd name="connsiteY1062" fmla="*/ 2600406 h 8861755"/>
              <a:gd name="connsiteX1063" fmla="*/ 2392047 w 4772243"/>
              <a:gd name="connsiteY1063" fmla="*/ 2674926 h 8861755"/>
              <a:gd name="connsiteX1064" fmla="*/ 2382987 w 4772243"/>
              <a:gd name="connsiteY1064" fmla="*/ 2714741 h 8861755"/>
              <a:gd name="connsiteX1065" fmla="*/ 2372717 w 4772243"/>
              <a:gd name="connsiteY1065" fmla="*/ 2773658 h 8861755"/>
              <a:gd name="connsiteX1066" fmla="*/ 2368187 w 4772243"/>
              <a:gd name="connsiteY1066" fmla="*/ 2812667 h 8861755"/>
              <a:gd name="connsiteX1067" fmla="*/ 2366676 w 4772243"/>
              <a:gd name="connsiteY1067" fmla="*/ 2851675 h 8861755"/>
              <a:gd name="connsiteX1068" fmla="*/ 2367884 w 4772243"/>
              <a:gd name="connsiteY1068" fmla="*/ 2890684 h 8861755"/>
              <a:gd name="connsiteX1069" fmla="*/ 2372112 w 4772243"/>
              <a:gd name="connsiteY1069" fmla="*/ 2929962 h 8861755"/>
              <a:gd name="connsiteX1070" fmla="*/ 2380570 w 4772243"/>
              <a:gd name="connsiteY1070" fmla="*/ 2969240 h 8861755"/>
              <a:gd name="connsiteX1071" fmla="*/ 2386611 w 4772243"/>
              <a:gd name="connsiteY1071" fmla="*/ 2988879 h 8861755"/>
              <a:gd name="connsiteX1072" fmla="*/ 2389087 w 4772243"/>
              <a:gd name="connsiteY1072" fmla="*/ 2995935 h 8861755"/>
              <a:gd name="connsiteX1073" fmla="*/ 2359130 w 4772243"/>
              <a:gd name="connsiteY1073" fmla="*/ 2991852 h 8861755"/>
              <a:gd name="connsiteX1074" fmla="*/ 2327318 w 4772243"/>
              <a:gd name="connsiteY1074" fmla="*/ 2990717 h 8861755"/>
              <a:gd name="connsiteX1075" fmla="*/ 2295222 w 4772243"/>
              <a:gd name="connsiteY1075" fmla="*/ 2992704 h 8861755"/>
              <a:gd name="connsiteX1076" fmla="*/ 2263410 w 4772243"/>
              <a:gd name="connsiteY1076" fmla="*/ 2998097 h 8861755"/>
              <a:gd name="connsiteX1077" fmla="*/ 2231598 w 4772243"/>
              <a:gd name="connsiteY1077" fmla="*/ 3007464 h 8861755"/>
              <a:gd name="connsiteX1078" fmla="*/ 2200639 w 4772243"/>
              <a:gd name="connsiteY1078" fmla="*/ 3020238 h 8861755"/>
              <a:gd name="connsiteX1079" fmla="*/ 2170815 w 4772243"/>
              <a:gd name="connsiteY1079" fmla="*/ 3037270 h 8861755"/>
              <a:gd name="connsiteX1080" fmla="*/ 2142412 w 4772243"/>
              <a:gd name="connsiteY1080" fmla="*/ 3058275 h 8861755"/>
              <a:gd name="connsiteX1081" fmla="*/ 2131990 w 4772243"/>
              <a:gd name="connsiteY1081" fmla="*/ 3068355 h 8861755"/>
              <a:gd name="connsiteX1082" fmla="*/ 2127758 w 4772243"/>
              <a:gd name="connsiteY1082" fmla="*/ 3046181 h 8861755"/>
              <a:gd name="connsiteX1083" fmla="*/ 2123529 w 4772243"/>
              <a:gd name="connsiteY1083" fmla="*/ 3019548 h 8861755"/>
              <a:gd name="connsiteX1084" fmla="*/ 2121415 w 4772243"/>
              <a:gd name="connsiteY1084" fmla="*/ 3006903 h 8861755"/>
              <a:gd name="connsiteX1085" fmla="*/ 2115374 w 4772243"/>
              <a:gd name="connsiteY1085" fmla="*/ 2983498 h 8861755"/>
              <a:gd name="connsiteX1086" fmla="*/ 2105709 w 4772243"/>
              <a:gd name="connsiteY1086" fmla="*/ 2961976 h 8861755"/>
              <a:gd name="connsiteX1087" fmla="*/ 2093324 w 4772243"/>
              <a:gd name="connsiteY1087" fmla="*/ 2942875 h 8861755"/>
              <a:gd name="connsiteX1088" fmla="*/ 2077316 w 4772243"/>
              <a:gd name="connsiteY1088" fmla="*/ 2925389 h 8861755"/>
              <a:gd name="connsiteX1089" fmla="*/ 2057683 w 4772243"/>
              <a:gd name="connsiteY1089" fmla="*/ 2909516 h 8861755"/>
              <a:gd name="connsiteX1090" fmla="*/ 2033822 w 4772243"/>
              <a:gd name="connsiteY1090" fmla="*/ 2896065 h 8861755"/>
              <a:gd name="connsiteX1091" fmla="*/ 2005732 w 4772243"/>
              <a:gd name="connsiteY1091" fmla="*/ 2884496 h 8861755"/>
              <a:gd name="connsiteX1092" fmla="*/ 1990025 w 4772243"/>
              <a:gd name="connsiteY1092" fmla="*/ 2879385 h 8861755"/>
              <a:gd name="connsiteX1093" fmla="*/ 1957707 w 4772243"/>
              <a:gd name="connsiteY1093" fmla="*/ 2869162 h 8861755"/>
              <a:gd name="connsiteX1094" fmla="*/ 1898204 w 4772243"/>
              <a:gd name="connsiteY1094" fmla="*/ 2845219 h 8861755"/>
              <a:gd name="connsiteX1095" fmla="*/ 1844741 w 4772243"/>
              <a:gd name="connsiteY1095" fmla="*/ 2816434 h 8861755"/>
              <a:gd name="connsiteX1096" fmla="*/ 1796414 w 4772243"/>
              <a:gd name="connsiteY1096" fmla="*/ 2783612 h 8861755"/>
              <a:gd name="connsiteX1097" fmla="*/ 1753825 w 4772243"/>
              <a:gd name="connsiteY1097" fmla="*/ 2746755 h 8861755"/>
              <a:gd name="connsiteX1098" fmla="*/ 1743173 w 4772243"/>
              <a:gd name="connsiteY1098" fmla="*/ 2734778 h 8861755"/>
              <a:gd name="connsiteX1099" fmla="*/ 1727166 w 4772243"/>
              <a:gd name="connsiteY1099" fmla="*/ 2733837 h 8861755"/>
              <a:gd name="connsiteX1100" fmla="*/ 1650814 w 4772243"/>
              <a:gd name="connsiteY1100" fmla="*/ 2725759 h 8861755"/>
              <a:gd name="connsiteX1101" fmla="*/ 1578083 w 4772243"/>
              <a:gd name="connsiteY1101" fmla="*/ 2714180 h 8861755"/>
              <a:gd name="connsiteX1102" fmla="*/ 1507163 w 4772243"/>
              <a:gd name="connsiteY1102" fmla="*/ 2700179 h 8861755"/>
              <a:gd name="connsiteX1103" fmla="*/ 1435639 w 4772243"/>
              <a:gd name="connsiteY1103" fmla="*/ 2683216 h 8861755"/>
              <a:gd name="connsiteX1104" fmla="*/ 1324280 w 4772243"/>
              <a:gd name="connsiteY1104" fmla="*/ 2653597 h 8861755"/>
              <a:gd name="connsiteX1105" fmla="*/ 1241590 w 4772243"/>
              <a:gd name="connsiteY1105" fmla="*/ 2630440 h 8861755"/>
              <a:gd name="connsiteX1106" fmla="*/ 1219861 w 4772243"/>
              <a:gd name="connsiteY1106" fmla="*/ 2623977 h 8861755"/>
              <a:gd name="connsiteX1107" fmla="*/ 1169765 w 4772243"/>
              <a:gd name="connsiteY1107" fmla="*/ 2602975 h 8861755"/>
              <a:gd name="connsiteX1108" fmla="*/ 1085868 w 4772243"/>
              <a:gd name="connsiteY1108" fmla="*/ 2560700 h 8861755"/>
              <a:gd name="connsiteX1109" fmla="*/ 996539 w 4772243"/>
              <a:gd name="connsiteY1109" fmla="*/ 2513849 h 8861755"/>
              <a:gd name="connsiteX1110" fmla="*/ 937389 w 4772243"/>
              <a:gd name="connsiteY1110" fmla="*/ 2486116 h 8861755"/>
              <a:gd name="connsiteX1111" fmla="*/ 895139 w 4772243"/>
              <a:gd name="connsiteY1111" fmla="*/ 2469690 h 8861755"/>
              <a:gd name="connsiteX1112" fmla="*/ 867977 w 4772243"/>
              <a:gd name="connsiteY1112" fmla="*/ 2460804 h 8861755"/>
              <a:gd name="connsiteX1113" fmla="*/ 842325 w 4772243"/>
              <a:gd name="connsiteY1113" fmla="*/ 2454881 h 8861755"/>
              <a:gd name="connsiteX1114" fmla="*/ 818183 w 4772243"/>
              <a:gd name="connsiteY1114" fmla="*/ 2452188 h 8861755"/>
              <a:gd name="connsiteX1115" fmla="*/ 807017 w 4772243"/>
              <a:gd name="connsiteY1115" fmla="*/ 2452188 h 8861755"/>
              <a:gd name="connsiteX1116" fmla="*/ 821503 w 4772243"/>
              <a:gd name="connsiteY1116" fmla="*/ 2445187 h 8861755"/>
              <a:gd name="connsiteX1117" fmla="*/ 850172 w 4772243"/>
              <a:gd name="connsiteY1117" fmla="*/ 2436032 h 8861755"/>
              <a:gd name="connsiteX1118" fmla="*/ 879446 w 4772243"/>
              <a:gd name="connsiteY1118" fmla="*/ 2433070 h 8861755"/>
              <a:gd name="connsiteX1119" fmla="*/ 908417 w 4772243"/>
              <a:gd name="connsiteY1119" fmla="*/ 2434686 h 8861755"/>
              <a:gd name="connsiteX1120" fmla="*/ 937992 w 4772243"/>
              <a:gd name="connsiteY1120" fmla="*/ 2441419 h 8861755"/>
              <a:gd name="connsiteX1121" fmla="*/ 967869 w 4772243"/>
              <a:gd name="connsiteY1121" fmla="*/ 2451381 h 8861755"/>
              <a:gd name="connsiteX1122" fmla="*/ 1013741 w 4772243"/>
              <a:gd name="connsiteY1122" fmla="*/ 2472114 h 8861755"/>
              <a:gd name="connsiteX1123" fmla="*/ 1107597 w 4772243"/>
              <a:gd name="connsiteY1123" fmla="*/ 2525697 h 8861755"/>
              <a:gd name="connsiteX1124" fmla="*/ 1191192 w 4772243"/>
              <a:gd name="connsiteY1124" fmla="*/ 2572549 h 8861755"/>
              <a:gd name="connsiteX1125" fmla="*/ 1225897 w 4772243"/>
              <a:gd name="connsiteY1125" fmla="*/ 2588973 h 8861755"/>
              <a:gd name="connsiteX1126" fmla="*/ 1261508 w 4772243"/>
              <a:gd name="connsiteY1126" fmla="*/ 2603244 h 8861755"/>
              <a:gd name="connsiteX1127" fmla="*/ 1298326 w 4772243"/>
              <a:gd name="connsiteY1127" fmla="*/ 2614822 h 8861755"/>
              <a:gd name="connsiteX1128" fmla="*/ 1317037 w 4772243"/>
              <a:gd name="connsiteY1128" fmla="*/ 2618861 h 8861755"/>
              <a:gd name="connsiteX1129" fmla="*/ 1368341 w 4772243"/>
              <a:gd name="connsiteY1129" fmla="*/ 2629363 h 8861755"/>
              <a:gd name="connsiteX1130" fmla="*/ 1474871 w 4772243"/>
              <a:gd name="connsiteY1130" fmla="*/ 2651712 h 8861755"/>
              <a:gd name="connsiteX1131" fmla="*/ 1563597 w 4772243"/>
              <a:gd name="connsiteY1131" fmla="*/ 2666790 h 8861755"/>
              <a:gd name="connsiteX1132" fmla="*/ 1628783 w 4772243"/>
              <a:gd name="connsiteY1132" fmla="*/ 2674868 h 8861755"/>
              <a:gd name="connsiteX1133" fmla="*/ 1700492 w 4772243"/>
              <a:gd name="connsiteY1133" fmla="*/ 2680999 h 8861755"/>
              <a:gd name="connsiteX1134" fmla="*/ 1686167 w 4772243"/>
              <a:gd name="connsiteY1134" fmla="*/ 2659860 h 8861755"/>
              <a:gd name="connsiteX1135" fmla="*/ 1660796 w 4772243"/>
              <a:gd name="connsiteY1135" fmla="*/ 2610090 h 8861755"/>
              <a:gd name="connsiteX1136" fmla="*/ 1650526 w 4772243"/>
              <a:gd name="connsiteY1136" fmla="*/ 2583726 h 8861755"/>
              <a:gd name="connsiteX1137" fmla="*/ 1643579 w 4772243"/>
              <a:gd name="connsiteY1137" fmla="*/ 2566238 h 8861755"/>
              <a:gd name="connsiteX1138" fmla="*/ 1625456 w 4772243"/>
              <a:gd name="connsiteY1138" fmla="*/ 2532073 h 8861755"/>
              <a:gd name="connsiteX1139" fmla="*/ 1616395 w 4772243"/>
              <a:gd name="connsiteY1139" fmla="*/ 2514855 h 8861755"/>
              <a:gd name="connsiteX1140" fmla="*/ 1609448 w 4772243"/>
              <a:gd name="connsiteY1140" fmla="*/ 2501673 h 8861755"/>
              <a:gd name="connsiteX1141" fmla="*/ 1593742 w 4772243"/>
              <a:gd name="connsiteY1141" fmla="*/ 2476653 h 8861755"/>
              <a:gd name="connsiteX1142" fmla="*/ 1575619 w 4772243"/>
              <a:gd name="connsiteY1142" fmla="*/ 2452441 h 8861755"/>
              <a:gd name="connsiteX1143" fmla="*/ 1556287 w 4772243"/>
              <a:gd name="connsiteY1143" fmla="*/ 2430112 h 8861755"/>
              <a:gd name="connsiteX1144" fmla="*/ 1534238 w 4772243"/>
              <a:gd name="connsiteY1144" fmla="*/ 2408858 h 8861755"/>
              <a:gd name="connsiteX1145" fmla="*/ 1510377 w 4772243"/>
              <a:gd name="connsiteY1145" fmla="*/ 2389489 h 8861755"/>
              <a:gd name="connsiteX1146" fmla="*/ 1483797 w 4772243"/>
              <a:gd name="connsiteY1146" fmla="*/ 2371196 h 8861755"/>
              <a:gd name="connsiteX1147" fmla="*/ 1455102 w 4772243"/>
              <a:gd name="connsiteY1147" fmla="*/ 2354784 h 8861755"/>
              <a:gd name="connsiteX1148" fmla="*/ 1440000 w 4772243"/>
              <a:gd name="connsiteY1148" fmla="*/ 2347521 h 8861755"/>
              <a:gd name="connsiteX1149" fmla="*/ 1396204 w 4772243"/>
              <a:gd name="connsiteY1149" fmla="*/ 2327344 h 8861755"/>
              <a:gd name="connsiteX1150" fmla="*/ 1306798 w 4772243"/>
              <a:gd name="connsiteY1150" fmla="*/ 2290218 h 8861755"/>
              <a:gd name="connsiteX1151" fmla="*/ 1261793 w 4772243"/>
              <a:gd name="connsiteY1151" fmla="*/ 2272463 h 8861755"/>
              <a:gd name="connsiteX1152" fmla="*/ 1208030 w 4772243"/>
              <a:gd name="connsiteY1152" fmla="*/ 2252285 h 8861755"/>
              <a:gd name="connsiteX1153" fmla="*/ 1099595 w 4772243"/>
              <a:gd name="connsiteY1153" fmla="*/ 2213278 h 8861755"/>
              <a:gd name="connsiteX1154" fmla="*/ 1044622 w 4772243"/>
              <a:gd name="connsiteY1154" fmla="*/ 2195521 h 8861755"/>
              <a:gd name="connsiteX1155" fmla="*/ 1030729 w 4772243"/>
              <a:gd name="connsiteY1155" fmla="*/ 2191755 h 8861755"/>
              <a:gd name="connsiteX1156" fmla="*/ 1001732 w 4772243"/>
              <a:gd name="connsiteY1156" fmla="*/ 2185299 h 8861755"/>
              <a:gd name="connsiteX1157" fmla="*/ 957331 w 4772243"/>
              <a:gd name="connsiteY1157" fmla="*/ 2179110 h 8861755"/>
              <a:gd name="connsiteX1158" fmla="*/ 927429 w 4772243"/>
              <a:gd name="connsiteY1158" fmla="*/ 2176958 h 8861755"/>
              <a:gd name="connsiteX1159" fmla="*/ 888767 w 4772243"/>
              <a:gd name="connsiteY1159" fmla="*/ 2176421 h 8861755"/>
              <a:gd name="connsiteX1160" fmla="*/ 830472 w 4772243"/>
              <a:gd name="connsiteY1160" fmla="*/ 2178034 h 8861755"/>
              <a:gd name="connsiteX1161" fmla="*/ 792113 w 4772243"/>
              <a:gd name="connsiteY1161" fmla="*/ 2177766 h 8861755"/>
              <a:gd name="connsiteX1162" fmla="*/ 773084 w 4772243"/>
              <a:gd name="connsiteY1162" fmla="*/ 2175883 h 8861755"/>
              <a:gd name="connsiteX1163" fmla="*/ 735932 w 4772243"/>
              <a:gd name="connsiteY1163" fmla="*/ 2171308 h 8861755"/>
              <a:gd name="connsiteX1164" fmla="*/ 653474 w 4772243"/>
              <a:gd name="connsiteY1164" fmla="*/ 2162969 h 8861755"/>
              <a:gd name="connsiteX1165" fmla="*/ 588534 w 4772243"/>
              <a:gd name="connsiteY1165" fmla="*/ 2160010 h 8861755"/>
              <a:gd name="connsiteX1166" fmla="*/ 545040 w 4772243"/>
              <a:gd name="connsiteY1166" fmla="*/ 2160548 h 8861755"/>
              <a:gd name="connsiteX1167" fmla="*/ 503055 w 4772243"/>
              <a:gd name="connsiteY1167" fmla="*/ 2164046 h 8861755"/>
              <a:gd name="connsiteX1168" fmla="*/ 462883 w 4772243"/>
              <a:gd name="connsiteY1168" fmla="*/ 2171039 h 8861755"/>
              <a:gd name="connsiteX1169" fmla="*/ 443854 w 4772243"/>
              <a:gd name="connsiteY1169" fmla="*/ 2176421 h 8861755"/>
              <a:gd name="connsiteX1170" fmla="*/ 464394 w 4772243"/>
              <a:gd name="connsiteY1170" fmla="*/ 2167004 h 8861755"/>
              <a:gd name="connsiteX1171" fmla="*/ 510908 w 4772243"/>
              <a:gd name="connsiteY1171" fmla="*/ 2150056 h 8861755"/>
              <a:gd name="connsiteX1172" fmla="*/ 538395 w 4772243"/>
              <a:gd name="connsiteY1172" fmla="*/ 2143060 h 8861755"/>
              <a:gd name="connsiteX1173" fmla="*/ 547456 w 4772243"/>
              <a:gd name="connsiteY1173" fmla="*/ 2142791 h 8861755"/>
              <a:gd name="connsiteX1174" fmla="*/ 602428 w 4772243"/>
              <a:gd name="connsiteY1174" fmla="*/ 2144137 h 8861755"/>
              <a:gd name="connsiteX1175" fmla="*/ 713279 w 4772243"/>
              <a:gd name="connsiteY1175" fmla="*/ 2150056 h 8861755"/>
              <a:gd name="connsiteX1176" fmla="*/ 768553 w 4772243"/>
              <a:gd name="connsiteY1176" fmla="*/ 2152208 h 8861755"/>
              <a:gd name="connsiteX1177" fmla="*/ 856146 w 4772243"/>
              <a:gd name="connsiteY1177" fmla="*/ 2153553 h 8861755"/>
              <a:gd name="connsiteX1178" fmla="*/ 944041 w 4772243"/>
              <a:gd name="connsiteY1178" fmla="*/ 2152477 h 8861755"/>
              <a:gd name="connsiteX1179" fmla="*/ 945854 w 4772243"/>
              <a:gd name="connsiteY1179" fmla="*/ 2146020 h 8861755"/>
              <a:gd name="connsiteX1180" fmla="*/ 948270 w 4772243"/>
              <a:gd name="connsiteY1180" fmla="*/ 2139295 h 8861755"/>
              <a:gd name="connsiteX1181" fmla="*/ 864906 w 4772243"/>
              <a:gd name="connsiteY1181" fmla="*/ 2105128 h 8861755"/>
              <a:gd name="connsiteX1182" fmla="*/ 697573 w 4772243"/>
              <a:gd name="connsiteY1182" fmla="*/ 2036796 h 8861755"/>
              <a:gd name="connsiteX1183" fmla="*/ 615416 w 4772243"/>
              <a:gd name="connsiteY1183" fmla="*/ 2000478 h 8861755"/>
              <a:gd name="connsiteX1184" fmla="*/ 594575 w 4772243"/>
              <a:gd name="connsiteY1184" fmla="*/ 1991600 h 8861755"/>
              <a:gd name="connsiteX1185" fmla="*/ 552288 w 4772243"/>
              <a:gd name="connsiteY1185" fmla="*/ 1976265 h 8861755"/>
              <a:gd name="connsiteX1186" fmla="*/ 510002 w 4772243"/>
              <a:gd name="connsiteY1186" fmla="*/ 1964697 h 8861755"/>
              <a:gd name="connsiteX1187" fmla="*/ 467112 w 4772243"/>
              <a:gd name="connsiteY1187" fmla="*/ 1956357 h 8861755"/>
              <a:gd name="connsiteX1188" fmla="*/ 423617 w 4772243"/>
              <a:gd name="connsiteY1188" fmla="*/ 1951514 h 8861755"/>
              <a:gd name="connsiteX1189" fmla="*/ 379217 w 4772243"/>
              <a:gd name="connsiteY1189" fmla="*/ 1950439 h 8861755"/>
              <a:gd name="connsiteX1190" fmla="*/ 334816 w 4772243"/>
              <a:gd name="connsiteY1190" fmla="*/ 1952591 h 8861755"/>
              <a:gd name="connsiteX1191" fmla="*/ 289207 w 4772243"/>
              <a:gd name="connsiteY1191" fmla="*/ 1958509 h 8861755"/>
              <a:gd name="connsiteX1192" fmla="*/ 266554 w 4772243"/>
              <a:gd name="connsiteY1192" fmla="*/ 1962545 h 8861755"/>
              <a:gd name="connsiteX1193" fmla="*/ 254170 w 4772243"/>
              <a:gd name="connsiteY1193" fmla="*/ 1964428 h 8861755"/>
              <a:gd name="connsiteX1194" fmla="*/ 241484 w 4772243"/>
              <a:gd name="connsiteY1194" fmla="*/ 1965235 h 8861755"/>
              <a:gd name="connsiteX1195" fmla="*/ 239672 w 4772243"/>
              <a:gd name="connsiteY1195" fmla="*/ 1958778 h 8861755"/>
              <a:gd name="connsiteX1196" fmla="*/ 237558 w 4772243"/>
              <a:gd name="connsiteY1196" fmla="*/ 1952053 h 8861755"/>
              <a:gd name="connsiteX1197" fmla="*/ 275313 w 4772243"/>
              <a:gd name="connsiteY1197" fmla="*/ 1945058 h 8861755"/>
              <a:gd name="connsiteX1198" fmla="*/ 331192 w 4772243"/>
              <a:gd name="connsiteY1198" fmla="*/ 1934027 h 8861755"/>
              <a:gd name="connsiteX1199" fmla="*/ 368645 w 4772243"/>
              <a:gd name="connsiteY1199" fmla="*/ 1928648 h 8861755"/>
              <a:gd name="connsiteX1200" fmla="*/ 387675 w 4772243"/>
              <a:gd name="connsiteY1200" fmla="*/ 1927302 h 8861755"/>
              <a:gd name="connsiteX1201" fmla="*/ 419389 w 4772243"/>
              <a:gd name="connsiteY1201" fmla="*/ 1926764 h 8861755"/>
              <a:gd name="connsiteX1202" fmla="*/ 481610 w 4772243"/>
              <a:gd name="connsiteY1202" fmla="*/ 1928648 h 8861755"/>
              <a:gd name="connsiteX1203" fmla="*/ 541717 w 4772243"/>
              <a:gd name="connsiteY1203" fmla="*/ 1935374 h 8861755"/>
              <a:gd name="connsiteX1204" fmla="*/ 600918 w 4772243"/>
              <a:gd name="connsiteY1204" fmla="*/ 1945865 h 8861755"/>
              <a:gd name="connsiteX1205" fmla="*/ 659212 w 4772243"/>
              <a:gd name="connsiteY1205" fmla="*/ 1960123 h 8861755"/>
              <a:gd name="connsiteX1206" fmla="*/ 715997 w 4772243"/>
              <a:gd name="connsiteY1206" fmla="*/ 1977610 h 8861755"/>
              <a:gd name="connsiteX1207" fmla="*/ 772178 w 4772243"/>
              <a:gd name="connsiteY1207" fmla="*/ 1997518 h 8861755"/>
              <a:gd name="connsiteX1208" fmla="*/ 826848 w 4772243"/>
              <a:gd name="connsiteY1208" fmla="*/ 2019848 h 8861755"/>
              <a:gd name="connsiteX1209" fmla="*/ 854334 w 4772243"/>
              <a:gd name="connsiteY1209" fmla="*/ 2031685 h 8861755"/>
              <a:gd name="connsiteX1210" fmla="*/ 947364 w 4772243"/>
              <a:gd name="connsiteY1210" fmla="*/ 2073921 h 8861755"/>
              <a:gd name="connsiteX1211" fmla="*/ 1039591 w 4772243"/>
              <a:gd name="connsiteY1211" fmla="*/ 2116605 h 8861755"/>
              <a:gd name="connsiteX1212" fmla="*/ 1038582 w 4772243"/>
              <a:gd name="connsiteY1212" fmla="*/ 2117504 h 8861755"/>
              <a:gd name="connsiteX1213" fmla="*/ 1039790 w 4772243"/>
              <a:gd name="connsiteY1213" fmla="*/ 2116697 h 8861755"/>
              <a:gd name="connsiteX1214" fmla="*/ 1040696 w 4772243"/>
              <a:gd name="connsiteY1214" fmla="*/ 2115620 h 8861755"/>
              <a:gd name="connsiteX1215" fmla="*/ 1039628 w 4772243"/>
              <a:gd name="connsiteY1215" fmla="*/ 2116572 h 8861755"/>
              <a:gd name="connsiteX1216" fmla="*/ 1019553 w 4772243"/>
              <a:gd name="connsiteY1216" fmla="*/ 2101094 h 8861755"/>
              <a:gd name="connsiteX1217" fmla="*/ 981193 w 4772243"/>
              <a:gd name="connsiteY1217" fmla="*/ 2068542 h 8861755"/>
              <a:gd name="connsiteX1218" fmla="*/ 943135 w 4772243"/>
              <a:gd name="connsiteY1218" fmla="*/ 2035181 h 8861755"/>
              <a:gd name="connsiteX1219" fmla="*/ 904474 w 4772243"/>
              <a:gd name="connsiteY1219" fmla="*/ 2002630 h 8861755"/>
              <a:gd name="connsiteX1220" fmla="*/ 884237 w 4772243"/>
              <a:gd name="connsiteY1220" fmla="*/ 1987295 h 8861755"/>
              <a:gd name="connsiteX1221" fmla="*/ 906588 w 4772243"/>
              <a:gd name="connsiteY1221" fmla="*/ 1996979 h 8861755"/>
              <a:gd name="connsiteX1222" fmla="*/ 949479 w 4772243"/>
              <a:gd name="connsiteY1222" fmla="*/ 2018771 h 8861755"/>
              <a:gd name="connsiteX1223" fmla="*/ 989953 w 4772243"/>
              <a:gd name="connsiteY1223" fmla="*/ 2041638 h 8861755"/>
              <a:gd name="connsiteX1224" fmla="*/ 1029218 w 4772243"/>
              <a:gd name="connsiteY1224" fmla="*/ 2066927 h 8861755"/>
              <a:gd name="connsiteX1225" fmla="*/ 1047643 w 4772243"/>
              <a:gd name="connsiteY1225" fmla="*/ 2080109 h 8861755"/>
              <a:gd name="connsiteX1226" fmla="*/ 1066068 w 4772243"/>
              <a:gd name="connsiteY1226" fmla="*/ 2093022 h 8861755"/>
              <a:gd name="connsiteX1227" fmla="*/ 1103220 w 4772243"/>
              <a:gd name="connsiteY1227" fmla="*/ 2117773 h 8861755"/>
              <a:gd name="connsiteX1228" fmla="*/ 1161212 w 4772243"/>
              <a:gd name="connsiteY1228" fmla="*/ 2152477 h 8861755"/>
              <a:gd name="connsiteX1229" fmla="*/ 1242160 w 4772243"/>
              <a:gd name="connsiteY1229" fmla="*/ 2194176 h 8861755"/>
              <a:gd name="connsiteX1230" fmla="*/ 1327035 w 4772243"/>
              <a:gd name="connsiteY1230" fmla="*/ 2231033 h 8861755"/>
              <a:gd name="connsiteX1231" fmla="*/ 1371436 w 4772243"/>
              <a:gd name="connsiteY1231" fmla="*/ 2247713 h 8861755"/>
              <a:gd name="connsiteX1232" fmla="*/ 1398016 w 4772243"/>
              <a:gd name="connsiteY1232" fmla="*/ 2258204 h 8861755"/>
              <a:gd name="connsiteX1233" fmla="*/ 1449967 w 4772243"/>
              <a:gd name="connsiteY1233" fmla="*/ 2282685 h 8861755"/>
              <a:gd name="connsiteX1234" fmla="*/ 1525781 w 4772243"/>
              <a:gd name="connsiteY1234" fmla="*/ 2322771 h 8861755"/>
              <a:gd name="connsiteX1235" fmla="*/ 1576222 w 4772243"/>
              <a:gd name="connsiteY1235" fmla="*/ 2348866 h 8861755"/>
              <a:gd name="connsiteX1236" fmla="*/ 1584076 w 4772243"/>
              <a:gd name="connsiteY1236" fmla="*/ 2351825 h 8861755"/>
              <a:gd name="connsiteX1237" fmla="*/ 1594950 w 4772243"/>
              <a:gd name="connsiteY1237" fmla="*/ 2354515 h 8861755"/>
              <a:gd name="connsiteX1238" fmla="*/ 1584076 w 4772243"/>
              <a:gd name="connsiteY1238" fmla="*/ 2315775 h 8861755"/>
              <a:gd name="connsiteX1239" fmla="*/ 1560214 w 4772243"/>
              <a:gd name="connsiteY1239" fmla="*/ 2239372 h 8861755"/>
              <a:gd name="connsiteX1240" fmla="*/ 1522459 w 4772243"/>
              <a:gd name="connsiteY1240" fmla="*/ 2125843 h 8861755"/>
              <a:gd name="connsiteX1241" fmla="*/ 1487724 w 4772243"/>
              <a:gd name="connsiteY1241" fmla="*/ 2012853 h 8861755"/>
              <a:gd name="connsiteX1242" fmla="*/ 1468997 w 4772243"/>
              <a:gd name="connsiteY1242" fmla="*/ 1937795 h 8861755"/>
              <a:gd name="connsiteX1243" fmla="*/ 1455102 w 4772243"/>
              <a:gd name="connsiteY1243" fmla="*/ 1862736 h 8861755"/>
              <a:gd name="connsiteX1244" fmla="*/ 1449363 w 4772243"/>
              <a:gd name="connsiteY1244" fmla="*/ 1806240 h 8861755"/>
              <a:gd name="connsiteX1245" fmla="*/ 1447854 w 4772243"/>
              <a:gd name="connsiteY1245" fmla="*/ 1768576 h 8861755"/>
              <a:gd name="connsiteX1246" fmla="*/ 1447854 w 4772243"/>
              <a:gd name="connsiteY1246" fmla="*/ 1749476 h 8861755"/>
              <a:gd name="connsiteX1247" fmla="*/ 1402849 w 4772243"/>
              <a:gd name="connsiteY1247" fmla="*/ 1739791 h 8861755"/>
              <a:gd name="connsiteX1248" fmla="*/ 1339721 w 4772243"/>
              <a:gd name="connsiteY1248" fmla="*/ 1727684 h 8861755"/>
              <a:gd name="connsiteX1249" fmla="*/ 1311631 w 4772243"/>
              <a:gd name="connsiteY1249" fmla="*/ 1718807 h 8861755"/>
              <a:gd name="connsiteX1250" fmla="*/ 1294717 w 4772243"/>
              <a:gd name="connsiteY1250" fmla="*/ 1711544 h 8861755"/>
              <a:gd name="connsiteX1251" fmla="*/ 1286863 w 4772243"/>
              <a:gd name="connsiteY1251" fmla="*/ 1706970 h 8861755"/>
              <a:gd name="connsiteX1252" fmla="*/ 1273271 w 4772243"/>
              <a:gd name="connsiteY1252" fmla="*/ 1699437 h 8861755"/>
              <a:gd name="connsiteX1253" fmla="*/ 1244275 w 4772243"/>
              <a:gd name="connsiteY1253" fmla="*/ 1685986 h 8861755"/>
              <a:gd name="connsiteX1254" fmla="*/ 1213768 w 4772243"/>
              <a:gd name="connsiteY1254" fmla="*/ 1674956 h 8861755"/>
              <a:gd name="connsiteX1255" fmla="*/ 1181449 w 4772243"/>
              <a:gd name="connsiteY1255" fmla="*/ 1665809 h 8861755"/>
              <a:gd name="connsiteX1256" fmla="*/ 1149130 w 4772243"/>
              <a:gd name="connsiteY1256" fmla="*/ 1658814 h 8861755"/>
              <a:gd name="connsiteX1257" fmla="*/ 1115905 w 4772243"/>
              <a:gd name="connsiteY1257" fmla="*/ 1653973 h 8861755"/>
              <a:gd name="connsiteX1258" fmla="*/ 1065766 w 4772243"/>
              <a:gd name="connsiteY1258" fmla="*/ 1649399 h 8861755"/>
              <a:gd name="connsiteX1259" fmla="*/ 1000222 w 4772243"/>
              <a:gd name="connsiteY1259" fmla="*/ 1649668 h 8861755"/>
              <a:gd name="connsiteX1260" fmla="*/ 939511 w 4772243"/>
              <a:gd name="connsiteY1260" fmla="*/ 1655317 h 8861755"/>
              <a:gd name="connsiteX1261" fmla="*/ 886653 w 4772243"/>
              <a:gd name="connsiteY1261" fmla="*/ 1665540 h 8861755"/>
              <a:gd name="connsiteX1262" fmla="*/ 853730 w 4772243"/>
              <a:gd name="connsiteY1262" fmla="*/ 1675494 h 8861755"/>
              <a:gd name="connsiteX1263" fmla="*/ 835909 w 4772243"/>
              <a:gd name="connsiteY1263" fmla="*/ 1683027 h 8861755"/>
              <a:gd name="connsiteX1264" fmla="*/ 828358 w 4772243"/>
              <a:gd name="connsiteY1264" fmla="*/ 1687062 h 8861755"/>
              <a:gd name="connsiteX1265" fmla="*/ 824432 w 4772243"/>
              <a:gd name="connsiteY1265" fmla="*/ 1685986 h 8861755"/>
              <a:gd name="connsiteX1266" fmla="*/ 821109 w 4772243"/>
              <a:gd name="connsiteY1266" fmla="*/ 1681951 h 8861755"/>
              <a:gd name="connsiteX1267" fmla="*/ 820505 w 4772243"/>
              <a:gd name="connsiteY1267" fmla="*/ 1678454 h 8861755"/>
              <a:gd name="connsiteX1268" fmla="*/ 821713 w 4772243"/>
              <a:gd name="connsiteY1268" fmla="*/ 1676301 h 8861755"/>
              <a:gd name="connsiteX1269" fmla="*/ 826848 w 4772243"/>
              <a:gd name="connsiteY1269" fmla="*/ 1673073 h 8861755"/>
              <a:gd name="connsiteX1270" fmla="*/ 845877 w 4772243"/>
              <a:gd name="connsiteY1270" fmla="*/ 1665540 h 8861755"/>
              <a:gd name="connsiteX1271" fmla="*/ 856448 w 4772243"/>
              <a:gd name="connsiteY1271" fmla="*/ 1660697 h 8861755"/>
              <a:gd name="connsiteX1272" fmla="*/ 858563 w 4772243"/>
              <a:gd name="connsiteY1272" fmla="*/ 1658277 h 8861755"/>
              <a:gd name="connsiteX1273" fmla="*/ 790904 w 4772243"/>
              <a:gd name="connsiteY1273" fmla="*/ 1666078 h 8861755"/>
              <a:gd name="connsiteX1274" fmla="*/ 643204 w 4772243"/>
              <a:gd name="connsiteY1274" fmla="*/ 1685986 h 8861755"/>
              <a:gd name="connsiteX1275" fmla="*/ 580077 w 4772243"/>
              <a:gd name="connsiteY1275" fmla="*/ 1693249 h 8861755"/>
              <a:gd name="connsiteX1276" fmla="*/ 580077 w 4772243"/>
              <a:gd name="connsiteY1276" fmla="*/ 1691636 h 8861755"/>
              <a:gd name="connsiteX1277" fmla="*/ 585212 w 4772243"/>
              <a:gd name="connsiteY1277" fmla="*/ 1685717 h 8861755"/>
              <a:gd name="connsiteX1278" fmla="*/ 594273 w 4772243"/>
              <a:gd name="connsiteY1278" fmla="*/ 1678722 h 8861755"/>
              <a:gd name="connsiteX1279" fmla="*/ 606959 w 4772243"/>
              <a:gd name="connsiteY1279" fmla="*/ 1673073 h 8861755"/>
              <a:gd name="connsiteX1280" fmla="*/ 613905 w 4772243"/>
              <a:gd name="connsiteY1280" fmla="*/ 1671727 h 8861755"/>
              <a:gd name="connsiteX1281" fmla="*/ 727475 w 4772243"/>
              <a:gd name="connsiteY1281" fmla="*/ 1650744 h 8861755"/>
              <a:gd name="connsiteX1282" fmla="*/ 838326 w 4772243"/>
              <a:gd name="connsiteY1282" fmla="*/ 1630298 h 8861755"/>
              <a:gd name="connsiteX1283" fmla="*/ 827150 w 4772243"/>
              <a:gd name="connsiteY1283" fmla="*/ 1626800 h 8861755"/>
              <a:gd name="connsiteX1284" fmla="*/ 815068 w 4772243"/>
              <a:gd name="connsiteY1284" fmla="*/ 1623034 h 8861755"/>
              <a:gd name="connsiteX1285" fmla="*/ 1137653 w 4772243"/>
              <a:gd name="connsiteY1285" fmla="*/ 1623034 h 8861755"/>
              <a:gd name="connsiteX1286" fmla="*/ 997202 w 4772243"/>
              <a:gd name="connsiteY1286" fmla="*/ 1501703 h 8861755"/>
              <a:gd name="connsiteX1287" fmla="*/ 852824 w 4772243"/>
              <a:gd name="connsiteY1287" fmla="*/ 1376875 h 8861755"/>
              <a:gd name="connsiteX1288" fmla="*/ 844367 w 4772243"/>
              <a:gd name="connsiteY1288" fmla="*/ 1370149 h 8861755"/>
              <a:gd name="connsiteX1289" fmla="*/ 827150 w 4772243"/>
              <a:gd name="connsiteY1289" fmla="*/ 1357505 h 8861755"/>
              <a:gd name="connsiteX1290" fmla="*/ 809329 w 4772243"/>
              <a:gd name="connsiteY1290" fmla="*/ 1347014 h 8861755"/>
              <a:gd name="connsiteX1291" fmla="*/ 789998 w 4772243"/>
              <a:gd name="connsiteY1291" fmla="*/ 1338136 h 8861755"/>
              <a:gd name="connsiteX1292" fmla="*/ 759794 w 4772243"/>
              <a:gd name="connsiteY1292" fmla="*/ 1327643 h 8861755"/>
              <a:gd name="connsiteX1293" fmla="*/ 715997 w 4772243"/>
              <a:gd name="connsiteY1293" fmla="*/ 1318766 h 8861755"/>
              <a:gd name="connsiteX1294" fmla="*/ 692438 w 4772243"/>
              <a:gd name="connsiteY1294" fmla="*/ 1317152 h 8861755"/>
              <a:gd name="connsiteX1295" fmla="*/ 468623 w 4772243"/>
              <a:gd name="connsiteY1295" fmla="*/ 1305583 h 8861755"/>
              <a:gd name="connsiteX1296" fmla="*/ 244202 w 4772243"/>
              <a:gd name="connsiteY1296" fmla="*/ 1294553 h 8861755"/>
              <a:gd name="connsiteX1297" fmla="*/ 243900 w 4772243"/>
              <a:gd name="connsiteY1297" fmla="*/ 1292132 h 8861755"/>
              <a:gd name="connsiteX1298" fmla="*/ 243900 w 4772243"/>
              <a:gd name="connsiteY1298" fmla="*/ 1289711 h 8861755"/>
              <a:gd name="connsiteX1299" fmla="*/ 596991 w 4772243"/>
              <a:gd name="connsiteY1299" fmla="*/ 1289711 h 8861755"/>
              <a:gd name="connsiteX1300" fmla="*/ 506076 w 4772243"/>
              <a:gd name="connsiteY1300" fmla="*/ 1240210 h 8861755"/>
              <a:gd name="connsiteX1301" fmla="*/ 420597 w 4772243"/>
              <a:gd name="connsiteY1301" fmla="*/ 1193668 h 8861755"/>
              <a:gd name="connsiteX1302" fmla="*/ 408817 w 4772243"/>
              <a:gd name="connsiteY1302" fmla="*/ 1187480 h 8861755"/>
              <a:gd name="connsiteX1303" fmla="*/ 384050 w 4772243"/>
              <a:gd name="connsiteY1303" fmla="*/ 1176182 h 8861755"/>
              <a:gd name="connsiteX1304" fmla="*/ 358980 w 4772243"/>
              <a:gd name="connsiteY1304" fmla="*/ 1167304 h 8861755"/>
              <a:gd name="connsiteX1305" fmla="*/ 333306 w 4772243"/>
              <a:gd name="connsiteY1305" fmla="*/ 1160310 h 8861755"/>
              <a:gd name="connsiteX1306" fmla="*/ 307028 w 4772243"/>
              <a:gd name="connsiteY1306" fmla="*/ 1154928 h 8861755"/>
              <a:gd name="connsiteX1307" fmla="*/ 279844 w 4772243"/>
              <a:gd name="connsiteY1307" fmla="*/ 1152239 h 8861755"/>
              <a:gd name="connsiteX1308" fmla="*/ 252055 w 4772243"/>
              <a:gd name="connsiteY1308" fmla="*/ 1151970 h 8861755"/>
              <a:gd name="connsiteX1309" fmla="*/ 223965 w 4772243"/>
              <a:gd name="connsiteY1309" fmla="*/ 1153584 h 8861755"/>
              <a:gd name="connsiteX1310" fmla="*/ 209467 w 4772243"/>
              <a:gd name="connsiteY1310" fmla="*/ 1155467 h 8861755"/>
              <a:gd name="connsiteX1311" fmla="*/ 186814 w 4772243"/>
              <a:gd name="connsiteY1311" fmla="*/ 1158964 h 8861755"/>
              <a:gd name="connsiteX1312" fmla="*/ 140601 w 4772243"/>
              <a:gd name="connsiteY1312" fmla="*/ 1164345 h 8861755"/>
              <a:gd name="connsiteX1313" fmla="*/ 117343 w 4772243"/>
              <a:gd name="connsiteY1313" fmla="*/ 1164883 h 8861755"/>
              <a:gd name="connsiteX1314" fmla="*/ 108584 w 4772243"/>
              <a:gd name="connsiteY1314" fmla="*/ 1164345 h 8861755"/>
              <a:gd name="connsiteX1315" fmla="*/ 98315 w 4772243"/>
              <a:gd name="connsiteY1315" fmla="*/ 1162730 h 8861755"/>
              <a:gd name="connsiteX1316" fmla="*/ 96804 w 4772243"/>
              <a:gd name="connsiteY1316" fmla="*/ 1159772 h 8861755"/>
              <a:gd name="connsiteX1317" fmla="*/ 102845 w 4772243"/>
              <a:gd name="connsiteY1317" fmla="*/ 1156005 h 8861755"/>
              <a:gd name="connsiteX1318" fmla="*/ 123686 w 4772243"/>
              <a:gd name="connsiteY1318" fmla="*/ 1149548 h 8861755"/>
              <a:gd name="connsiteX1319" fmla="*/ 170202 w 4772243"/>
              <a:gd name="connsiteY1319" fmla="*/ 1140939 h 8861755"/>
              <a:gd name="connsiteX1320" fmla="*/ 199198 w 4772243"/>
              <a:gd name="connsiteY1320" fmla="*/ 1137980 h 8861755"/>
              <a:gd name="connsiteX1321" fmla="*/ 205541 w 4772243"/>
              <a:gd name="connsiteY1321" fmla="*/ 1136904 h 8861755"/>
              <a:gd name="connsiteX1322" fmla="*/ 217925 w 4772243"/>
              <a:gd name="connsiteY1322" fmla="*/ 1131524 h 8861755"/>
              <a:gd name="connsiteX1323" fmla="*/ 230309 w 4772243"/>
              <a:gd name="connsiteY1323" fmla="*/ 1125336 h 8861755"/>
              <a:gd name="connsiteX1324" fmla="*/ 241182 w 4772243"/>
              <a:gd name="connsiteY1324" fmla="*/ 1121838 h 8861755"/>
              <a:gd name="connsiteX1325" fmla="*/ 246015 w 4772243"/>
              <a:gd name="connsiteY1325" fmla="*/ 1122645 h 8861755"/>
              <a:gd name="connsiteX1326" fmla="*/ 299174 w 4772243"/>
              <a:gd name="connsiteY1326" fmla="*/ 1136635 h 8861755"/>
              <a:gd name="connsiteX1327" fmla="*/ 378613 w 4772243"/>
              <a:gd name="connsiteY1327" fmla="*/ 1159233 h 8861755"/>
              <a:gd name="connsiteX1328" fmla="*/ 430565 w 4772243"/>
              <a:gd name="connsiteY1328" fmla="*/ 1175914 h 8861755"/>
              <a:gd name="connsiteX1329" fmla="*/ 456540 w 4772243"/>
              <a:gd name="connsiteY1329" fmla="*/ 1185329 h 8861755"/>
              <a:gd name="connsiteX1330" fmla="*/ 488859 w 4772243"/>
              <a:gd name="connsiteY1330" fmla="*/ 1197435 h 8861755"/>
              <a:gd name="connsiteX1331" fmla="*/ 552288 w 4772243"/>
              <a:gd name="connsiteY1331" fmla="*/ 1224337 h 8861755"/>
              <a:gd name="connsiteX1332" fmla="*/ 616322 w 4772243"/>
              <a:gd name="connsiteY1332" fmla="*/ 1252047 h 8861755"/>
              <a:gd name="connsiteX1333" fmla="*/ 680960 w 4772243"/>
              <a:gd name="connsiteY1333" fmla="*/ 1276798 h 8861755"/>
              <a:gd name="connsiteX1334" fmla="*/ 714185 w 4772243"/>
              <a:gd name="connsiteY1334" fmla="*/ 1286751 h 8861755"/>
              <a:gd name="connsiteX1335" fmla="*/ 732610 w 4772243"/>
              <a:gd name="connsiteY1335" fmla="*/ 1292401 h 8861755"/>
              <a:gd name="connsiteX1336" fmla="*/ 768251 w 4772243"/>
              <a:gd name="connsiteY1336" fmla="*/ 1304238 h 8861755"/>
              <a:gd name="connsiteX1337" fmla="*/ 801778 w 4772243"/>
              <a:gd name="connsiteY1337" fmla="*/ 1317959 h 8861755"/>
              <a:gd name="connsiteX1338" fmla="*/ 833493 w 4772243"/>
              <a:gd name="connsiteY1338" fmla="*/ 1332755 h 8861755"/>
              <a:gd name="connsiteX1339" fmla="*/ 863698 w 4772243"/>
              <a:gd name="connsiteY1339" fmla="*/ 1349703 h 8861755"/>
              <a:gd name="connsiteX1340" fmla="*/ 892089 w 4772243"/>
              <a:gd name="connsiteY1340" fmla="*/ 1368266 h 8861755"/>
              <a:gd name="connsiteX1341" fmla="*/ 919274 w 4772243"/>
              <a:gd name="connsiteY1341" fmla="*/ 1389251 h 8861755"/>
              <a:gd name="connsiteX1342" fmla="*/ 944646 w 4772243"/>
              <a:gd name="connsiteY1342" fmla="*/ 1412387 h 8861755"/>
              <a:gd name="connsiteX1343" fmla="*/ 956727 w 4772243"/>
              <a:gd name="connsiteY1343" fmla="*/ 1424762 h 8861755"/>
              <a:gd name="connsiteX1344" fmla="*/ 974548 w 4772243"/>
              <a:gd name="connsiteY1344" fmla="*/ 1443324 h 8861755"/>
              <a:gd name="connsiteX1345" fmla="*/ 1012002 w 4772243"/>
              <a:gd name="connsiteY1345" fmla="*/ 1478298 h 8861755"/>
              <a:gd name="connsiteX1346" fmla="*/ 1052476 w 4772243"/>
              <a:gd name="connsiteY1346" fmla="*/ 1510581 h 8861755"/>
              <a:gd name="connsiteX1347" fmla="*/ 1095366 w 4772243"/>
              <a:gd name="connsiteY1347" fmla="*/ 1540981 h 8861755"/>
              <a:gd name="connsiteX1348" fmla="*/ 1140069 w 4772243"/>
              <a:gd name="connsiteY1348" fmla="*/ 1569229 h 8861755"/>
              <a:gd name="connsiteX1349" fmla="*/ 1186584 w 4772243"/>
              <a:gd name="connsiteY1349" fmla="*/ 1595863 h 8861755"/>
              <a:gd name="connsiteX1350" fmla="*/ 1259075 w 4772243"/>
              <a:gd name="connsiteY1350" fmla="*/ 1632988 h 8861755"/>
              <a:gd name="connsiteX1351" fmla="*/ 1309517 w 4772243"/>
              <a:gd name="connsiteY1351" fmla="*/ 1656124 h 8861755"/>
              <a:gd name="connsiteX1352" fmla="*/ 1324317 w 4772243"/>
              <a:gd name="connsiteY1352" fmla="*/ 1662312 h 8861755"/>
              <a:gd name="connsiteX1353" fmla="*/ 1357240 w 4772243"/>
              <a:gd name="connsiteY1353" fmla="*/ 1671997 h 8861755"/>
              <a:gd name="connsiteX1354" fmla="*/ 1411306 w 4772243"/>
              <a:gd name="connsiteY1354" fmla="*/ 1684371 h 8861755"/>
              <a:gd name="connsiteX1355" fmla="*/ 1450874 w 4772243"/>
              <a:gd name="connsiteY1355" fmla="*/ 1693788 h 8861755"/>
              <a:gd name="connsiteX1356" fmla="*/ 1446041 w 4772243"/>
              <a:gd name="connsiteY1356" fmla="*/ 1624379 h 8861755"/>
              <a:gd name="connsiteX1357" fmla="*/ 1441813 w 4772243"/>
              <a:gd name="connsiteY1357" fmla="*/ 1567077 h 8861755"/>
              <a:gd name="connsiteX1358" fmla="*/ 1438792 w 4772243"/>
              <a:gd name="connsiteY1358" fmla="*/ 1537753 h 8861755"/>
              <a:gd name="connsiteX1359" fmla="*/ 1427012 w 4772243"/>
              <a:gd name="connsiteY1359" fmla="*/ 1482333 h 8861755"/>
              <a:gd name="connsiteX1360" fmla="*/ 1413420 w 4772243"/>
              <a:gd name="connsiteY1360" fmla="*/ 1443056 h 8861755"/>
              <a:gd name="connsiteX1361" fmla="*/ 1402245 w 4772243"/>
              <a:gd name="connsiteY1361" fmla="*/ 1417498 h 8861755"/>
              <a:gd name="connsiteX1362" fmla="*/ 1389558 w 4772243"/>
              <a:gd name="connsiteY1362" fmla="*/ 1393286 h 8861755"/>
              <a:gd name="connsiteX1363" fmla="*/ 1375061 w 4772243"/>
              <a:gd name="connsiteY1363" fmla="*/ 1369343 h 8861755"/>
              <a:gd name="connsiteX1364" fmla="*/ 1358146 w 4772243"/>
              <a:gd name="connsiteY1364" fmla="*/ 1346475 h 8861755"/>
              <a:gd name="connsiteX1365" fmla="*/ 1340024 w 4772243"/>
              <a:gd name="connsiteY1365" fmla="*/ 1324415 h 8861755"/>
              <a:gd name="connsiteX1366" fmla="*/ 1319787 w 4772243"/>
              <a:gd name="connsiteY1366" fmla="*/ 1303431 h 8861755"/>
              <a:gd name="connsiteX1367" fmla="*/ 1297435 w 4772243"/>
              <a:gd name="connsiteY1367" fmla="*/ 1283254 h 8861755"/>
              <a:gd name="connsiteX1368" fmla="*/ 1273573 w 4772243"/>
              <a:gd name="connsiteY1368" fmla="*/ 1263885 h 8861755"/>
              <a:gd name="connsiteX1369" fmla="*/ 1247295 w 4772243"/>
              <a:gd name="connsiteY1369" fmla="*/ 1245321 h 8861755"/>
              <a:gd name="connsiteX1370" fmla="*/ 1205009 w 4772243"/>
              <a:gd name="connsiteY1370" fmla="*/ 1219494 h 8861755"/>
              <a:gd name="connsiteX1371" fmla="*/ 1173596 w 4772243"/>
              <a:gd name="connsiteY1371" fmla="*/ 1203353 h 8861755"/>
              <a:gd name="connsiteX1372" fmla="*/ 1149734 w 4772243"/>
              <a:gd name="connsiteY1372" fmla="*/ 1191246 h 8861755"/>
              <a:gd name="connsiteX1373" fmla="*/ 1104427 w 4772243"/>
              <a:gd name="connsiteY1373" fmla="*/ 1163269 h 8861755"/>
              <a:gd name="connsiteX1374" fmla="*/ 1084190 w 4772243"/>
              <a:gd name="connsiteY1374" fmla="*/ 1147935 h 8861755"/>
              <a:gd name="connsiteX1375" fmla="*/ 1060933 w 4772243"/>
              <a:gd name="connsiteY1375" fmla="*/ 1129910 h 8861755"/>
              <a:gd name="connsiteX1376" fmla="*/ 1012908 w 4772243"/>
              <a:gd name="connsiteY1376" fmla="*/ 1096819 h 8861755"/>
              <a:gd name="connsiteX1377" fmla="*/ 963070 w 4772243"/>
              <a:gd name="connsiteY1377" fmla="*/ 1067495 h 8861755"/>
              <a:gd name="connsiteX1378" fmla="*/ 910515 w 4772243"/>
              <a:gd name="connsiteY1378" fmla="*/ 1041669 h 8861755"/>
              <a:gd name="connsiteX1379" fmla="*/ 856146 w 4772243"/>
              <a:gd name="connsiteY1379" fmla="*/ 1020416 h 8861755"/>
              <a:gd name="connsiteX1380" fmla="*/ 798758 w 4772243"/>
              <a:gd name="connsiteY1380" fmla="*/ 1002929 h 8861755"/>
              <a:gd name="connsiteX1381" fmla="*/ 738651 w 4772243"/>
              <a:gd name="connsiteY1381" fmla="*/ 990285 h 8861755"/>
              <a:gd name="connsiteX1382" fmla="*/ 676127 w 4772243"/>
              <a:gd name="connsiteY1382" fmla="*/ 982483 h 8861755"/>
              <a:gd name="connsiteX1383" fmla="*/ 643204 w 4772243"/>
              <a:gd name="connsiteY1383" fmla="*/ 980330 h 8861755"/>
              <a:gd name="connsiteX1384" fmla="*/ 690323 w 4772243"/>
              <a:gd name="connsiteY1384" fmla="*/ 978178 h 8861755"/>
              <a:gd name="connsiteX1385" fmla="*/ 734422 w 4772243"/>
              <a:gd name="connsiteY1385" fmla="*/ 976565 h 8861755"/>
              <a:gd name="connsiteX1386" fmla="*/ 710862 w 4772243"/>
              <a:gd name="connsiteY1386" fmla="*/ 962306 h 8861755"/>
              <a:gd name="connsiteX1387" fmla="*/ 664649 w 4772243"/>
              <a:gd name="connsiteY1387" fmla="*/ 933520 h 8861755"/>
              <a:gd name="connsiteX1388" fmla="*/ 643204 w 4772243"/>
              <a:gd name="connsiteY1388" fmla="*/ 918186 h 8861755"/>
              <a:gd name="connsiteX1389" fmla="*/ 615718 w 4772243"/>
              <a:gd name="connsiteY1389" fmla="*/ 897740 h 8861755"/>
              <a:gd name="connsiteX1390" fmla="*/ 563766 w 4772243"/>
              <a:gd name="connsiteY1390" fmla="*/ 854696 h 8861755"/>
              <a:gd name="connsiteX1391" fmla="*/ 537790 w 4772243"/>
              <a:gd name="connsiteY1391" fmla="*/ 833174 h 8861755"/>
              <a:gd name="connsiteX1392" fmla="*/ 525709 w 4772243"/>
              <a:gd name="connsiteY1392" fmla="*/ 823489 h 8861755"/>
              <a:gd name="connsiteX1393" fmla="*/ 500337 w 4772243"/>
              <a:gd name="connsiteY1393" fmla="*/ 807079 h 8861755"/>
              <a:gd name="connsiteX1394" fmla="*/ 473757 w 4772243"/>
              <a:gd name="connsiteY1394" fmla="*/ 793626 h 8861755"/>
              <a:gd name="connsiteX1395" fmla="*/ 446270 w 4772243"/>
              <a:gd name="connsiteY1395" fmla="*/ 783673 h 8861755"/>
              <a:gd name="connsiteX1396" fmla="*/ 416972 w 4772243"/>
              <a:gd name="connsiteY1396" fmla="*/ 776678 h 8861755"/>
              <a:gd name="connsiteX1397" fmla="*/ 386768 w 4772243"/>
              <a:gd name="connsiteY1397" fmla="*/ 772912 h 8861755"/>
              <a:gd name="connsiteX1398" fmla="*/ 355355 w 4772243"/>
              <a:gd name="connsiteY1398" fmla="*/ 771835 h 8861755"/>
              <a:gd name="connsiteX1399" fmla="*/ 323036 w 4772243"/>
              <a:gd name="connsiteY1399" fmla="*/ 773450 h 8861755"/>
              <a:gd name="connsiteX1400" fmla="*/ 306122 w 4772243"/>
              <a:gd name="connsiteY1400" fmla="*/ 775602 h 8861755"/>
              <a:gd name="connsiteX1401" fmla="*/ 243900 w 4772243"/>
              <a:gd name="connsiteY1401" fmla="*/ 782597 h 8861755"/>
              <a:gd name="connsiteX1402" fmla="*/ 180773 w 4772243"/>
              <a:gd name="connsiteY1402" fmla="*/ 788515 h 8861755"/>
              <a:gd name="connsiteX1403" fmla="*/ 193459 w 4772243"/>
              <a:gd name="connsiteY1403" fmla="*/ 783673 h 8861755"/>
              <a:gd name="connsiteX1404" fmla="*/ 218830 w 4772243"/>
              <a:gd name="connsiteY1404" fmla="*/ 776678 h 8861755"/>
              <a:gd name="connsiteX1405" fmla="*/ 258096 w 4772243"/>
              <a:gd name="connsiteY1405" fmla="*/ 769415 h 8861755"/>
              <a:gd name="connsiteX1406" fmla="*/ 283770 w 4772243"/>
              <a:gd name="connsiteY1406" fmla="*/ 764034 h 8861755"/>
              <a:gd name="connsiteX1407" fmla="*/ 308236 w 4772243"/>
              <a:gd name="connsiteY1407" fmla="*/ 758922 h 8861755"/>
              <a:gd name="connsiteX1408" fmla="*/ 355053 w 4772243"/>
              <a:gd name="connsiteY1408" fmla="*/ 753542 h 8861755"/>
              <a:gd name="connsiteX1409" fmla="*/ 399756 w 4772243"/>
              <a:gd name="connsiteY1409" fmla="*/ 754349 h 8861755"/>
              <a:gd name="connsiteX1410" fmla="*/ 442344 w 4772243"/>
              <a:gd name="connsiteY1410" fmla="*/ 760268 h 8861755"/>
              <a:gd name="connsiteX1411" fmla="*/ 482214 w 4772243"/>
              <a:gd name="connsiteY1411" fmla="*/ 771835 h 8861755"/>
              <a:gd name="connsiteX1412" fmla="*/ 520272 w 4772243"/>
              <a:gd name="connsiteY1412" fmla="*/ 787708 h 8861755"/>
              <a:gd name="connsiteX1413" fmla="*/ 556819 w 4772243"/>
              <a:gd name="connsiteY1413" fmla="*/ 808692 h 8861755"/>
              <a:gd name="connsiteX1414" fmla="*/ 591253 w 4772243"/>
              <a:gd name="connsiteY1414" fmla="*/ 833980 h 8861755"/>
              <a:gd name="connsiteX1415" fmla="*/ 607563 w 4772243"/>
              <a:gd name="connsiteY1415" fmla="*/ 848239 h 8861755"/>
              <a:gd name="connsiteX1416" fmla="*/ 620853 w 4772243"/>
              <a:gd name="connsiteY1416" fmla="*/ 859538 h 8861755"/>
              <a:gd name="connsiteX1417" fmla="*/ 648339 w 4772243"/>
              <a:gd name="connsiteY1417" fmla="*/ 881599 h 8861755"/>
              <a:gd name="connsiteX1418" fmla="*/ 677336 w 4772243"/>
              <a:gd name="connsiteY1418" fmla="*/ 901776 h 8861755"/>
              <a:gd name="connsiteX1419" fmla="*/ 707540 w 4772243"/>
              <a:gd name="connsiteY1419" fmla="*/ 921145 h 8861755"/>
              <a:gd name="connsiteX1420" fmla="*/ 754659 w 4772243"/>
              <a:gd name="connsiteY1420" fmla="*/ 947240 h 8861755"/>
              <a:gd name="connsiteX1421" fmla="*/ 822015 w 4772243"/>
              <a:gd name="connsiteY1421" fmla="*/ 977641 h 8861755"/>
              <a:gd name="connsiteX1422" fmla="*/ 857656 w 4772243"/>
              <a:gd name="connsiteY1422" fmla="*/ 990823 h 8861755"/>
              <a:gd name="connsiteX1423" fmla="*/ 895714 w 4772243"/>
              <a:gd name="connsiteY1423" fmla="*/ 1005081 h 8861755"/>
              <a:gd name="connsiteX1424" fmla="*/ 970018 w 4772243"/>
              <a:gd name="connsiteY1424" fmla="*/ 1036019 h 8861755"/>
              <a:gd name="connsiteX1425" fmla="*/ 1022271 w 4772243"/>
              <a:gd name="connsiteY1425" fmla="*/ 1063191 h 8861755"/>
              <a:gd name="connsiteX1426" fmla="*/ 1055496 w 4772243"/>
              <a:gd name="connsiteY1426" fmla="*/ 1083636 h 8861755"/>
              <a:gd name="connsiteX1427" fmla="*/ 1086909 w 4772243"/>
              <a:gd name="connsiteY1427" fmla="*/ 1105966 h 8861755"/>
              <a:gd name="connsiteX1428" fmla="*/ 1115905 w 4772243"/>
              <a:gd name="connsiteY1428" fmla="*/ 1130717 h 8861755"/>
              <a:gd name="connsiteX1429" fmla="*/ 1129497 w 4772243"/>
              <a:gd name="connsiteY1429" fmla="*/ 1143898 h 8861755"/>
              <a:gd name="connsiteX1430" fmla="*/ 1136747 w 4772243"/>
              <a:gd name="connsiteY1430" fmla="*/ 1150355 h 8861755"/>
              <a:gd name="connsiteX1431" fmla="*/ 1156984 w 4772243"/>
              <a:gd name="connsiteY1431" fmla="*/ 1160578 h 8861755"/>
              <a:gd name="connsiteX1432" fmla="*/ 1166649 w 4772243"/>
              <a:gd name="connsiteY1432" fmla="*/ 1165689 h 8861755"/>
              <a:gd name="connsiteX1433" fmla="*/ 1171481 w 4772243"/>
              <a:gd name="connsiteY1433" fmla="*/ 1162192 h 8861755"/>
              <a:gd name="connsiteX1434" fmla="*/ 1176314 w 4772243"/>
              <a:gd name="connsiteY1434" fmla="*/ 1158964 h 8861755"/>
              <a:gd name="connsiteX1435" fmla="*/ 1154265 w 4772243"/>
              <a:gd name="connsiteY1435" fmla="*/ 1139594 h 8861755"/>
              <a:gd name="connsiteX1436" fmla="*/ 1114697 w 4772243"/>
              <a:gd name="connsiteY1436" fmla="*/ 1099240 h 8861755"/>
              <a:gd name="connsiteX1437" fmla="*/ 1080566 w 4772243"/>
              <a:gd name="connsiteY1437" fmla="*/ 1057003 h 8861755"/>
              <a:gd name="connsiteX1438" fmla="*/ 1051268 w 4772243"/>
              <a:gd name="connsiteY1438" fmla="*/ 1012614 h 8861755"/>
              <a:gd name="connsiteX1439" fmla="*/ 1025594 w 4772243"/>
              <a:gd name="connsiteY1439" fmla="*/ 967148 h 8861755"/>
              <a:gd name="connsiteX1440" fmla="*/ 1003544 w 4772243"/>
              <a:gd name="connsiteY1440" fmla="*/ 920069 h 8861755"/>
              <a:gd name="connsiteX1441" fmla="*/ 973340 w 4772243"/>
              <a:gd name="connsiteY1441" fmla="*/ 848509 h 8861755"/>
              <a:gd name="connsiteX1442" fmla="*/ 954915 w 4772243"/>
              <a:gd name="connsiteY1442" fmla="*/ 800083 h 8861755"/>
              <a:gd name="connsiteX1443" fmla="*/ 943437 w 4772243"/>
              <a:gd name="connsiteY1443" fmla="*/ 770760 h 8861755"/>
              <a:gd name="connsiteX1444" fmla="*/ 931356 w 4772243"/>
              <a:gd name="connsiteY1444" fmla="*/ 741436 h 8861755"/>
              <a:gd name="connsiteX1445" fmla="*/ 918972 w 4772243"/>
              <a:gd name="connsiteY1445" fmla="*/ 712112 h 8861755"/>
              <a:gd name="connsiteX1446" fmla="*/ 888767 w 4772243"/>
              <a:gd name="connsiteY1446" fmla="*/ 658038 h 8861755"/>
              <a:gd name="connsiteX1447" fmla="*/ 862187 w 4772243"/>
              <a:gd name="connsiteY1447" fmla="*/ 620375 h 8861755"/>
              <a:gd name="connsiteX1448" fmla="*/ 842554 w 4772243"/>
              <a:gd name="connsiteY1448" fmla="*/ 596431 h 8861755"/>
              <a:gd name="connsiteX1449" fmla="*/ 821411 w 4772243"/>
              <a:gd name="connsiteY1449" fmla="*/ 573832 h 8861755"/>
              <a:gd name="connsiteX1450" fmla="*/ 799060 w 4772243"/>
              <a:gd name="connsiteY1450" fmla="*/ 552579 h 8861755"/>
              <a:gd name="connsiteX1451" fmla="*/ 774896 w 4772243"/>
              <a:gd name="connsiteY1451" fmla="*/ 531864 h 8861755"/>
              <a:gd name="connsiteX1452" fmla="*/ 749222 w 4772243"/>
              <a:gd name="connsiteY1452" fmla="*/ 512764 h 8861755"/>
              <a:gd name="connsiteX1453" fmla="*/ 722038 w 4772243"/>
              <a:gd name="connsiteY1453" fmla="*/ 494470 h 8861755"/>
              <a:gd name="connsiteX1454" fmla="*/ 693344 w 4772243"/>
              <a:gd name="connsiteY1454" fmla="*/ 477790 h 8861755"/>
              <a:gd name="connsiteX1455" fmla="*/ 647131 w 4772243"/>
              <a:gd name="connsiteY1455" fmla="*/ 454386 h 8861755"/>
              <a:gd name="connsiteX1456" fmla="*/ 580077 w 4772243"/>
              <a:gd name="connsiteY1456" fmla="*/ 427751 h 8861755"/>
              <a:gd name="connsiteX1457" fmla="*/ 543832 w 4772243"/>
              <a:gd name="connsiteY1457" fmla="*/ 416183 h 8861755"/>
              <a:gd name="connsiteX1458" fmla="*/ 506982 w 4772243"/>
              <a:gd name="connsiteY1458" fmla="*/ 404885 h 8861755"/>
              <a:gd name="connsiteX1459" fmla="*/ 434491 w 4772243"/>
              <a:gd name="connsiteY1459" fmla="*/ 380672 h 8861755"/>
              <a:gd name="connsiteX1460" fmla="*/ 363209 w 4772243"/>
              <a:gd name="connsiteY1460" fmla="*/ 353769 h 8861755"/>
              <a:gd name="connsiteX1461" fmla="*/ 293738 w 4772243"/>
              <a:gd name="connsiteY1461" fmla="*/ 324715 h 8861755"/>
              <a:gd name="connsiteX1462" fmla="*/ 259607 w 4772243"/>
              <a:gd name="connsiteY1462" fmla="*/ 309380 h 8861755"/>
              <a:gd name="connsiteX1463" fmla="*/ 243598 w 4772243"/>
              <a:gd name="connsiteY1463" fmla="*/ 301848 h 8861755"/>
              <a:gd name="connsiteX1464" fmla="*/ 237255 w 4772243"/>
              <a:gd name="connsiteY1464" fmla="*/ 296736 h 8861755"/>
              <a:gd name="connsiteX1465" fmla="*/ 241484 w 4772243"/>
              <a:gd name="connsiteY1465" fmla="*/ 296736 h 8861755"/>
              <a:gd name="connsiteX1466" fmla="*/ 276824 w 4772243"/>
              <a:gd name="connsiteY1466" fmla="*/ 304807 h 8861755"/>
              <a:gd name="connsiteX1467" fmla="*/ 404891 w 4772243"/>
              <a:gd name="connsiteY1467" fmla="*/ 340856 h 8861755"/>
              <a:gd name="connsiteX1468" fmla="*/ 580983 w 4772243"/>
              <a:gd name="connsiteY1468" fmla="*/ 388205 h 8861755"/>
              <a:gd name="connsiteX1469" fmla="*/ 675825 w 4772243"/>
              <a:gd name="connsiteY1469" fmla="*/ 410803 h 8861755"/>
              <a:gd name="connsiteX1470" fmla="*/ 670993 w 4772243"/>
              <a:gd name="connsiteY1470" fmla="*/ 394392 h 8861755"/>
              <a:gd name="connsiteX1471" fmla="*/ 658608 w 4772243"/>
              <a:gd name="connsiteY1471" fmla="*/ 363186 h 8861755"/>
              <a:gd name="connsiteX1472" fmla="*/ 643204 w 4772243"/>
              <a:gd name="connsiteY1472" fmla="*/ 333054 h 8861755"/>
              <a:gd name="connsiteX1473" fmla="*/ 625081 w 4772243"/>
              <a:gd name="connsiteY1473" fmla="*/ 304268 h 8861755"/>
              <a:gd name="connsiteX1474" fmla="*/ 574338 w 4772243"/>
              <a:gd name="connsiteY1474" fmla="*/ 235398 h 8861755"/>
              <a:gd name="connsiteX1475" fmla="*/ 530843 w 4772243"/>
              <a:gd name="connsiteY1475" fmla="*/ 181324 h 8861755"/>
              <a:gd name="connsiteX1476" fmla="*/ 543529 w 4772243"/>
              <a:gd name="connsiteY1476" fmla="*/ 186435 h 8861755"/>
              <a:gd name="connsiteX1477" fmla="*/ 567391 w 4772243"/>
              <a:gd name="connsiteY1477" fmla="*/ 192354 h 8861755"/>
              <a:gd name="connsiteX1478" fmla="*/ 580077 w 4772243"/>
              <a:gd name="connsiteY1478" fmla="*/ 197466 h 8861755"/>
              <a:gd name="connsiteX1479" fmla="*/ 584003 w 4772243"/>
              <a:gd name="connsiteY1479" fmla="*/ 201232 h 8861755"/>
              <a:gd name="connsiteX1480" fmla="*/ 599407 w 4772243"/>
              <a:gd name="connsiteY1480" fmla="*/ 223561 h 8861755"/>
              <a:gd name="connsiteX1481" fmla="*/ 625988 w 4772243"/>
              <a:gd name="connsiteY1481" fmla="*/ 270371 h 8861755"/>
              <a:gd name="connsiteX1482" fmla="*/ 650756 w 4772243"/>
              <a:gd name="connsiteY1482" fmla="*/ 318258 h 8861755"/>
              <a:gd name="connsiteX1483" fmla="*/ 677336 w 4772243"/>
              <a:gd name="connsiteY1483" fmla="*/ 364530 h 8861755"/>
              <a:gd name="connsiteX1484" fmla="*/ 693344 w 4772243"/>
              <a:gd name="connsiteY1484" fmla="*/ 386859 h 8861755"/>
              <a:gd name="connsiteX1485" fmla="*/ 706936 w 4772243"/>
              <a:gd name="connsiteY1485" fmla="*/ 404885 h 8861755"/>
              <a:gd name="connsiteX1486" fmla="*/ 730797 w 4772243"/>
              <a:gd name="connsiteY1486" fmla="*/ 430980 h 8861755"/>
              <a:gd name="connsiteX1487" fmla="*/ 748920 w 4772243"/>
              <a:gd name="connsiteY1487" fmla="*/ 445777 h 8861755"/>
              <a:gd name="connsiteX1488" fmla="*/ 759492 w 4772243"/>
              <a:gd name="connsiteY1488" fmla="*/ 451695 h 8861755"/>
              <a:gd name="connsiteX1489" fmla="*/ 774292 w 4772243"/>
              <a:gd name="connsiteY1489" fmla="*/ 459227 h 8861755"/>
              <a:gd name="connsiteX1490" fmla="*/ 802080 w 4772243"/>
              <a:gd name="connsiteY1490" fmla="*/ 475638 h 8861755"/>
              <a:gd name="connsiteX1491" fmla="*/ 828660 w 4772243"/>
              <a:gd name="connsiteY1491" fmla="*/ 493662 h 8861755"/>
              <a:gd name="connsiteX1492" fmla="*/ 853126 w 4772243"/>
              <a:gd name="connsiteY1492" fmla="*/ 512226 h 8861755"/>
              <a:gd name="connsiteX1493" fmla="*/ 875477 w 4772243"/>
              <a:gd name="connsiteY1493" fmla="*/ 532672 h 8861755"/>
              <a:gd name="connsiteX1494" fmla="*/ 895714 w 4772243"/>
              <a:gd name="connsiteY1494" fmla="*/ 553925 h 8861755"/>
              <a:gd name="connsiteX1495" fmla="*/ 914139 w 4772243"/>
              <a:gd name="connsiteY1495" fmla="*/ 576792 h 8861755"/>
              <a:gd name="connsiteX1496" fmla="*/ 930148 w 4772243"/>
              <a:gd name="connsiteY1496" fmla="*/ 601005 h 8861755"/>
              <a:gd name="connsiteX1497" fmla="*/ 937094 w 4772243"/>
              <a:gd name="connsiteY1497" fmla="*/ 613380 h 8861755"/>
              <a:gd name="connsiteX1498" fmla="*/ 972434 w 4772243"/>
              <a:gd name="connsiteY1498" fmla="*/ 678753 h 8861755"/>
              <a:gd name="connsiteX1499" fmla="*/ 1022271 w 4772243"/>
              <a:gd name="connsiteY1499" fmla="*/ 777754 h 8861755"/>
              <a:gd name="connsiteX1500" fmla="*/ 1051872 w 4772243"/>
              <a:gd name="connsiteY1500" fmla="*/ 844742 h 8861755"/>
              <a:gd name="connsiteX1501" fmla="*/ 1064859 w 4772243"/>
              <a:gd name="connsiteY1501" fmla="*/ 878101 h 8861755"/>
              <a:gd name="connsiteX1502" fmla="*/ 1076338 w 4772243"/>
              <a:gd name="connsiteY1502" fmla="*/ 906080 h 8861755"/>
              <a:gd name="connsiteX1503" fmla="*/ 1104125 w 4772243"/>
              <a:gd name="connsiteY1503" fmla="*/ 958002 h 8861755"/>
              <a:gd name="connsiteX1504" fmla="*/ 1137351 w 4772243"/>
              <a:gd name="connsiteY1504" fmla="*/ 1007233 h 8861755"/>
              <a:gd name="connsiteX1505" fmla="*/ 1175710 w 4772243"/>
              <a:gd name="connsiteY1505" fmla="*/ 1053775 h 8861755"/>
              <a:gd name="connsiteX1506" fmla="*/ 1217695 w 4772243"/>
              <a:gd name="connsiteY1506" fmla="*/ 1098434 h 8861755"/>
              <a:gd name="connsiteX1507" fmla="*/ 1262699 w 4772243"/>
              <a:gd name="connsiteY1507" fmla="*/ 1141746 h 8861755"/>
              <a:gd name="connsiteX1508" fmla="*/ 1333076 w 4772243"/>
              <a:gd name="connsiteY1508" fmla="*/ 1205506 h 8861755"/>
              <a:gd name="connsiteX1509" fmla="*/ 1381706 w 4772243"/>
              <a:gd name="connsiteY1509" fmla="*/ 1248012 h 8861755"/>
              <a:gd name="connsiteX1510" fmla="*/ 1391673 w 4772243"/>
              <a:gd name="connsiteY1510" fmla="*/ 1213846 h 8861755"/>
              <a:gd name="connsiteX1511" fmla="*/ 1402849 w 4772243"/>
              <a:gd name="connsiteY1511" fmla="*/ 1162730 h 8861755"/>
              <a:gd name="connsiteX1512" fmla="*/ 1404359 w 4772243"/>
              <a:gd name="connsiteY1512" fmla="*/ 1137173 h 8861755"/>
              <a:gd name="connsiteX1513" fmla="*/ 1403151 w 4772243"/>
              <a:gd name="connsiteY1513" fmla="*/ 1120762 h 8861755"/>
              <a:gd name="connsiteX1514" fmla="*/ 1401641 w 4772243"/>
              <a:gd name="connsiteY1514" fmla="*/ 1112422 h 8861755"/>
              <a:gd name="connsiteX1515" fmla="*/ 1391673 w 4772243"/>
              <a:gd name="connsiteY1515" fmla="*/ 1065612 h 8861755"/>
              <a:gd name="connsiteX1516" fmla="*/ 1372946 w 4772243"/>
              <a:gd name="connsiteY1516" fmla="*/ 996741 h 8861755"/>
              <a:gd name="connsiteX1517" fmla="*/ 1357844 w 4772243"/>
              <a:gd name="connsiteY1517" fmla="*/ 951007 h 8861755"/>
              <a:gd name="connsiteX1518" fmla="*/ 1339721 w 4772243"/>
              <a:gd name="connsiteY1518" fmla="*/ 906349 h 8861755"/>
              <a:gd name="connsiteX1519" fmla="*/ 1318578 w 4772243"/>
              <a:gd name="connsiteY1519" fmla="*/ 862497 h 8861755"/>
              <a:gd name="connsiteX1520" fmla="*/ 1293508 w 4772243"/>
              <a:gd name="connsiteY1520" fmla="*/ 819454 h 8861755"/>
              <a:gd name="connsiteX1521" fmla="*/ 1264814 w 4772243"/>
              <a:gd name="connsiteY1521" fmla="*/ 777754 h 8861755"/>
              <a:gd name="connsiteX1522" fmla="*/ 1248504 w 4772243"/>
              <a:gd name="connsiteY1522" fmla="*/ 757578 h 8861755"/>
              <a:gd name="connsiteX1523" fmla="*/ 1240348 w 4772243"/>
              <a:gd name="connsiteY1523" fmla="*/ 747085 h 8861755"/>
              <a:gd name="connsiteX1524" fmla="*/ 1227360 w 4772243"/>
              <a:gd name="connsiteY1524" fmla="*/ 726101 h 8861755"/>
              <a:gd name="connsiteX1525" fmla="*/ 1217695 w 4772243"/>
              <a:gd name="connsiteY1525" fmla="*/ 704848 h 8861755"/>
              <a:gd name="connsiteX1526" fmla="*/ 1210747 w 4772243"/>
              <a:gd name="connsiteY1526" fmla="*/ 682789 h 8861755"/>
              <a:gd name="connsiteX1527" fmla="*/ 1205009 w 4772243"/>
              <a:gd name="connsiteY1527" fmla="*/ 649698 h 8861755"/>
              <a:gd name="connsiteX1528" fmla="*/ 1204103 w 4772243"/>
              <a:gd name="connsiteY1528" fmla="*/ 603426 h 8861755"/>
              <a:gd name="connsiteX1529" fmla="*/ 1205915 w 4772243"/>
              <a:gd name="connsiteY1529" fmla="*/ 579751 h 8861755"/>
              <a:gd name="connsiteX1530" fmla="*/ 1207425 w 4772243"/>
              <a:gd name="connsiteY1530" fmla="*/ 553117 h 8861755"/>
              <a:gd name="connsiteX1531" fmla="*/ 1207425 w 4772243"/>
              <a:gd name="connsiteY1531" fmla="*/ 500119 h 8861755"/>
              <a:gd name="connsiteX1532" fmla="*/ 1203801 w 4772243"/>
              <a:gd name="connsiteY1532" fmla="*/ 446852 h 8861755"/>
              <a:gd name="connsiteX1533" fmla="*/ 1197458 w 4772243"/>
              <a:gd name="connsiteY1533" fmla="*/ 393854 h 8861755"/>
              <a:gd name="connsiteX1534" fmla="*/ 1193229 w 4772243"/>
              <a:gd name="connsiteY1534" fmla="*/ 367759 h 8861755"/>
              <a:gd name="connsiteX1535" fmla="*/ 1189604 w 4772243"/>
              <a:gd name="connsiteY1535" fmla="*/ 347313 h 8861755"/>
              <a:gd name="connsiteX1536" fmla="*/ 1183866 w 4772243"/>
              <a:gd name="connsiteY1536" fmla="*/ 308035 h 8861755"/>
              <a:gd name="connsiteX1537" fmla="*/ 1182658 w 4772243"/>
              <a:gd name="connsiteY1537" fmla="*/ 268488 h 8861755"/>
              <a:gd name="connsiteX1538" fmla="*/ 1186584 w 4772243"/>
              <a:gd name="connsiteY1538" fmla="*/ 238896 h 8861755"/>
              <a:gd name="connsiteX1539" fmla="*/ 1192021 w 4772243"/>
              <a:gd name="connsiteY1539" fmla="*/ 218987 h 8861755"/>
              <a:gd name="connsiteX1540" fmla="*/ 1195947 w 4772243"/>
              <a:gd name="connsiteY1540" fmla="*/ 209303 h 8861755"/>
              <a:gd name="connsiteX1541" fmla="*/ 1199270 w 4772243"/>
              <a:gd name="connsiteY1541" fmla="*/ 200694 h 8861755"/>
              <a:gd name="connsiteX1542" fmla="*/ 1198666 w 4772243"/>
              <a:gd name="connsiteY1542" fmla="*/ 185629 h 8861755"/>
              <a:gd name="connsiteX1543" fmla="*/ 1194437 w 4772243"/>
              <a:gd name="connsiteY1543" fmla="*/ 173522 h 8861755"/>
              <a:gd name="connsiteX1544" fmla="*/ 1190510 w 4772243"/>
              <a:gd name="connsiteY1544" fmla="*/ 162222 h 8861755"/>
              <a:gd name="connsiteX1545" fmla="*/ 1190510 w 4772243"/>
              <a:gd name="connsiteY1545" fmla="*/ 156573 h 8861755"/>
              <a:gd name="connsiteX1546" fmla="*/ 1190812 w 4772243"/>
              <a:gd name="connsiteY1546" fmla="*/ 154959 h 8861755"/>
              <a:gd name="connsiteX1547" fmla="*/ 1194135 w 4772243"/>
              <a:gd name="connsiteY1547" fmla="*/ 152807 h 8861755"/>
              <a:gd name="connsiteX1548" fmla="*/ 1201384 w 4772243"/>
              <a:gd name="connsiteY1548" fmla="*/ 151462 h 8861755"/>
              <a:gd name="connsiteX1549" fmla="*/ 1205915 w 4772243"/>
              <a:gd name="connsiteY1549" fmla="*/ 152538 h 8861755"/>
              <a:gd name="connsiteX1550" fmla="*/ 1211351 w 4772243"/>
              <a:gd name="connsiteY1550" fmla="*/ 164107 h 8861755"/>
              <a:gd name="connsiteX1551" fmla="*/ 1218299 w 4772243"/>
              <a:gd name="connsiteY1551" fmla="*/ 179440 h 8861755"/>
              <a:gd name="connsiteX1552" fmla="*/ 1231287 w 4772243"/>
              <a:gd name="connsiteY1552" fmla="*/ 169487 h 8861755"/>
              <a:gd name="connsiteX1553" fmla="*/ 1254847 w 4772243"/>
              <a:gd name="connsiteY1553" fmla="*/ 149847 h 8861755"/>
              <a:gd name="connsiteX1554" fmla="*/ 1275990 w 4772243"/>
              <a:gd name="connsiteY1554" fmla="*/ 128864 h 8861755"/>
              <a:gd name="connsiteX1555" fmla="*/ 1294717 w 4772243"/>
              <a:gd name="connsiteY1555" fmla="*/ 107073 h 8861755"/>
              <a:gd name="connsiteX1556" fmla="*/ 1311631 w 4772243"/>
              <a:gd name="connsiteY1556" fmla="*/ 84744 h 8861755"/>
              <a:gd name="connsiteX1557" fmla="*/ 1326129 w 4772243"/>
              <a:gd name="connsiteY1557" fmla="*/ 61876 h 8861755"/>
              <a:gd name="connsiteX1558" fmla="*/ 1338815 w 4772243"/>
              <a:gd name="connsiteY1558" fmla="*/ 37663 h 8861755"/>
              <a:gd name="connsiteX1559" fmla="*/ 1349387 w 4772243"/>
              <a:gd name="connsiteY1559" fmla="*/ 12913 h 8861755"/>
              <a:gd name="connsiteX1560" fmla="*/ 1354219 w 4772243"/>
              <a:gd name="connsiteY1560" fmla="*/ 0 h 8861755"/>
              <a:gd name="connsiteX1561" fmla="*/ 1354219 w 4772243"/>
              <a:gd name="connsiteY1561" fmla="*/ 10493 h 8861755"/>
              <a:gd name="connsiteX1562" fmla="*/ 1351501 w 4772243"/>
              <a:gd name="connsiteY1562" fmla="*/ 31207 h 8861755"/>
              <a:gd name="connsiteX1563" fmla="*/ 1346064 w 4772243"/>
              <a:gd name="connsiteY1563" fmla="*/ 50577 h 8861755"/>
              <a:gd name="connsiteX1564" fmla="*/ 1338211 w 4772243"/>
              <a:gd name="connsiteY1564" fmla="*/ 69409 h 8861755"/>
              <a:gd name="connsiteX1565" fmla="*/ 1322806 w 4772243"/>
              <a:gd name="connsiteY1565" fmla="*/ 96311 h 8861755"/>
              <a:gd name="connsiteX1566" fmla="*/ 1295321 w 4772243"/>
              <a:gd name="connsiteY1566" fmla="*/ 129940 h 8861755"/>
              <a:gd name="connsiteX1567" fmla="*/ 1279916 w 4772243"/>
              <a:gd name="connsiteY1567" fmla="*/ 145543 h 8861755"/>
              <a:gd name="connsiteX1568" fmla="*/ 1269345 w 4772243"/>
              <a:gd name="connsiteY1568" fmla="*/ 156035 h 8861755"/>
              <a:gd name="connsiteX1569" fmla="*/ 1251222 w 4772243"/>
              <a:gd name="connsiteY1569" fmla="*/ 177557 h 8861755"/>
              <a:gd name="connsiteX1570" fmla="*/ 1236421 w 4772243"/>
              <a:gd name="connsiteY1570" fmla="*/ 199617 h 8861755"/>
              <a:gd name="connsiteX1571" fmla="*/ 1225246 w 4772243"/>
              <a:gd name="connsiteY1571" fmla="*/ 222216 h 8861755"/>
              <a:gd name="connsiteX1572" fmla="*/ 1217695 w 4772243"/>
              <a:gd name="connsiteY1572" fmla="*/ 245621 h 8861755"/>
              <a:gd name="connsiteX1573" fmla="*/ 1213768 w 4772243"/>
              <a:gd name="connsiteY1573" fmla="*/ 270102 h 8861755"/>
              <a:gd name="connsiteX1574" fmla="*/ 1213164 w 4772243"/>
              <a:gd name="connsiteY1574" fmla="*/ 294853 h 8861755"/>
              <a:gd name="connsiteX1575" fmla="*/ 1216486 w 4772243"/>
              <a:gd name="connsiteY1575" fmla="*/ 320679 h 8861755"/>
              <a:gd name="connsiteX1576" fmla="*/ 1219507 w 4772243"/>
              <a:gd name="connsiteY1576" fmla="*/ 333862 h 8861755"/>
              <a:gd name="connsiteX1577" fmla="*/ 1240348 w 4772243"/>
              <a:gd name="connsiteY1577" fmla="*/ 419681 h 8861755"/>
              <a:gd name="connsiteX1578" fmla="*/ 1258773 w 4772243"/>
              <a:gd name="connsiteY1578" fmla="*/ 501465 h 8861755"/>
              <a:gd name="connsiteX1579" fmla="*/ 1292602 w 4772243"/>
              <a:gd name="connsiteY1579" fmla="*/ 448466 h 8861755"/>
              <a:gd name="connsiteX1580" fmla="*/ 1330358 w 4772243"/>
              <a:gd name="connsiteY1580" fmla="*/ 390625 h 8861755"/>
              <a:gd name="connsiteX1581" fmla="*/ 1336701 w 4772243"/>
              <a:gd name="connsiteY1581" fmla="*/ 393047 h 8861755"/>
              <a:gd name="connsiteX1582" fmla="*/ 1343345 w 4772243"/>
              <a:gd name="connsiteY1582" fmla="*/ 395468 h 8861755"/>
              <a:gd name="connsiteX1583" fmla="*/ 1340326 w 4772243"/>
              <a:gd name="connsiteY1583" fmla="*/ 403808 h 8861755"/>
              <a:gd name="connsiteX1584" fmla="*/ 1337003 w 4772243"/>
              <a:gd name="connsiteY1584" fmla="*/ 412417 h 8861755"/>
              <a:gd name="connsiteX1585" fmla="*/ 1313745 w 4772243"/>
              <a:gd name="connsiteY1585" fmla="*/ 455461 h 8861755"/>
              <a:gd name="connsiteX1586" fmla="*/ 1279010 w 4772243"/>
              <a:gd name="connsiteY1586" fmla="*/ 520835 h 8861755"/>
              <a:gd name="connsiteX1587" fmla="*/ 1258773 w 4772243"/>
              <a:gd name="connsiteY1587" fmla="*/ 564685 h 8861755"/>
              <a:gd name="connsiteX1588" fmla="*/ 1250920 w 4772243"/>
              <a:gd name="connsiteY1588" fmla="*/ 587015 h 8861755"/>
              <a:gd name="connsiteX1589" fmla="*/ 1246993 w 4772243"/>
              <a:gd name="connsiteY1589" fmla="*/ 601005 h 8861755"/>
              <a:gd name="connsiteX1590" fmla="*/ 1243369 w 4772243"/>
              <a:gd name="connsiteY1590" fmla="*/ 630597 h 8861755"/>
              <a:gd name="connsiteX1591" fmla="*/ 1245785 w 4772243"/>
              <a:gd name="connsiteY1591" fmla="*/ 660998 h 8861755"/>
              <a:gd name="connsiteX1592" fmla="*/ 1253638 w 4772243"/>
              <a:gd name="connsiteY1592" fmla="*/ 689783 h 8861755"/>
              <a:gd name="connsiteX1593" fmla="*/ 1259679 w 4772243"/>
              <a:gd name="connsiteY1593" fmla="*/ 702965 h 8861755"/>
              <a:gd name="connsiteX1594" fmla="*/ 1280218 w 4772243"/>
              <a:gd name="connsiteY1594" fmla="*/ 741167 h 8861755"/>
              <a:gd name="connsiteX1595" fmla="*/ 1323713 w 4772243"/>
              <a:gd name="connsiteY1595" fmla="*/ 815687 h 8861755"/>
              <a:gd name="connsiteX1596" fmla="*/ 1391673 w 4772243"/>
              <a:gd name="connsiteY1596" fmla="*/ 926525 h 8861755"/>
              <a:gd name="connsiteX1597" fmla="*/ 1436376 w 4772243"/>
              <a:gd name="connsiteY1597" fmla="*/ 999700 h 8861755"/>
              <a:gd name="connsiteX1598" fmla="*/ 1452686 w 4772243"/>
              <a:gd name="connsiteY1598" fmla="*/ 977641 h 8861755"/>
              <a:gd name="connsiteX1599" fmla="*/ 1483797 w 4772243"/>
              <a:gd name="connsiteY1599" fmla="*/ 931368 h 8861755"/>
              <a:gd name="connsiteX1600" fmla="*/ 1514303 w 4772243"/>
              <a:gd name="connsiteY1600" fmla="*/ 884019 h 8861755"/>
              <a:gd name="connsiteX1601" fmla="*/ 1546018 w 4772243"/>
              <a:gd name="connsiteY1601" fmla="*/ 836940 h 8861755"/>
              <a:gd name="connsiteX1602" fmla="*/ 1580753 w 4772243"/>
              <a:gd name="connsiteY1602" fmla="*/ 791206 h 8861755"/>
              <a:gd name="connsiteX1603" fmla="*/ 1620321 w 4772243"/>
              <a:gd name="connsiteY1603" fmla="*/ 748162 h 8861755"/>
              <a:gd name="connsiteX1604" fmla="*/ 1654453 w 4772243"/>
              <a:gd name="connsiteY1604" fmla="*/ 718030 h 8861755"/>
              <a:gd name="connsiteX1605" fmla="*/ 1679523 w 4772243"/>
              <a:gd name="connsiteY1605" fmla="*/ 699199 h 8861755"/>
              <a:gd name="connsiteX1606" fmla="*/ 1706404 w 4772243"/>
              <a:gd name="connsiteY1606" fmla="*/ 681711 h 8861755"/>
              <a:gd name="connsiteX1607" fmla="*/ 1736307 w 4772243"/>
              <a:gd name="connsiteY1607" fmla="*/ 666109 h 8861755"/>
              <a:gd name="connsiteX1608" fmla="*/ 1752013 w 4772243"/>
              <a:gd name="connsiteY1608" fmla="*/ 658845 h 8861755"/>
              <a:gd name="connsiteX1609" fmla="*/ 1739327 w 4772243"/>
              <a:gd name="connsiteY1609" fmla="*/ 667185 h 8861755"/>
              <a:gd name="connsiteX1610" fmla="*/ 1715768 w 4772243"/>
              <a:gd name="connsiteY1610" fmla="*/ 684671 h 8861755"/>
              <a:gd name="connsiteX1611" fmla="*/ 1694323 w 4772243"/>
              <a:gd name="connsiteY1611" fmla="*/ 703503 h 8861755"/>
              <a:gd name="connsiteX1612" fmla="*/ 1674086 w 4772243"/>
              <a:gd name="connsiteY1612" fmla="*/ 723412 h 8861755"/>
              <a:gd name="connsiteX1613" fmla="*/ 1655661 w 4772243"/>
              <a:gd name="connsiteY1613" fmla="*/ 744665 h 8861755"/>
              <a:gd name="connsiteX1614" fmla="*/ 1638747 w 4772243"/>
              <a:gd name="connsiteY1614" fmla="*/ 766993 h 8861755"/>
              <a:gd name="connsiteX1615" fmla="*/ 1616093 w 4772243"/>
              <a:gd name="connsiteY1615" fmla="*/ 802773 h 8861755"/>
              <a:gd name="connsiteX1616" fmla="*/ 1602803 w 4772243"/>
              <a:gd name="connsiteY1616" fmla="*/ 828600 h 8861755"/>
              <a:gd name="connsiteX1617" fmla="*/ 1665024 w 4772243"/>
              <a:gd name="connsiteY1617" fmla="*/ 807078 h 8861755"/>
              <a:gd name="connsiteX1618" fmla="*/ 1704290 w 4772243"/>
              <a:gd name="connsiteY1618" fmla="*/ 792282 h 8861755"/>
              <a:gd name="connsiteX1619" fmla="*/ 1712143 w 4772243"/>
              <a:gd name="connsiteY1619" fmla="*/ 795779 h 8861755"/>
              <a:gd name="connsiteX1620" fmla="*/ 1720601 w 4772243"/>
              <a:gd name="connsiteY1620" fmla="*/ 802773 h 8861755"/>
              <a:gd name="connsiteX1621" fmla="*/ 1720601 w 4772243"/>
              <a:gd name="connsiteY1621" fmla="*/ 809499 h 8861755"/>
              <a:gd name="connsiteX1622" fmla="*/ 1713049 w 4772243"/>
              <a:gd name="connsiteY1622" fmla="*/ 814610 h 8861755"/>
              <a:gd name="connsiteX1623" fmla="*/ 1707008 w 4772243"/>
              <a:gd name="connsiteY1623" fmla="*/ 816763 h 8861755"/>
              <a:gd name="connsiteX1624" fmla="*/ 1687979 w 4772243"/>
              <a:gd name="connsiteY1624" fmla="*/ 821874 h 8861755"/>
              <a:gd name="connsiteX1625" fmla="*/ 1654453 w 4772243"/>
              <a:gd name="connsiteY1625" fmla="*/ 834788 h 8861755"/>
              <a:gd name="connsiteX1626" fmla="*/ 1624550 w 4772243"/>
              <a:gd name="connsiteY1626" fmla="*/ 849584 h 8861755"/>
              <a:gd name="connsiteX1627" fmla="*/ 1598876 w 4772243"/>
              <a:gd name="connsiteY1627" fmla="*/ 865995 h 8861755"/>
              <a:gd name="connsiteX1628" fmla="*/ 1566859 w 4772243"/>
              <a:gd name="connsiteY1628" fmla="*/ 891284 h 8861755"/>
              <a:gd name="connsiteX1629" fmla="*/ 1534540 w 4772243"/>
              <a:gd name="connsiteY1629" fmla="*/ 923567 h 8861755"/>
              <a:gd name="connsiteX1630" fmla="*/ 1522459 w 4772243"/>
              <a:gd name="connsiteY1630" fmla="*/ 935942 h 8861755"/>
              <a:gd name="connsiteX1631" fmla="*/ 1503732 w 4772243"/>
              <a:gd name="connsiteY1631" fmla="*/ 955581 h 8861755"/>
              <a:gd name="connsiteX1632" fmla="*/ 1481381 w 4772243"/>
              <a:gd name="connsiteY1632" fmla="*/ 984366 h 8861755"/>
              <a:gd name="connsiteX1633" fmla="*/ 1470507 w 4772243"/>
              <a:gd name="connsiteY1633" fmla="*/ 1003736 h 8861755"/>
              <a:gd name="connsiteX1634" fmla="*/ 1462654 w 4772243"/>
              <a:gd name="connsiteY1634" fmla="*/ 1023644 h 8861755"/>
              <a:gd name="connsiteX1635" fmla="*/ 1458425 w 4772243"/>
              <a:gd name="connsiteY1635" fmla="*/ 1043821 h 8861755"/>
              <a:gd name="connsiteX1636" fmla="*/ 1457519 w 4772243"/>
              <a:gd name="connsiteY1636" fmla="*/ 1065343 h 8861755"/>
              <a:gd name="connsiteX1637" fmla="*/ 1461446 w 4772243"/>
              <a:gd name="connsiteY1637" fmla="*/ 1088480 h 8861755"/>
              <a:gd name="connsiteX1638" fmla="*/ 1465070 w 4772243"/>
              <a:gd name="connsiteY1638" fmla="*/ 1100585 h 8861755"/>
              <a:gd name="connsiteX1639" fmla="*/ 1468091 w 4772243"/>
              <a:gd name="connsiteY1639" fmla="*/ 1111347 h 8861755"/>
              <a:gd name="connsiteX1640" fmla="*/ 1470809 w 4772243"/>
              <a:gd name="connsiteY1640" fmla="*/ 1134483 h 8861755"/>
              <a:gd name="connsiteX1641" fmla="*/ 1470204 w 4772243"/>
              <a:gd name="connsiteY1641" fmla="*/ 1157888 h 8861755"/>
              <a:gd name="connsiteX1642" fmla="*/ 1466581 w 4772243"/>
              <a:gd name="connsiteY1642" fmla="*/ 1181024 h 8861755"/>
              <a:gd name="connsiteX1643" fmla="*/ 1457821 w 4772243"/>
              <a:gd name="connsiteY1643" fmla="*/ 1215728 h 8861755"/>
              <a:gd name="connsiteX1644" fmla="*/ 1443323 w 4772243"/>
              <a:gd name="connsiteY1644" fmla="*/ 1257159 h 8861755"/>
              <a:gd name="connsiteX1645" fmla="*/ 1437282 w 4772243"/>
              <a:gd name="connsiteY1645" fmla="*/ 1274645 h 8861755"/>
              <a:gd name="connsiteX1646" fmla="*/ 1431241 w 4772243"/>
              <a:gd name="connsiteY1646" fmla="*/ 1289711 h 8861755"/>
              <a:gd name="connsiteX1647" fmla="*/ 1427918 w 4772243"/>
              <a:gd name="connsiteY1647" fmla="*/ 1306659 h 8861755"/>
              <a:gd name="connsiteX1648" fmla="*/ 1432449 w 4772243"/>
              <a:gd name="connsiteY1648" fmla="*/ 1318766 h 8861755"/>
              <a:gd name="connsiteX1649" fmla="*/ 1437886 w 4772243"/>
              <a:gd name="connsiteY1649" fmla="*/ 1325761 h 8861755"/>
              <a:gd name="connsiteX1650" fmla="*/ 1450874 w 4772243"/>
              <a:gd name="connsiteY1650" fmla="*/ 1341094 h 8861755"/>
              <a:gd name="connsiteX1651" fmla="*/ 1473829 w 4772243"/>
              <a:gd name="connsiteY1651" fmla="*/ 1372571 h 8861755"/>
              <a:gd name="connsiteX1652" fmla="*/ 1492858 w 4772243"/>
              <a:gd name="connsiteY1652" fmla="*/ 1405123 h 8861755"/>
              <a:gd name="connsiteX1653" fmla="*/ 1508565 w 4772243"/>
              <a:gd name="connsiteY1653" fmla="*/ 1438214 h 8861755"/>
              <a:gd name="connsiteX1654" fmla="*/ 1520042 w 4772243"/>
              <a:gd name="connsiteY1654" fmla="*/ 1472380 h 8861755"/>
              <a:gd name="connsiteX1655" fmla="*/ 1529104 w 4772243"/>
              <a:gd name="connsiteY1655" fmla="*/ 1507083 h 8861755"/>
              <a:gd name="connsiteX1656" fmla="*/ 1535144 w 4772243"/>
              <a:gd name="connsiteY1656" fmla="*/ 1542864 h 8861755"/>
              <a:gd name="connsiteX1657" fmla="*/ 1538165 w 4772243"/>
              <a:gd name="connsiteY1657" fmla="*/ 1578914 h 8861755"/>
              <a:gd name="connsiteX1658" fmla="*/ 1538467 w 4772243"/>
              <a:gd name="connsiteY1658" fmla="*/ 1597746 h 8861755"/>
              <a:gd name="connsiteX1659" fmla="*/ 1539373 w 4772243"/>
              <a:gd name="connsiteY1659" fmla="*/ 1667961 h 8861755"/>
              <a:gd name="connsiteX1660" fmla="*/ 1543904 w 4772243"/>
              <a:gd name="connsiteY1660" fmla="*/ 1772881 h 8861755"/>
              <a:gd name="connsiteX1661" fmla="*/ 1552361 w 4772243"/>
              <a:gd name="connsiteY1661" fmla="*/ 1842559 h 8861755"/>
              <a:gd name="connsiteX1662" fmla="*/ 1558402 w 4772243"/>
              <a:gd name="connsiteY1662" fmla="*/ 1877264 h 8861755"/>
              <a:gd name="connsiteX1663" fmla="*/ 1566859 w 4772243"/>
              <a:gd name="connsiteY1663" fmla="*/ 1916810 h 8861755"/>
              <a:gd name="connsiteX1664" fmla="*/ 1586794 w 4772243"/>
              <a:gd name="connsiteY1664" fmla="*/ 1996173 h 8861755"/>
              <a:gd name="connsiteX1665" fmla="*/ 1609750 w 4772243"/>
              <a:gd name="connsiteY1665" fmla="*/ 2074459 h 8861755"/>
              <a:gd name="connsiteX1666" fmla="*/ 1635726 w 4772243"/>
              <a:gd name="connsiteY1666" fmla="*/ 2152208 h 8861755"/>
              <a:gd name="connsiteX1667" fmla="*/ 1664118 w 4772243"/>
              <a:gd name="connsiteY1667" fmla="*/ 2229688 h 8861755"/>
              <a:gd name="connsiteX1668" fmla="*/ 1695229 w 4772243"/>
              <a:gd name="connsiteY1668" fmla="*/ 2306629 h 8861755"/>
              <a:gd name="connsiteX1669" fmla="*/ 1744462 w 4772243"/>
              <a:gd name="connsiteY1669" fmla="*/ 2421233 h 8861755"/>
              <a:gd name="connsiteX1670" fmla="*/ 1780104 w 4772243"/>
              <a:gd name="connsiteY1670" fmla="*/ 2497100 h 8861755"/>
              <a:gd name="connsiteX1671" fmla="*/ 1787957 w 4772243"/>
              <a:gd name="connsiteY1671" fmla="*/ 2513779 h 8861755"/>
              <a:gd name="connsiteX1672" fmla="*/ 1806080 w 4772243"/>
              <a:gd name="connsiteY1672" fmla="*/ 2544986 h 8861755"/>
              <a:gd name="connsiteX1673" fmla="*/ 1826317 w 4772243"/>
              <a:gd name="connsiteY1673" fmla="*/ 2573771 h 8861755"/>
              <a:gd name="connsiteX1674" fmla="*/ 1848668 w 4772243"/>
              <a:gd name="connsiteY1674" fmla="*/ 2601481 h 8861755"/>
              <a:gd name="connsiteX1675" fmla="*/ 1872832 w 4772243"/>
              <a:gd name="connsiteY1675" fmla="*/ 2626770 h 8861755"/>
              <a:gd name="connsiteX1676" fmla="*/ 1898808 w 4772243"/>
              <a:gd name="connsiteY1676" fmla="*/ 2650982 h 8861755"/>
              <a:gd name="connsiteX1677" fmla="*/ 1940188 w 4772243"/>
              <a:gd name="connsiteY1677" fmla="*/ 2685149 h 8861755"/>
              <a:gd name="connsiteX1678" fmla="*/ 2000597 w 4772243"/>
              <a:gd name="connsiteY1678" fmla="*/ 2726309 h 8861755"/>
              <a:gd name="connsiteX1679" fmla="*/ 2064631 w 4772243"/>
              <a:gd name="connsiteY1679" fmla="*/ 2764511 h 8861755"/>
              <a:gd name="connsiteX1680" fmla="*/ 2164910 w 4772243"/>
              <a:gd name="connsiteY1680" fmla="*/ 2819392 h 8861755"/>
              <a:gd name="connsiteX1681" fmla="*/ 2232568 w 4772243"/>
              <a:gd name="connsiteY1681" fmla="*/ 2855441 h 8861755"/>
              <a:gd name="connsiteX1682" fmla="*/ 2243139 w 4772243"/>
              <a:gd name="connsiteY1682" fmla="*/ 2808900 h 8861755"/>
              <a:gd name="connsiteX1683" fmla="*/ 2258242 w 4772243"/>
              <a:gd name="connsiteY1683" fmla="*/ 2739760 h 8861755"/>
              <a:gd name="connsiteX1684" fmla="*/ 2269417 w 4772243"/>
              <a:gd name="connsiteY1684" fmla="*/ 2694564 h 8861755"/>
              <a:gd name="connsiteX1685" fmla="*/ 2276062 w 4772243"/>
              <a:gd name="connsiteY1685" fmla="*/ 2672235 h 8861755"/>
              <a:gd name="connsiteX1686" fmla="*/ 2298716 w 4772243"/>
              <a:gd name="connsiteY1686" fmla="*/ 2599867 h 8861755"/>
              <a:gd name="connsiteX1687" fmla="*/ 2322574 w 4772243"/>
              <a:gd name="connsiteY1687" fmla="*/ 2516327 h 8861755"/>
              <a:gd name="connsiteX1688" fmla="*/ 2284422 w 4772243"/>
              <a:gd name="connsiteY1688" fmla="*/ 2500623 h 8861755"/>
              <a:gd name="connsiteX1689" fmla="*/ 2256613 w 4772243"/>
              <a:gd name="connsiteY1689" fmla="*/ 2491213 h 8861755"/>
              <a:gd name="connsiteX1690" fmla="*/ 2243010 w 4772243"/>
              <a:gd name="connsiteY1690" fmla="*/ 2486643 h 8861755"/>
              <a:gd name="connsiteX1691" fmla="*/ 2217922 w 4772243"/>
              <a:gd name="connsiteY1691" fmla="*/ 2475621 h 8861755"/>
              <a:gd name="connsiteX1692" fmla="*/ 2195251 w 4772243"/>
              <a:gd name="connsiteY1692" fmla="*/ 2462450 h 8861755"/>
              <a:gd name="connsiteX1693" fmla="*/ 2174998 w 4772243"/>
              <a:gd name="connsiteY1693" fmla="*/ 2447665 h 8861755"/>
              <a:gd name="connsiteX1694" fmla="*/ 2147189 w 4772243"/>
              <a:gd name="connsiteY1694" fmla="*/ 2422932 h 8861755"/>
              <a:gd name="connsiteX1695" fmla="*/ 2114242 w 4772243"/>
              <a:gd name="connsiteY1695" fmla="*/ 2385297 h 8861755"/>
              <a:gd name="connsiteX1696" fmla="*/ 2098523 w 4772243"/>
              <a:gd name="connsiteY1696" fmla="*/ 2365135 h 8861755"/>
              <a:gd name="connsiteX1697" fmla="*/ 2081293 w 4772243"/>
              <a:gd name="connsiteY1697" fmla="*/ 2342823 h 8861755"/>
              <a:gd name="connsiteX1698" fmla="*/ 2044114 w 4772243"/>
              <a:gd name="connsiteY1698" fmla="*/ 2299274 h 8861755"/>
              <a:gd name="connsiteX1699" fmla="*/ 2003609 w 4772243"/>
              <a:gd name="connsiteY1699" fmla="*/ 2257606 h 8861755"/>
              <a:gd name="connsiteX1700" fmla="*/ 1961291 w 4772243"/>
              <a:gd name="connsiteY1700" fmla="*/ 2216745 h 8861755"/>
              <a:gd name="connsiteX1701" fmla="*/ 1939829 w 4772243"/>
              <a:gd name="connsiteY1701" fmla="*/ 2197121 h 8861755"/>
              <a:gd name="connsiteX1702" fmla="*/ 1922902 w 4772243"/>
              <a:gd name="connsiteY1702" fmla="*/ 2182336 h 8861755"/>
              <a:gd name="connsiteX1703" fmla="*/ 1890558 w 4772243"/>
              <a:gd name="connsiteY1703" fmla="*/ 2152497 h 8861755"/>
              <a:gd name="connsiteX1704" fmla="*/ 1861842 w 4772243"/>
              <a:gd name="connsiteY1704" fmla="*/ 2121045 h 8861755"/>
              <a:gd name="connsiteX1705" fmla="*/ 1844310 w 4772243"/>
              <a:gd name="connsiteY1705" fmla="*/ 2094700 h 8861755"/>
              <a:gd name="connsiteX1706" fmla="*/ 1834637 w 4772243"/>
              <a:gd name="connsiteY1706" fmla="*/ 2076420 h 8861755"/>
              <a:gd name="connsiteX1707" fmla="*/ 1831010 w 4772243"/>
              <a:gd name="connsiteY1707" fmla="*/ 2066205 h 8861755"/>
              <a:gd name="connsiteX1708" fmla="*/ 1827383 w 4772243"/>
              <a:gd name="connsiteY1708" fmla="*/ 2057602 h 8861755"/>
              <a:gd name="connsiteX1709" fmla="*/ 1816501 w 4772243"/>
              <a:gd name="connsiteY1709" fmla="*/ 2045775 h 8861755"/>
              <a:gd name="connsiteX1710" fmla="*/ 1804107 w 4772243"/>
              <a:gd name="connsiteY1710" fmla="*/ 2037709 h 8861755"/>
              <a:gd name="connsiteX1711" fmla="*/ 1793528 w 4772243"/>
              <a:gd name="connsiteY1711" fmla="*/ 2030452 h 8861755"/>
              <a:gd name="connsiteX1712" fmla="*/ 1789598 w 4772243"/>
              <a:gd name="connsiteY1712" fmla="*/ 2025881 h 8861755"/>
              <a:gd name="connsiteX1713" fmla="*/ 1788994 w 4772243"/>
              <a:gd name="connsiteY1713" fmla="*/ 2023999 h 8861755"/>
              <a:gd name="connsiteX1714" fmla="*/ 1789598 w 4772243"/>
              <a:gd name="connsiteY1714" fmla="*/ 2021043 h 8861755"/>
              <a:gd name="connsiteX1715" fmla="*/ 1794435 w 4772243"/>
              <a:gd name="connsiteY1715" fmla="*/ 2016742 h 8861755"/>
              <a:gd name="connsiteX1716" fmla="*/ 1798667 w 4772243"/>
              <a:gd name="connsiteY1716" fmla="*/ 2015129 h 8861755"/>
              <a:gd name="connsiteX1717" fmla="*/ 1810757 w 4772243"/>
              <a:gd name="connsiteY1717" fmla="*/ 2022387 h 8861755"/>
              <a:gd name="connsiteX1718" fmla="*/ 1827383 w 4772243"/>
              <a:gd name="connsiteY1718" fmla="*/ 2031796 h 8861755"/>
              <a:gd name="connsiteX1719" fmla="*/ 1831010 w 4772243"/>
              <a:gd name="connsiteY1719" fmla="*/ 2017816 h 8861755"/>
              <a:gd name="connsiteX1720" fmla="*/ 1835242 w 4772243"/>
              <a:gd name="connsiteY1720" fmla="*/ 1990665 h 8861755"/>
              <a:gd name="connsiteX1721" fmla="*/ 1837660 w 4772243"/>
              <a:gd name="connsiteY1721" fmla="*/ 1963783 h 8861755"/>
              <a:gd name="connsiteX1722" fmla="*/ 1837660 w 4772243"/>
              <a:gd name="connsiteY1722" fmla="*/ 1937707 h 8861755"/>
              <a:gd name="connsiteX1723" fmla="*/ 1834637 w 4772243"/>
              <a:gd name="connsiteY1723" fmla="*/ 1911900 h 8861755"/>
              <a:gd name="connsiteX1724" fmla="*/ 1830103 w 4772243"/>
              <a:gd name="connsiteY1724" fmla="*/ 1886093 h 8861755"/>
              <a:gd name="connsiteX1725" fmla="*/ 1823453 w 4772243"/>
              <a:gd name="connsiteY1725" fmla="*/ 1860555 h 8861755"/>
              <a:gd name="connsiteX1726" fmla="*/ 1814385 w 4772243"/>
              <a:gd name="connsiteY1726" fmla="*/ 1835555 h 8861755"/>
              <a:gd name="connsiteX1727" fmla="*/ 1809246 w 4772243"/>
              <a:gd name="connsiteY1727" fmla="*/ 1822920 h 8861755"/>
              <a:gd name="connsiteX1728" fmla="*/ 1816501 w 4772243"/>
              <a:gd name="connsiteY1728" fmla="*/ 1831791 h 8861755"/>
              <a:gd name="connsiteX1729" fmla="*/ 1828894 w 4772243"/>
              <a:gd name="connsiteY1729" fmla="*/ 1849533 h 8861755"/>
              <a:gd name="connsiteX1730" fmla="*/ 1838264 w 4772243"/>
              <a:gd name="connsiteY1730" fmla="*/ 1868082 h 8861755"/>
              <a:gd name="connsiteX1731" fmla="*/ 1845217 w 4772243"/>
              <a:gd name="connsiteY1731" fmla="*/ 1887169 h 8861755"/>
              <a:gd name="connsiteX1732" fmla="*/ 1851565 w 4772243"/>
              <a:gd name="connsiteY1732" fmla="*/ 1915933 h 8861755"/>
              <a:gd name="connsiteX1733" fmla="*/ 1853680 w 4772243"/>
              <a:gd name="connsiteY1733" fmla="*/ 1955719 h 8861755"/>
              <a:gd name="connsiteX1734" fmla="*/ 1852471 w 4772243"/>
              <a:gd name="connsiteY1734" fmla="*/ 1975880 h 8861755"/>
              <a:gd name="connsiteX1735" fmla="*/ 1851263 w 4772243"/>
              <a:gd name="connsiteY1735" fmla="*/ 1989322 h 8861755"/>
              <a:gd name="connsiteX1736" fmla="*/ 1852169 w 4772243"/>
              <a:gd name="connsiteY1736" fmla="*/ 2015129 h 8861755"/>
              <a:gd name="connsiteX1737" fmla="*/ 1855797 w 4772243"/>
              <a:gd name="connsiteY1737" fmla="*/ 2039860 h 8861755"/>
              <a:gd name="connsiteX1738" fmla="*/ 1863051 w 4772243"/>
              <a:gd name="connsiteY1738" fmla="*/ 2063517 h 8861755"/>
              <a:gd name="connsiteX1739" fmla="*/ 1873631 w 4772243"/>
              <a:gd name="connsiteY1739" fmla="*/ 2086366 h 8861755"/>
              <a:gd name="connsiteX1740" fmla="*/ 1887233 w 4772243"/>
              <a:gd name="connsiteY1740" fmla="*/ 2108141 h 8861755"/>
              <a:gd name="connsiteX1741" fmla="*/ 1904463 w 4772243"/>
              <a:gd name="connsiteY1741" fmla="*/ 2128572 h 8861755"/>
              <a:gd name="connsiteX1742" fmla="*/ 1925017 w 4772243"/>
              <a:gd name="connsiteY1742" fmla="*/ 2148196 h 8861755"/>
              <a:gd name="connsiteX1743" fmla="*/ 1937109 w 4772243"/>
              <a:gd name="connsiteY1743" fmla="*/ 2157604 h 8861755"/>
              <a:gd name="connsiteX1744" fmla="*/ 2013584 w 4772243"/>
              <a:gd name="connsiteY1744" fmla="*/ 2218358 h 8861755"/>
              <a:gd name="connsiteX1745" fmla="*/ 2085223 w 4772243"/>
              <a:gd name="connsiteY1745" fmla="*/ 2276962 h 8861755"/>
              <a:gd name="connsiteX1746" fmla="*/ 2075248 w 4772243"/>
              <a:gd name="connsiteY1746" fmla="*/ 2218089 h 8861755"/>
              <a:gd name="connsiteX1747" fmla="*/ 2064064 w 4772243"/>
              <a:gd name="connsiteY1747" fmla="*/ 2153572 h 8861755"/>
              <a:gd name="connsiteX1748" fmla="*/ 2071016 w 4772243"/>
              <a:gd name="connsiteY1748" fmla="*/ 2152497 h 8861755"/>
              <a:gd name="connsiteX1749" fmla="*/ 2077968 w 4772243"/>
              <a:gd name="connsiteY1749" fmla="*/ 2151690 h 8861755"/>
              <a:gd name="connsiteX1750" fmla="*/ 2081596 w 4772243"/>
              <a:gd name="connsiteY1750" fmla="*/ 2160024 h 8861755"/>
              <a:gd name="connsiteX1751" fmla="*/ 2084618 w 4772243"/>
              <a:gd name="connsiteY1751" fmla="*/ 2168358 h 8861755"/>
              <a:gd name="connsiteX1752" fmla="*/ 2097012 w 4772243"/>
              <a:gd name="connsiteY1752" fmla="*/ 2214326 h 8861755"/>
              <a:gd name="connsiteX1753" fmla="*/ 2114846 w 4772243"/>
              <a:gd name="connsiteY1753" fmla="*/ 2283682 h 8861755"/>
              <a:gd name="connsiteX1754" fmla="*/ 2129657 w 4772243"/>
              <a:gd name="connsiteY1754" fmla="*/ 2328844 h 8861755"/>
              <a:gd name="connsiteX1755" fmla="*/ 2139330 w 4772243"/>
              <a:gd name="connsiteY1755" fmla="*/ 2350888 h 8861755"/>
              <a:gd name="connsiteX1756" fmla="*/ 2145980 w 4772243"/>
              <a:gd name="connsiteY1756" fmla="*/ 2363792 h 8861755"/>
              <a:gd name="connsiteX1757" fmla="*/ 2163815 w 4772243"/>
              <a:gd name="connsiteY1757" fmla="*/ 2389868 h 8861755"/>
              <a:gd name="connsiteX1758" fmla="*/ 2187090 w 4772243"/>
              <a:gd name="connsiteY1758" fmla="*/ 2413524 h 8861755"/>
              <a:gd name="connsiteX1759" fmla="*/ 2213690 w 4772243"/>
              <a:gd name="connsiteY1759" fmla="*/ 2433686 h 8861755"/>
              <a:gd name="connsiteX1760" fmla="*/ 2227896 w 4772243"/>
              <a:gd name="connsiteY1760" fmla="*/ 2441750 h 8861755"/>
              <a:gd name="connsiteX1761" fmla="*/ 2311324 w 4772243"/>
              <a:gd name="connsiteY1761" fmla="*/ 2484762 h 8861755"/>
              <a:gd name="connsiteX1762" fmla="*/ 2329185 w 4772243"/>
              <a:gd name="connsiteY1762" fmla="*/ 2493176 h 8861755"/>
              <a:gd name="connsiteX1763" fmla="*/ 2329524 w 4772243"/>
              <a:gd name="connsiteY1763" fmla="*/ 2491988 h 8861755"/>
              <a:gd name="connsiteX1764" fmla="*/ 2347043 w 4772243"/>
              <a:gd name="connsiteY1764" fmla="*/ 2419351 h 8861755"/>
              <a:gd name="connsiteX1765" fmla="*/ 2360937 w 4772243"/>
              <a:gd name="connsiteY1765" fmla="*/ 2346445 h 8861755"/>
              <a:gd name="connsiteX1766" fmla="*/ 2371508 w 4772243"/>
              <a:gd name="connsiteY1766" fmla="*/ 2273001 h 8861755"/>
              <a:gd name="connsiteX1767" fmla="*/ 2376643 w 4772243"/>
              <a:gd name="connsiteY1767" fmla="*/ 2199018 h 8861755"/>
              <a:gd name="connsiteX1768" fmla="*/ 2376643 w 4772243"/>
              <a:gd name="connsiteY1768" fmla="*/ 2124767 h 8861755"/>
              <a:gd name="connsiteX1769" fmla="*/ 2373925 w 4772243"/>
              <a:gd name="connsiteY1769" fmla="*/ 2087104 h 8861755"/>
              <a:gd name="connsiteX1770" fmla="*/ 2371206 w 4772243"/>
              <a:gd name="connsiteY1770" fmla="*/ 2060470 h 8861755"/>
              <a:gd name="connsiteX1771" fmla="*/ 2362750 w 4772243"/>
              <a:gd name="connsiteY1771" fmla="*/ 2022268 h 8861755"/>
              <a:gd name="connsiteX1772" fmla="*/ 2354896 w 4772243"/>
              <a:gd name="connsiteY1772" fmla="*/ 1997788 h 8861755"/>
              <a:gd name="connsiteX1773" fmla="*/ 2344627 w 4772243"/>
              <a:gd name="connsiteY1773" fmla="*/ 1973844 h 8861755"/>
              <a:gd name="connsiteX1774" fmla="*/ 2332243 w 4772243"/>
              <a:gd name="connsiteY1774" fmla="*/ 1950707 h 8861755"/>
              <a:gd name="connsiteX1775" fmla="*/ 2316536 w 4772243"/>
              <a:gd name="connsiteY1775" fmla="*/ 1928648 h 8861755"/>
              <a:gd name="connsiteX1776" fmla="*/ 2298112 w 4772243"/>
              <a:gd name="connsiteY1776" fmla="*/ 1907395 h 8861755"/>
              <a:gd name="connsiteX1777" fmla="*/ 2287540 w 4772243"/>
              <a:gd name="connsiteY1777" fmla="*/ 1897440 h 8861755"/>
              <a:gd name="connsiteX1778" fmla="*/ 2251597 w 4772243"/>
              <a:gd name="connsiteY1778" fmla="*/ 1863543 h 8861755"/>
              <a:gd name="connsiteX1779" fmla="*/ 2175481 w 4772243"/>
              <a:gd name="connsiteY1779" fmla="*/ 1798977 h 8861755"/>
              <a:gd name="connsiteX1780" fmla="*/ 2136517 w 4772243"/>
              <a:gd name="connsiteY1780" fmla="*/ 1767770 h 8861755"/>
              <a:gd name="connsiteX1781" fmla="*/ 2118394 w 4772243"/>
              <a:gd name="connsiteY1781" fmla="*/ 1752973 h 8861755"/>
              <a:gd name="connsiteX1782" fmla="*/ 2085170 w 4772243"/>
              <a:gd name="connsiteY1782" fmla="*/ 1722036 h 8861755"/>
              <a:gd name="connsiteX1783" fmla="*/ 2055871 w 4772243"/>
              <a:gd name="connsiteY1783" fmla="*/ 1690021 h 8861755"/>
              <a:gd name="connsiteX1784" fmla="*/ 2029895 w 4772243"/>
              <a:gd name="connsiteY1784" fmla="*/ 1655855 h 8861755"/>
              <a:gd name="connsiteX1785" fmla="*/ 2018115 w 4772243"/>
              <a:gd name="connsiteY1785" fmla="*/ 1637831 h 8861755"/>
              <a:gd name="connsiteX1786" fmla="*/ 1959821 w 4772243"/>
              <a:gd name="connsiteY1786" fmla="*/ 1629222 h 8861755"/>
              <a:gd name="connsiteX1787" fmla="*/ 1864978 w 4772243"/>
              <a:gd name="connsiteY1787" fmla="*/ 1612542 h 8861755"/>
              <a:gd name="connsiteX1788" fmla="*/ 1794601 w 4772243"/>
              <a:gd name="connsiteY1788" fmla="*/ 1596669 h 8861755"/>
              <a:gd name="connsiteX1789" fmla="*/ 1744160 w 4772243"/>
              <a:gd name="connsiteY1789" fmla="*/ 1582411 h 8861755"/>
              <a:gd name="connsiteX1790" fmla="*/ 1710331 w 4772243"/>
              <a:gd name="connsiteY1790" fmla="*/ 1570036 h 8861755"/>
              <a:gd name="connsiteX1791" fmla="*/ 1690094 w 4772243"/>
              <a:gd name="connsiteY1791" fmla="*/ 1559006 h 8861755"/>
              <a:gd name="connsiteX1792" fmla="*/ 1679221 w 4772243"/>
              <a:gd name="connsiteY1792" fmla="*/ 1550398 h 8861755"/>
              <a:gd name="connsiteX1793" fmla="*/ 1674388 w 4772243"/>
              <a:gd name="connsiteY1793" fmla="*/ 1543671 h 8861755"/>
              <a:gd name="connsiteX1794" fmla="*/ 1673179 w 4772243"/>
              <a:gd name="connsiteY1794" fmla="*/ 1541789 h 8861755"/>
              <a:gd name="connsiteX1795" fmla="*/ 1675294 w 4772243"/>
              <a:gd name="connsiteY1795" fmla="*/ 1540711 h 8861755"/>
              <a:gd name="connsiteX1796" fmla="*/ 1700666 w 4772243"/>
              <a:gd name="connsiteY1796" fmla="*/ 1543133 h 8861755"/>
              <a:gd name="connsiteX1797" fmla="*/ 1771042 w 4772243"/>
              <a:gd name="connsiteY1797" fmla="*/ 1553087 h 8861755"/>
              <a:gd name="connsiteX1798" fmla="*/ 1890954 w 4772243"/>
              <a:gd name="connsiteY1798" fmla="*/ 1571650 h 8861755"/>
              <a:gd name="connsiteX1799" fmla="*/ 1961633 w 4772243"/>
              <a:gd name="connsiteY1799" fmla="*/ 1581872 h 8861755"/>
              <a:gd name="connsiteX1800" fmla="*/ 1987307 w 4772243"/>
              <a:gd name="connsiteY1800" fmla="*/ 1584294 h 8861755"/>
              <a:gd name="connsiteX1801" fmla="*/ 1989119 w 4772243"/>
              <a:gd name="connsiteY1801" fmla="*/ 1583487 h 8861755"/>
              <a:gd name="connsiteX1802" fmla="*/ 1982776 w 4772243"/>
              <a:gd name="connsiteY1802" fmla="*/ 1568960 h 8861755"/>
              <a:gd name="connsiteX1803" fmla="*/ 1977037 w 4772243"/>
              <a:gd name="connsiteY1803" fmla="*/ 1554163 h 8861755"/>
              <a:gd name="connsiteX1804" fmla="*/ 1964955 w 4772243"/>
              <a:gd name="connsiteY1804" fmla="*/ 1522150 h 8861755"/>
              <a:gd name="connsiteX1805" fmla="*/ 1938376 w 4772243"/>
              <a:gd name="connsiteY1805" fmla="*/ 1458928 h 8861755"/>
              <a:gd name="connsiteX1806" fmla="*/ 1896089 w 4772243"/>
              <a:gd name="connsiteY1806" fmla="*/ 1364500 h 8861755"/>
              <a:gd name="connsiteX1807" fmla="*/ 1868301 w 4772243"/>
              <a:gd name="connsiteY1807" fmla="*/ 1301548 h 8861755"/>
              <a:gd name="connsiteX1808" fmla="*/ 1866489 w 4772243"/>
              <a:gd name="connsiteY1808" fmla="*/ 1294822 h 8861755"/>
              <a:gd name="connsiteX1809" fmla="*/ 1866489 w 4772243"/>
              <a:gd name="connsiteY1809" fmla="*/ 1287827 h 8861755"/>
              <a:gd name="connsiteX1810" fmla="*/ 1869509 w 4772243"/>
              <a:gd name="connsiteY1810" fmla="*/ 1287020 h 8861755"/>
              <a:gd name="connsiteX1811" fmla="*/ 1872228 w 4772243"/>
              <a:gd name="connsiteY1811" fmla="*/ 1286482 h 8861755"/>
              <a:gd name="connsiteX1812" fmla="*/ 1911191 w 4772243"/>
              <a:gd name="connsiteY1812" fmla="*/ 1354815 h 8861755"/>
              <a:gd name="connsiteX1813" fmla="*/ 1950457 w 4772243"/>
              <a:gd name="connsiteY1813" fmla="*/ 1422879 h 8861755"/>
              <a:gd name="connsiteX1814" fmla="*/ 1957102 w 4772243"/>
              <a:gd name="connsiteY1814" fmla="*/ 1422072 h 8861755"/>
              <a:gd name="connsiteX1815" fmla="*/ 1963748 w 4772243"/>
              <a:gd name="connsiteY1815" fmla="*/ 1420995 h 8861755"/>
              <a:gd name="connsiteX1816" fmla="*/ 1962237 w 4772243"/>
              <a:gd name="connsiteY1816" fmla="*/ 1380642 h 8861755"/>
              <a:gd name="connsiteX1817" fmla="*/ 1964050 w 4772243"/>
              <a:gd name="connsiteY1817" fmla="*/ 1299664 h 8861755"/>
              <a:gd name="connsiteX1818" fmla="*/ 1974017 w 4772243"/>
              <a:gd name="connsiteY1818" fmla="*/ 1178603 h 8861755"/>
              <a:gd name="connsiteX1819" fmla="*/ 1980964 w 4772243"/>
              <a:gd name="connsiteY1819" fmla="*/ 1098165 h 8861755"/>
              <a:gd name="connsiteX1820" fmla="*/ 1982776 w 4772243"/>
              <a:gd name="connsiteY1820" fmla="*/ 1079601 h 8861755"/>
              <a:gd name="connsiteX1821" fmla="*/ 1987609 w 4772243"/>
              <a:gd name="connsiteY1821" fmla="*/ 1066150 h 8861755"/>
              <a:gd name="connsiteX1822" fmla="*/ 1990629 w 4772243"/>
              <a:gd name="connsiteY1822" fmla="*/ 1063191 h 8861755"/>
              <a:gd name="connsiteX1823" fmla="*/ 1994254 w 4772243"/>
              <a:gd name="connsiteY1823" fmla="*/ 1065612 h 8861755"/>
              <a:gd name="connsiteX1824" fmla="*/ 1997274 w 4772243"/>
              <a:gd name="connsiteY1824" fmla="*/ 1072338 h 8861755"/>
              <a:gd name="connsiteX1825" fmla="*/ 2000597 w 4772243"/>
              <a:gd name="connsiteY1825" fmla="*/ 1089017 h 8861755"/>
              <a:gd name="connsiteX1826" fmla="*/ 2000899 w 4772243"/>
              <a:gd name="connsiteY1826" fmla="*/ 1104352 h 8861755"/>
              <a:gd name="connsiteX1827" fmla="*/ 1999087 w 4772243"/>
              <a:gd name="connsiteY1827" fmla="*/ 1176181 h 8861755"/>
              <a:gd name="connsiteX1828" fmla="*/ 1994556 w 4772243"/>
              <a:gd name="connsiteY1828" fmla="*/ 1284060 h 8861755"/>
              <a:gd name="connsiteX1829" fmla="*/ 1994556 w 4772243"/>
              <a:gd name="connsiteY1829" fmla="*/ 1355891 h 8861755"/>
              <a:gd name="connsiteX1830" fmla="*/ 1996972 w 4772243"/>
              <a:gd name="connsiteY1830" fmla="*/ 1392210 h 8861755"/>
              <a:gd name="connsiteX1831" fmla="*/ 1999389 w 4772243"/>
              <a:gd name="connsiteY1831" fmla="*/ 1420457 h 8861755"/>
              <a:gd name="connsiteX1832" fmla="*/ 2008752 w 4772243"/>
              <a:gd name="connsiteY1832" fmla="*/ 1475069 h 8861755"/>
              <a:gd name="connsiteX1833" fmla="*/ 2024157 w 4772243"/>
              <a:gd name="connsiteY1833" fmla="*/ 1527529 h 8861755"/>
              <a:gd name="connsiteX1834" fmla="*/ 2044696 w 4772243"/>
              <a:gd name="connsiteY1834" fmla="*/ 1577299 h 8861755"/>
              <a:gd name="connsiteX1835" fmla="*/ 2071879 w 4772243"/>
              <a:gd name="connsiteY1835" fmla="*/ 1624917 h 8861755"/>
              <a:gd name="connsiteX1836" fmla="*/ 2105105 w 4772243"/>
              <a:gd name="connsiteY1836" fmla="*/ 1670382 h 8861755"/>
              <a:gd name="connsiteX1837" fmla="*/ 2144975 w 4772243"/>
              <a:gd name="connsiteY1837" fmla="*/ 1713158 h 8861755"/>
              <a:gd name="connsiteX1838" fmla="*/ 2191490 w 4772243"/>
              <a:gd name="connsiteY1838" fmla="*/ 1754050 h 8861755"/>
              <a:gd name="connsiteX1839" fmla="*/ 2217768 w 4772243"/>
              <a:gd name="connsiteY1839" fmla="*/ 1773150 h 8861755"/>
              <a:gd name="connsiteX1840" fmla="*/ 2247066 w 4772243"/>
              <a:gd name="connsiteY1840" fmla="*/ 1794403 h 8861755"/>
              <a:gd name="connsiteX1841" fmla="*/ 2303549 w 4772243"/>
              <a:gd name="connsiteY1841" fmla="*/ 1838524 h 8861755"/>
              <a:gd name="connsiteX1842" fmla="*/ 2342815 w 4772243"/>
              <a:gd name="connsiteY1842" fmla="*/ 1873766 h 8861755"/>
              <a:gd name="connsiteX1843" fmla="*/ 2366978 w 4772243"/>
              <a:gd name="connsiteY1843" fmla="*/ 1897979 h 8861755"/>
              <a:gd name="connsiteX1844" fmla="*/ 2389330 w 4772243"/>
              <a:gd name="connsiteY1844" fmla="*/ 1924343 h 8861755"/>
              <a:gd name="connsiteX1845" fmla="*/ 2409265 w 4772243"/>
              <a:gd name="connsiteY1845" fmla="*/ 1951514 h 8861755"/>
              <a:gd name="connsiteX1846" fmla="*/ 2418628 w 4772243"/>
              <a:gd name="connsiteY1846" fmla="*/ 1965773 h 8861755"/>
              <a:gd name="connsiteX1847" fmla="*/ 2423461 w 4772243"/>
              <a:gd name="connsiteY1847" fmla="*/ 1968733 h 8861755"/>
              <a:gd name="connsiteX1848" fmla="*/ 2444604 w 4772243"/>
              <a:gd name="connsiteY1848" fmla="*/ 1977611 h 8861755"/>
              <a:gd name="connsiteX1849" fmla="*/ 2395974 w 4772243"/>
              <a:gd name="connsiteY1849" fmla="*/ 1840138 h 8861755"/>
              <a:gd name="connsiteX1850" fmla="*/ 2350969 w 4772243"/>
              <a:gd name="connsiteY1850" fmla="*/ 1711813 h 8861755"/>
              <a:gd name="connsiteX1851" fmla="*/ 2340096 w 4772243"/>
              <a:gd name="connsiteY1851" fmla="*/ 1679799 h 8861755"/>
              <a:gd name="connsiteX1852" fmla="*/ 2320765 w 4772243"/>
              <a:gd name="connsiteY1852" fmla="*/ 1614963 h 8861755"/>
              <a:gd name="connsiteX1853" fmla="*/ 2311099 w 4772243"/>
              <a:gd name="connsiteY1853" fmla="*/ 1565731 h 8861755"/>
              <a:gd name="connsiteX1854" fmla="*/ 2307173 w 4772243"/>
              <a:gd name="connsiteY1854" fmla="*/ 1532641 h 8861755"/>
              <a:gd name="connsiteX1855" fmla="*/ 2305964 w 4772243"/>
              <a:gd name="connsiteY1855" fmla="*/ 1499282 h 8861755"/>
              <a:gd name="connsiteX1856" fmla="*/ 2307777 w 4772243"/>
              <a:gd name="connsiteY1856" fmla="*/ 1465653 h 8861755"/>
              <a:gd name="connsiteX1857" fmla="*/ 2310495 w 4772243"/>
              <a:gd name="connsiteY1857" fmla="*/ 1448705 h 8861755"/>
              <a:gd name="connsiteX1858" fmla="*/ 2319255 w 4772243"/>
              <a:gd name="connsiteY1858" fmla="*/ 1487983 h 8861755"/>
              <a:gd name="connsiteX1859" fmla="*/ 2341908 w 4772243"/>
              <a:gd name="connsiteY1859" fmla="*/ 1565193 h 8861755"/>
              <a:gd name="connsiteX1860" fmla="*/ 2370904 w 4772243"/>
              <a:gd name="connsiteY1860" fmla="*/ 1640251 h 8861755"/>
              <a:gd name="connsiteX1861" fmla="*/ 2404130 w 4772243"/>
              <a:gd name="connsiteY1861" fmla="*/ 1714234 h 8861755"/>
              <a:gd name="connsiteX1862" fmla="*/ 2422554 w 4772243"/>
              <a:gd name="connsiteY1862" fmla="*/ 1750822 h 8861755"/>
              <a:gd name="connsiteX1863" fmla="*/ 2430106 w 4772243"/>
              <a:gd name="connsiteY1863" fmla="*/ 1749745 h 8861755"/>
              <a:gd name="connsiteX1864" fmla="*/ 2437958 w 4772243"/>
              <a:gd name="connsiteY1864" fmla="*/ 1748939 h 8861755"/>
              <a:gd name="connsiteX1865" fmla="*/ 2442489 w 4772243"/>
              <a:gd name="connsiteY1865" fmla="*/ 1724995 h 8861755"/>
              <a:gd name="connsiteX1866" fmla="*/ 2454270 w 4772243"/>
              <a:gd name="connsiteY1866" fmla="*/ 1677915 h 8861755"/>
              <a:gd name="connsiteX1867" fmla="*/ 2476319 w 4772243"/>
              <a:gd name="connsiteY1867" fmla="*/ 1607699 h 8861755"/>
              <a:gd name="connsiteX1868" fmla="*/ 2508335 w 4772243"/>
              <a:gd name="connsiteY1868" fmla="*/ 1514079 h 8861755"/>
              <a:gd name="connsiteX1869" fmla="*/ 2530083 w 4772243"/>
              <a:gd name="connsiteY1869" fmla="*/ 1444132 h 8861755"/>
              <a:gd name="connsiteX1870" fmla="*/ 2542466 w 4772243"/>
              <a:gd name="connsiteY1870" fmla="*/ 1396515 h 8861755"/>
              <a:gd name="connsiteX1871" fmla="*/ 2546997 w 4772243"/>
              <a:gd name="connsiteY1871" fmla="*/ 1372840 h 8861755"/>
              <a:gd name="connsiteX1872" fmla="*/ 2552434 w 4772243"/>
              <a:gd name="connsiteY1872" fmla="*/ 1373647 h 8861755"/>
              <a:gd name="connsiteX1873" fmla="*/ 2569046 w 4772243"/>
              <a:gd name="connsiteY1873" fmla="*/ 1379296 h 8861755"/>
              <a:gd name="connsiteX1874" fmla="*/ 2576900 w 4772243"/>
              <a:gd name="connsiteY1874" fmla="*/ 1383332 h 8861755"/>
              <a:gd name="connsiteX1875" fmla="*/ 2911566 w 4772243"/>
              <a:gd name="connsiteY1875" fmla="*/ 591050 h 8861755"/>
              <a:gd name="connsiteX1876" fmla="*/ 2910650 w 4772243"/>
              <a:gd name="connsiteY1876" fmla="*/ 590802 h 8861755"/>
              <a:gd name="connsiteX1877" fmla="*/ 2910660 w 4772243"/>
              <a:gd name="connsiteY1877" fmla="*/ 590780 h 8861755"/>
              <a:gd name="connsiteX1878" fmla="*/ 3170787 w 4772243"/>
              <a:gd name="connsiteY1878" fmla="*/ 2837686 h 8861755"/>
              <a:gd name="connsiteX1879" fmla="*/ 3168071 w 4772243"/>
              <a:gd name="connsiteY1879" fmla="*/ 2852473 h 8861755"/>
              <a:gd name="connsiteX1880" fmla="*/ 3159922 w 4772243"/>
              <a:gd name="connsiteY1880" fmla="*/ 2880166 h 8861755"/>
              <a:gd name="connsiteX1881" fmla="*/ 3149357 w 4772243"/>
              <a:gd name="connsiteY1881" fmla="*/ 2906245 h 8861755"/>
              <a:gd name="connsiteX1882" fmla="*/ 3136680 w 4772243"/>
              <a:gd name="connsiteY1882" fmla="*/ 2931519 h 8861755"/>
              <a:gd name="connsiteX1883" fmla="*/ 3114948 w 4772243"/>
              <a:gd name="connsiteY1883" fmla="*/ 2966740 h 8861755"/>
              <a:gd name="connsiteX1884" fmla="*/ 3079633 w 4772243"/>
              <a:gd name="connsiteY1884" fmla="*/ 3010296 h 8861755"/>
              <a:gd name="connsiteX1885" fmla="*/ 3040697 w 4772243"/>
              <a:gd name="connsiteY1885" fmla="*/ 3050625 h 8861755"/>
              <a:gd name="connsiteX1886" fmla="*/ 2998742 w 4772243"/>
              <a:gd name="connsiteY1886" fmla="*/ 3089073 h 8861755"/>
              <a:gd name="connsiteX1887" fmla="*/ 2956183 w 4772243"/>
              <a:gd name="connsiteY1887" fmla="*/ 3126176 h 8861755"/>
              <a:gd name="connsiteX1888" fmla="*/ 2934521 w 4772243"/>
              <a:gd name="connsiteY1888" fmla="*/ 3146040 h 8861755"/>
              <a:gd name="connsiteX1889" fmla="*/ 2921792 w 4772243"/>
              <a:gd name="connsiteY1889" fmla="*/ 3138142 h 8861755"/>
              <a:gd name="connsiteX1890" fmla="*/ 2892936 w 4772243"/>
              <a:gd name="connsiteY1890" fmla="*/ 3127903 h 8861755"/>
              <a:gd name="connsiteX1891" fmla="*/ 2903965 w 4772243"/>
              <a:gd name="connsiteY1891" fmla="*/ 3123756 h 8861755"/>
              <a:gd name="connsiteX1892" fmla="*/ 2923886 w 4772243"/>
              <a:gd name="connsiteY1892" fmla="*/ 3111926 h 8861755"/>
              <a:gd name="connsiteX1893" fmla="*/ 2934149 w 4772243"/>
              <a:gd name="connsiteY1893" fmla="*/ 3102516 h 8861755"/>
              <a:gd name="connsiteX1894" fmla="*/ 2938374 w 4772243"/>
              <a:gd name="connsiteY1894" fmla="*/ 3097408 h 8861755"/>
              <a:gd name="connsiteX1895" fmla="*/ 2986668 w 4772243"/>
              <a:gd name="connsiteY1895" fmla="*/ 3033956 h 8861755"/>
              <a:gd name="connsiteX1896" fmla="*/ 3030736 w 4772243"/>
              <a:gd name="connsiteY1896" fmla="*/ 2977495 h 8861755"/>
              <a:gd name="connsiteX1897" fmla="*/ 3030736 w 4772243"/>
              <a:gd name="connsiteY1897" fmla="*/ 2980453 h 8861755"/>
              <a:gd name="connsiteX1898" fmla="*/ 3031038 w 4772243"/>
              <a:gd name="connsiteY1898" fmla="*/ 3003574 h 8861755"/>
              <a:gd name="connsiteX1899" fmla="*/ 3055486 w 4772243"/>
              <a:gd name="connsiteY1899" fmla="*/ 2985829 h 8861755"/>
              <a:gd name="connsiteX1900" fmla="*/ 3087783 w 4772243"/>
              <a:gd name="connsiteY1900" fmla="*/ 2957599 h 8861755"/>
              <a:gd name="connsiteX1901" fmla="*/ 3107101 w 4772243"/>
              <a:gd name="connsiteY1901" fmla="*/ 2937971 h 8861755"/>
              <a:gd name="connsiteX1902" fmla="*/ 3124607 w 4772243"/>
              <a:gd name="connsiteY1902" fmla="*/ 2917538 h 8861755"/>
              <a:gd name="connsiteX1903" fmla="*/ 3140000 w 4772243"/>
              <a:gd name="connsiteY1903" fmla="*/ 2896029 h 8861755"/>
              <a:gd name="connsiteX1904" fmla="*/ 3153583 w 4772243"/>
              <a:gd name="connsiteY1904" fmla="*/ 2873714 h 8861755"/>
              <a:gd name="connsiteX1905" fmla="*/ 3165656 w 4772243"/>
              <a:gd name="connsiteY1905" fmla="*/ 2849785 h 8861755"/>
              <a:gd name="connsiteX1906" fmla="*/ 3732652 w 4772243"/>
              <a:gd name="connsiteY1906" fmla="*/ 6745151 h 8861755"/>
              <a:gd name="connsiteX1907" fmla="*/ 3732615 w 4772243"/>
              <a:gd name="connsiteY1907" fmla="*/ 6745184 h 8861755"/>
              <a:gd name="connsiteX1908" fmla="*/ 3732453 w 4772243"/>
              <a:gd name="connsiteY1908" fmla="*/ 6745058 h 8861755"/>
              <a:gd name="connsiteX1909" fmla="*/ 3937750 w 4772243"/>
              <a:gd name="connsiteY1909" fmla="*/ 2945501 h 8861755"/>
              <a:gd name="connsiteX1910" fmla="*/ 3924771 w 4772243"/>
              <a:gd name="connsiteY1910" fmla="*/ 2952759 h 8861755"/>
              <a:gd name="connsiteX1911" fmla="*/ 3900927 w 4772243"/>
              <a:gd name="connsiteY1911" fmla="*/ 2968085 h 8861755"/>
              <a:gd name="connsiteX1912" fmla="*/ 3878288 w 4772243"/>
              <a:gd name="connsiteY1912" fmla="*/ 2985023 h 8861755"/>
              <a:gd name="connsiteX1913" fmla="*/ 3857462 w 4772243"/>
              <a:gd name="connsiteY1913" fmla="*/ 3003306 h 8861755"/>
              <a:gd name="connsiteX1914" fmla="*/ 3837842 w 4772243"/>
              <a:gd name="connsiteY1914" fmla="*/ 3022664 h 8861755"/>
              <a:gd name="connsiteX1915" fmla="*/ 3820336 w 4772243"/>
              <a:gd name="connsiteY1915" fmla="*/ 3043636 h 8861755"/>
              <a:gd name="connsiteX1916" fmla="*/ 3804339 w 4772243"/>
              <a:gd name="connsiteY1916" fmla="*/ 3066220 h 8861755"/>
              <a:gd name="connsiteX1917" fmla="*/ 3789851 w 4772243"/>
              <a:gd name="connsiteY1917" fmla="*/ 3090417 h 8861755"/>
              <a:gd name="connsiteX1918" fmla="*/ 3783211 w 4772243"/>
              <a:gd name="connsiteY1918" fmla="*/ 3103323 h 8861755"/>
              <a:gd name="connsiteX1919" fmla="*/ 3802528 w 4772243"/>
              <a:gd name="connsiteY1919" fmla="*/ 3104667 h 8861755"/>
              <a:gd name="connsiteX1920" fmla="*/ 3817016 w 4772243"/>
              <a:gd name="connsiteY1920" fmla="*/ 3105473 h 8861755"/>
              <a:gd name="connsiteX1921" fmla="*/ 3819431 w 4772243"/>
              <a:gd name="connsiteY1921" fmla="*/ 3108700 h 8861755"/>
              <a:gd name="connsiteX1922" fmla="*/ 3820638 w 4772243"/>
              <a:gd name="connsiteY1922" fmla="*/ 3114884 h 8861755"/>
              <a:gd name="connsiteX1923" fmla="*/ 3819129 w 4772243"/>
              <a:gd name="connsiteY1923" fmla="*/ 3117842 h 8861755"/>
              <a:gd name="connsiteX1924" fmla="*/ 3817016 w 4772243"/>
              <a:gd name="connsiteY1924" fmla="*/ 3118648 h 8861755"/>
              <a:gd name="connsiteX1925" fmla="*/ 3811281 w 4772243"/>
              <a:gd name="connsiteY1925" fmla="*/ 3119993 h 8861755"/>
              <a:gd name="connsiteX1926" fmla="*/ 3797699 w 4772243"/>
              <a:gd name="connsiteY1926" fmla="*/ 3120261 h 8861755"/>
              <a:gd name="connsiteX1927" fmla="*/ 3782607 w 4772243"/>
              <a:gd name="connsiteY1927" fmla="*/ 3120261 h 8861755"/>
              <a:gd name="connsiteX1928" fmla="*/ 3766006 w 4772243"/>
              <a:gd name="connsiteY1928" fmla="*/ 3124563 h 8861755"/>
              <a:gd name="connsiteX1929" fmla="*/ 3757253 w 4772243"/>
              <a:gd name="connsiteY1929" fmla="*/ 3129403 h 8861755"/>
              <a:gd name="connsiteX1930" fmla="*/ 3747594 w 4772243"/>
              <a:gd name="connsiteY1930" fmla="*/ 3135318 h 8861755"/>
              <a:gd name="connsiteX1931" fmla="*/ 3727069 w 4772243"/>
              <a:gd name="connsiteY1931" fmla="*/ 3144997 h 8861755"/>
              <a:gd name="connsiteX1932" fmla="*/ 3695980 w 4772243"/>
              <a:gd name="connsiteY1932" fmla="*/ 3156826 h 8861755"/>
              <a:gd name="connsiteX1933" fmla="*/ 3651611 w 4772243"/>
              <a:gd name="connsiteY1933" fmla="*/ 3167043 h 8861755"/>
              <a:gd name="connsiteX1934" fmla="*/ 3605732 w 4772243"/>
              <a:gd name="connsiteY1934" fmla="*/ 3174033 h 8861755"/>
              <a:gd name="connsiteX1935" fmla="*/ 3582491 w 4772243"/>
              <a:gd name="connsiteY1935" fmla="*/ 3176723 h 8861755"/>
              <a:gd name="connsiteX1936" fmla="*/ 3552005 w 4772243"/>
              <a:gd name="connsiteY1936" fmla="*/ 3181024 h 8861755"/>
              <a:gd name="connsiteX1937" fmla="*/ 3490733 w 4772243"/>
              <a:gd name="connsiteY1937" fmla="*/ 3190971 h 8861755"/>
              <a:gd name="connsiteX1938" fmla="*/ 3430366 w 4772243"/>
              <a:gd name="connsiteY1938" fmla="*/ 3203608 h 8861755"/>
              <a:gd name="connsiteX1939" fmla="*/ 3371206 w 4772243"/>
              <a:gd name="connsiteY1939" fmla="*/ 3218933 h 8861755"/>
              <a:gd name="connsiteX1940" fmla="*/ 3342532 w 4772243"/>
              <a:gd name="connsiteY1940" fmla="*/ 3227537 h 8861755"/>
              <a:gd name="connsiteX1941" fmla="*/ 3316876 w 4772243"/>
              <a:gd name="connsiteY1941" fmla="*/ 3235602 h 8861755"/>
              <a:gd name="connsiteX1942" fmla="*/ 3265262 w 4772243"/>
              <a:gd name="connsiteY1942" fmla="*/ 3248239 h 8861755"/>
              <a:gd name="connsiteX1943" fmla="*/ 3226325 w 4772243"/>
              <a:gd name="connsiteY1943" fmla="*/ 3253348 h 8861755"/>
              <a:gd name="connsiteX1944" fmla="*/ 3218979 w 4772243"/>
              <a:gd name="connsiteY1944" fmla="*/ 3253571 h 8861755"/>
              <a:gd name="connsiteX1945" fmla="*/ 3209884 w 4772243"/>
              <a:gd name="connsiteY1945" fmla="*/ 3245727 h 8861755"/>
              <a:gd name="connsiteX1946" fmla="*/ 3182632 w 4772243"/>
              <a:gd name="connsiteY1946" fmla="*/ 3226701 h 8861755"/>
              <a:gd name="connsiteX1947" fmla="*/ 3169020 w 4772243"/>
              <a:gd name="connsiteY1947" fmla="*/ 3218825 h 8861755"/>
              <a:gd name="connsiteX1948" fmla="*/ 3187690 w 4772243"/>
              <a:gd name="connsiteY1948" fmla="*/ 3220816 h 8861755"/>
              <a:gd name="connsiteX1949" fmla="*/ 3204593 w 4772243"/>
              <a:gd name="connsiteY1949" fmla="*/ 3221623 h 8861755"/>
              <a:gd name="connsiteX1950" fmla="*/ 3239304 w 4772243"/>
              <a:gd name="connsiteY1950" fmla="*/ 3219740 h 8861755"/>
              <a:gd name="connsiteX1951" fmla="*/ 3273713 w 4772243"/>
              <a:gd name="connsiteY1951" fmla="*/ 3212750 h 8861755"/>
              <a:gd name="connsiteX1952" fmla="*/ 3305406 w 4772243"/>
              <a:gd name="connsiteY1952" fmla="*/ 3201457 h 8861755"/>
              <a:gd name="connsiteX1953" fmla="*/ 3319592 w 4772243"/>
              <a:gd name="connsiteY1953" fmla="*/ 3194466 h 8861755"/>
              <a:gd name="connsiteX1954" fmla="*/ 3341928 w 4772243"/>
              <a:gd name="connsiteY1954" fmla="*/ 3181561 h 8861755"/>
              <a:gd name="connsiteX1955" fmla="*/ 3384185 w 4772243"/>
              <a:gd name="connsiteY1955" fmla="*/ 3153331 h 8861755"/>
              <a:gd name="connsiteX1956" fmla="*/ 3444552 w 4772243"/>
              <a:gd name="connsiteY1956" fmla="*/ 3107087 h 8861755"/>
              <a:gd name="connsiteX1957" fmla="*/ 3485299 w 4772243"/>
              <a:gd name="connsiteY1957" fmla="*/ 3076705 h 8861755"/>
              <a:gd name="connsiteX1958" fmla="*/ 3493449 w 4772243"/>
              <a:gd name="connsiteY1958" fmla="*/ 3071597 h 8861755"/>
              <a:gd name="connsiteX1959" fmla="*/ 3501900 w 4772243"/>
              <a:gd name="connsiteY1959" fmla="*/ 3067026 h 8861755"/>
              <a:gd name="connsiteX1960" fmla="*/ 3507031 w 4772243"/>
              <a:gd name="connsiteY1960" fmla="*/ 3071597 h 8861755"/>
              <a:gd name="connsiteX1961" fmla="*/ 3511559 w 4772243"/>
              <a:gd name="connsiteY1961" fmla="*/ 3076167 h 8861755"/>
              <a:gd name="connsiteX1962" fmla="*/ 3459644 w 4772243"/>
              <a:gd name="connsiteY1962" fmla="*/ 3121605 h 8861755"/>
              <a:gd name="connsiteX1963" fmla="*/ 3412256 w 4772243"/>
              <a:gd name="connsiteY1963" fmla="*/ 3163817 h 8861755"/>
              <a:gd name="connsiteX1964" fmla="*/ 3508843 w 4772243"/>
              <a:gd name="connsiteY1964" fmla="*/ 3154944 h 8861755"/>
              <a:gd name="connsiteX1965" fmla="*/ 3610863 w 4772243"/>
              <a:gd name="connsiteY1965" fmla="*/ 3146340 h 8861755"/>
              <a:gd name="connsiteX1966" fmla="*/ 3626558 w 4772243"/>
              <a:gd name="connsiteY1966" fmla="*/ 3144997 h 8861755"/>
              <a:gd name="connsiteX1967" fmla="*/ 3656440 w 4772243"/>
              <a:gd name="connsiteY1967" fmla="*/ 3140425 h 8861755"/>
              <a:gd name="connsiteX1968" fmla="*/ 3684208 w 4772243"/>
              <a:gd name="connsiteY1968" fmla="*/ 3132897 h 8861755"/>
              <a:gd name="connsiteX1969" fmla="*/ 3709563 w 4772243"/>
              <a:gd name="connsiteY1969" fmla="*/ 3122681 h 8861755"/>
              <a:gd name="connsiteX1970" fmla="*/ 3733106 w 4772243"/>
              <a:gd name="connsiteY1970" fmla="*/ 3110314 h 8861755"/>
              <a:gd name="connsiteX1971" fmla="*/ 3754537 w 4772243"/>
              <a:gd name="connsiteY1971" fmla="*/ 3094988 h 8861755"/>
              <a:gd name="connsiteX1972" fmla="*/ 3774458 w 4772243"/>
              <a:gd name="connsiteY1972" fmla="*/ 3077243 h 8861755"/>
              <a:gd name="connsiteX1973" fmla="*/ 3791964 w 4772243"/>
              <a:gd name="connsiteY1973" fmla="*/ 3056541 h 8861755"/>
              <a:gd name="connsiteX1974" fmla="*/ 3800415 w 4772243"/>
              <a:gd name="connsiteY1974" fmla="*/ 3045517 h 8861755"/>
              <a:gd name="connsiteX1975" fmla="*/ 3812791 w 4772243"/>
              <a:gd name="connsiteY1975" fmla="*/ 3028311 h 8861755"/>
              <a:gd name="connsiteX1976" fmla="*/ 3840861 w 4772243"/>
              <a:gd name="connsiteY1976" fmla="*/ 2997659 h 8861755"/>
              <a:gd name="connsiteX1977" fmla="*/ 3865612 w 4772243"/>
              <a:gd name="connsiteY1977" fmla="*/ 2977764 h 8861755"/>
              <a:gd name="connsiteX1978" fmla="*/ 3884024 w 4772243"/>
              <a:gd name="connsiteY1978" fmla="*/ 2966203 h 8861755"/>
              <a:gd name="connsiteX1979" fmla="*/ 3903945 w 4772243"/>
              <a:gd name="connsiteY1979" fmla="*/ 2956523 h 8861755"/>
              <a:gd name="connsiteX1980" fmla="*/ 3925375 w 4772243"/>
              <a:gd name="connsiteY1980" fmla="*/ 2948458 h 8861755"/>
              <a:gd name="connsiteX1981" fmla="*/ 4117415 w 4772243"/>
              <a:gd name="connsiteY1981" fmla="*/ 6211312 h 8861755"/>
              <a:gd name="connsiteX1982" fmla="*/ 4098085 w 4772243"/>
              <a:gd name="connsiteY1982" fmla="*/ 6207815 h 8861755"/>
              <a:gd name="connsiteX1983" fmla="*/ 4060937 w 4772243"/>
              <a:gd name="connsiteY1983" fmla="*/ 6197323 h 8861755"/>
              <a:gd name="connsiteX1984" fmla="*/ 4021674 w 4772243"/>
              <a:gd name="connsiteY1984" fmla="*/ 6180643 h 8861755"/>
              <a:gd name="connsiteX1985" fmla="*/ 3977881 w 4772243"/>
              <a:gd name="connsiteY1985" fmla="*/ 6154547 h 8861755"/>
              <a:gd name="connsiteX1986" fmla="*/ 3927142 w 4772243"/>
              <a:gd name="connsiteY1986" fmla="*/ 6116346 h 8861755"/>
              <a:gd name="connsiteX1987" fmla="*/ 3865228 w 4772243"/>
              <a:gd name="connsiteY1987" fmla="*/ 6062810 h 8861755"/>
              <a:gd name="connsiteX1988" fmla="*/ 3790025 w 4772243"/>
              <a:gd name="connsiteY1988" fmla="*/ 5991249 h 8861755"/>
              <a:gd name="connsiteX1989" fmla="*/ 3698514 w 4772243"/>
              <a:gd name="connsiteY1989" fmla="*/ 5899242 h 8861755"/>
              <a:gd name="connsiteX1990" fmla="*/ 3644452 w 4772243"/>
              <a:gd name="connsiteY1990" fmla="*/ 5843553 h 8861755"/>
              <a:gd name="connsiteX1991" fmla="*/ 3630257 w 4772243"/>
              <a:gd name="connsiteY1991" fmla="*/ 5827411 h 8861755"/>
              <a:gd name="connsiteX1992" fmla="*/ 3599753 w 4772243"/>
              <a:gd name="connsiteY1992" fmla="*/ 5798894 h 8861755"/>
              <a:gd name="connsiteX1993" fmla="*/ 3566531 w 4772243"/>
              <a:gd name="connsiteY1993" fmla="*/ 5773875 h 8861755"/>
              <a:gd name="connsiteX1994" fmla="*/ 3530590 w 4772243"/>
              <a:gd name="connsiteY1994" fmla="*/ 5752891 h 8861755"/>
              <a:gd name="connsiteX1995" fmla="*/ 3492234 w 4772243"/>
              <a:gd name="connsiteY1995" fmla="*/ 5736211 h 8861755"/>
              <a:gd name="connsiteX1996" fmla="*/ 3450555 w 4772243"/>
              <a:gd name="connsiteY1996" fmla="*/ 5723298 h 8861755"/>
              <a:gd name="connsiteX1997" fmla="*/ 3406158 w 4772243"/>
              <a:gd name="connsiteY1997" fmla="*/ 5714958 h 8861755"/>
              <a:gd name="connsiteX1998" fmla="*/ 3358137 w 4772243"/>
              <a:gd name="connsiteY1998" fmla="*/ 5710385 h 8861755"/>
              <a:gd name="connsiteX1999" fmla="*/ 3333070 w 4772243"/>
              <a:gd name="connsiteY1999" fmla="*/ 5710117 h 8861755"/>
              <a:gd name="connsiteX2000" fmla="*/ 3170281 w 4772243"/>
              <a:gd name="connsiteY2000" fmla="*/ 5707157 h 8861755"/>
              <a:gd name="connsiteX2001" fmla="*/ 3016251 w 4772243"/>
              <a:gd name="connsiteY2001" fmla="*/ 5703122 h 8861755"/>
              <a:gd name="connsiteX2002" fmla="*/ 3095984 w 4772243"/>
              <a:gd name="connsiteY2002" fmla="*/ 5761500 h 8861755"/>
              <a:gd name="connsiteX2003" fmla="*/ 3183268 w 4772243"/>
              <a:gd name="connsiteY2003" fmla="*/ 5825529 h 8861755"/>
              <a:gd name="connsiteX2004" fmla="*/ 3176322 w 4772243"/>
              <a:gd name="connsiteY2004" fmla="*/ 5832254 h 8861755"/>
              <a:gd name="connsiteX2005" fmla="*/ 3169073 w 4772243"/>
              <a:gd name="connsiteY2005" fmla="*/ 5839786 h 8861755"/>
              <a:gd name="connsiteX2006" fmla="*/ 3155180 w 4772243"/>
              <a:gd name="connsiteY2006" fmla="*/ 5833869 h 8861755"/>
              <a:gd name="connsiteX2007" fmla="*/ 3141891 w 4772243"/>
              <a:gd name="connsiteY2007" fmla="*/ 5826873 h 8861755"/>
              <a:gd name="connsiteX2008" fmla="*/ 3073937 w 4772243"/>
              <a:gd name="connsiteY2008" fmla="*/ 5784637 h 8861755"/>
              <a:gd name="connsiteX2009" fmla="*/ 2972760 w 4772243"/>
              <a:gd name="connsiteY2009" fmla="*/ 5721147 h 8861755"/>
              <a:gd name="connsiteX2010" fmla="*/ 2920510 w 4772243"/>
              <a:gd name="connsiteY2010" fmla="*/ 5691823 h 8861755"/>
              <a:gd name="connsiteX2011" fmla="*/ 2909612 w 4772243"/>
              <a:gd name="connsiteY2011" fmla="*/ 5686439 h 8861755"/>
              <a:gd name="connsiteX2012" fmla="*/ 2910806 w 4772243"/>
              <a:gd name="connsiteY2012" fmla="*/ 5684234 h 8861755"/>
              <a:gd name="connsiteX2013" fmla="*/ 2916768 w 4772243"/>
              <a:gd name="connsiteY2013" fmla="*/ 5669467 h 8861755"/>
              <a:gd name="connsiteX2014" fmla="*/ 2919324 w 4772243"/>
              <a:gd name="connsiteY2014" fmla="*/ 5661799 h 8861755"/>
              <a:gd name="connsiteX2015" fmla="*/ 2935790 w 4772243"/>
              <a:gd name="connsiteY2015" fmla="*/ 5665775 h 8861755"/>
              <a:gd name="connsiteX2016" fmla="*/ 2969009 w 4772243"/>
              <a:gd name="connsiteY2016" fmla="*/ 5671171 h 8861755"/>
              <a:gd name="connsiteX2017" fmla="*/ 3002226 w 4772243"/>
              <a:gd name="connsiteY2017" fmla="*/ 5673158 h 8861755"/>
              <a:gd name="connsiteX2018" fmla="*/ 3034876 w 4772243"/>
              <a:gd name="connsiteY2018" fmla="*/ 5671171 h 8861755"/>
              <a:gd name="connsiteX2019" fmla="*/ 3067243 w 4772243"/>
              <a:gd name="connsiteY2019" fmla="*/ 5666627 h 8861755"/>
              <a:gd name="connsiteX2020" fmla="*/ 3098473 w 4772243"/>
              <a:gd name="connsiteY2020" fmla="*/ 5658392 h 8861755"/>
              <a:gd name="connsiteX2021" fmla="*/ 3118122 w 4772243"/>
              <a:gd name="connsiteY2021" fmla="*/ 5651596 h 8861755"/>
              <a:gd name="connsiteX2022" fmla="*/ 3137361 w 4772243"/>
              <a:gd name="connsiteY2022" fmla="*/ 5654159 h 8861755"/>
              <a:gd name="connsiteX2023" fmla="*/ 3235215 w 4772243"/>
              <a:gd name="connsiteY2023" fmla="*/ 5663575 h 8861755"/>
              <a:gd name="connsiteX2024" fmla="*/ 3284143 w 4772243"/>
              <a:gd name="connsiteY2024" fmla="*/ 5667072 h 8861755"/>
              <a:gd name="connsiteX2025" fmla="*/ 3321895 w 4772243"/>
              <a:gd name="connsiteY2025" fmla="*/ 5669225 h 8861755"/>
              <a:gd name="connsiteX2026" fmla="*/ 3395588 w 4772243"/>
              <a:gd name="connsiteY2026" fmla="*/ 5675413 h 8861755"/>
              <a:gd name="connsiteX2027" fmla="*/ 3449045 w 4772243"/>
              <a:gd name="connsiteY2027" fmla="*/ 5683214 h 8861755"/>
              <a:gd name="connsiteX2028" fmla="*/ 3483475 w 4772243"/>
              <a:gd name="connsiteY2028" fmla="*/ 5690747 h 8861755"/>
              <a:gd name="connsiteX2029" fmla="*/ 3517603 w 4772243"/>
              <a:gd name="connsiteY2029" fmla="*/ 5700970 h 8861755"/>
              <a:gd name="connsiteX2030" fmla="*/ 3550524 w 4772243"/>
              <a:gd name="connsiteY2030" fmla="*/ 5713883 h 8861755"/>
              <a:gd name="connsiteX2031" fmla="*/ 3566531 w 4772243"/>
              <a:gd name="connsiteY2031" fmla="*/ 5721954 h 8861755"/>
              <a:gd name="connsiteX2032" fmla="*/ 3611833 w 4772243"/>
              <a:gd name="connsiteY2032" fmla="*/ 5721416 h 8861755"/>
              <a:gd name="connsiteX2033" fmla="*/ 3694285 w 4772243"/>
              <a:gd name="connsiteY2033" fmla="*/ 5724374 h 8861755"/>
              <a:gd name="connsiteX2034" fmla="*/ 3765864 w 4772243"/>
              <a:gd name="connsiteY2034" fmla="*/ 5730293 h 8861755"/>
              <a:gd name="connsiteX2035" fmla="*/ 3827476 w 4772243"/>
              <a:gd name="connsiteY2035" fmla="*/ 5738633 h 8861755"/>
              <a:gd name="connsiteX2036" fmla="*/ 3902074 w 4772243"/>
              <a:gd name="connsiteY2036" fmla="*/ 5752891 h 8861755"/>
              <a:gd name="connsiteX2037" fmla="*/ 3963385 w 4772243"/>
              <a:gd name="connsiteY2037" fmla="*/ 5769302 h 8861755"/>
              <a:gd name="connsiteX2038" fmla="*/ 3976674 w 4772243"/>
              <a:gd name="connsiteY2038" fmla="*/ 5773068 h 8861755"/>
              <a:gd name="connsiteX2039" fmla="*/ 3979392 w 4772243"/>
              <a:gd name="connsiteY2039" fmla="*/ 5774144 h 8861755"/>
              <a:gd name="connsiteX2040" fmla="*/ 3982110 w 4772243"/>
              <a:gd name="connsiteY2040" fmla="*/ 5778718 h 8861755"/>
              <a:gd name="connsiteX2041" fmla="*/ 3981204 w 4772243"/>
              <a:gd name="connsiteY2041" fmla="*/ 5787865 h 8861755"/>
              <a:gd name="connsiteX2042" fmla="*/ 3977881 w 4772243"/>
              <a:gd name="connsiteY2042" fmla="*/ 5792976 h 8861755"/>
              <a:gd name="connsiteX2043" fmla="*/ 3962177 w 4772243"/>
              <a:gd name="connsiteY2043" fmla="*/ 5792169 h 8861755"/>
              <a:gd name="connsiteX2044" fmla="*/ 3862510 w 4772243"/>
              <a:gd name="connsiteY2044" fmla="*/ 5782215 h 8861755"/>
              <a:gd name="connsiteX2045" fmla="*/ 3731735 w 4772243"/>
              <a:gd name="connsiteY2045" fmla="*/ 5768495 h 8861755"/>
              <a:gd name="connsiteX2046" fmla="*/ 3628747 w 4772243"/>
              <a:gd name="connsiteY2046" fmla="*/ 5758810 h 8861755"/>
              <a:gd name="connsiteX2047" fmla="*/ 3610626 w 4772243"/>
              <a:gd name="connsiteY2047" fmla="*/ 5758541 h 8861755"/>
              <a:gd name="connsiteX2048" fmla="*/ 3616968 w 4772243"/>
              <a:gd name="connsiteY2048" fmla="*/ 5768226 h 8861755"/>
              <a:gd name="connsiteX2049" fmla="*/ 3634787 w 4772243"/>
              <a:gd name="connsiteY2049" fmla="*/ 5791632 h 8861755"/>
              <a:gd name="connsiteX2050" fmla="*/ 3670123 w 4772243"/>
              <a:gd name="connsiteY2050" fmla="*/ 5832792 h 8861755"/>
              <a:gd name="connsiteX2051" fmla="*/ 3732641 w 4772243"/>
              <a:gd name="connsiteY2051" fmla="*/ 5897628 h 8861755"/>
              <a:gd name="connsiteX2052" fmla="*/ 3806033 w 4772243"/>
              <a:gd name="connsiteY2052" fmla="*/ 5968112 h 8861755"/>
              <a:gd name="connsiteX2053" fmla="*/ 3884255 w 4772243"/>
              <a:gd name="connsiteY2053" fmla="*/ 6038866 h 8861755"/>
              <a:gd name="connsiteX2054" fmla="*/ 3962781 w 4772243"/>
              <a:gd name="connsiteY2054" fmla="*/ 6104240 h 8861755"/>
              <a:gd name="connsiteX2055" fmla="*/ 4034359 w 4772243"/>
              <a:gd name="connsiteY2055" fmla="*/ 6159928 h 8861755"/>
              <a:gd name="connsiteX2056" fmla="*/ 4080568 w 4772243"/>
              <a:gd name="connsiteY2056" fmla="*/ 6191136 h 8861755"/>
              <a:gd name="connsiteX2057" fmla="*/ 4106240 w 4772243"/>
              <a:gd name="connsiteY2057" fmla="*/ 6206201 h 8861755"/>
              <a:gd name="connsiteX2058" fmla="*/ 4675439 w 4772243"/>
              <a:gd name="connsiteY2058" fmla="*/ 7701983 h 8861755"/>
              <a:gd name="connsiteX2059" fmla="*/ 4669398 w 4772243"/>
              <a:gd name="connsiteY2059" fmla="*/ 7705751 h 8861755"/>
              <a:gd name="connsiteX2060" fmla="*/ 4648557 w 4772243"/>
              <a:gd name="connsiteY2060" fmla="*/ 7712207 h 8861755"/>
              <a:gd name="connsiteX2061" fmla="*/ 4602041 w 4772243"/>
              <a:gd name="connsiteY2061" fmla="*/ 7720816 h 8861755"/>
              <a:gd name="connsiteX2062" fmla="*/ 4573045 w 4772243"/>
              <a:gd name="connsiteY2062" fmla="*/ 7723776 h 8861755"/>
              <a:gd name="connsiteX2063" fmla="*/ 4566702 w 4772243"/>
              <a:gd name="connsiteY2063" fmla="*/ 7724851 h 8861755"/>
              <a:gd name="connsiteX2064" fmla="*/ 4554318 w 4772243"/>
              <a:gd name="connsiteY2064" fmla="*/ 7730231 h 8861755"/>
              <a:gd name="connsiteX2065" fmla="*/ 4541934 w 4772243"/>
              <a:gd name="connsiteY2065" fmla="*/ 7736420 h 8861755"/>
              <a:gd name="connsiteX2066" fmla="*/ 4531061 w 4772243"/>
              <a:gd name="connsiteY2066" fmla="*/ 7739917 h 8861755"/>
              <a:gd name="connsiteX2067" fmla="*/ 4526228 w 4772243"/>
              <a:gd name="connsiteY2067" fmla="*/ 7739111 h 8861755"/>
              <a:gd name="connsiteX2068" fmla="*/ 4473069 w 4772243"/>
              <a:gd name="connsiteY2068" fmla="*/ 7725120 h 8861755"/>
              <a:gd name="connsiteX2069" fmla="*/ 4393630 w 4772243"/>
              <a:gd name="connsiteY2069" fmla="*/ 7702523 h 8861755"/>
              <a:gd name="connsiteX2070" fmla="*/ 4341678 w 4772243"/>
              <a:gd name="connsiteY2070" fmla="*/ 7685842 h 8861755"/>
              <a:gd name="connsiteX2071" fmla="*/ 4315703 w 4772243"/>
              <a:gd name="connsiteY2071" fmla="*/ 7676427 h 8861755"/>
              <a:gd name="connsiteX2072" fmla="*/ 4283384 w 4772243"/>
              <a:gd name="connsiteY2072" fmla="*/ 7664321 h 8861755"/>
              <a:gd name="connsiteX2073" fmla="*/ 4219955 w 4772243"/>
              <a:gd name="connsiteY2073" fmla="*/ 7637418 h 8861755"/>
              <a:gd name="connsiteX2074" fmla="*/ 4155921 w 4772243"/>
              <a:gd name="connsiteY2074" fmla="*/ 7609709 h 8861755"/>
              <a:gd name="connsiteX2075" fmla="*/ 4091283 w 4772243"/>
              <a:gd name="connsiteY2075" fmla="*/ 7584957 h 8861755"/>
              <a:gd name="connsiteX2076" fmla="*/ 4058058 w 4772243"/>
              <a:gd name="connsiteY2076" fmla="*/ 7575004 h 8861755"/>
              <a:gd name="connsiteX2077" fmla="*/ 4039633 w 4772243"/>
              <a:gd name="connsiteY2077" fmla="*/ 7569355 h 8861755"/>
              <a:gd name="connsiteX2078" fmla="*/ 4003992 w 4772243"/>
              <a:gd name="connsiteY2078" fmla="*/ 7557517 h 8861755"/>
              <a:gd name="connsiteX2079" fmla="*/ 3970465 w 4772243"/>
              <a:gd name="connsiteY2079" fmla="*/ 7543797 h 8861755"/>
              <a:gd name="connsiteX2080" fmla="*/ 3938750 w 4772243"/>
              <a:gd name="connsiteY2080" fmla="*/ 7529000 h 8861755"/>
              <a:gd name="connsiteX2081" fmla="*/ 3908545 w 4772243"/>
              <a:gd name="connsiteY2081" fmla="*/ 7512052 h 8861755"/>
              <a:gd name="connsiteX2082" fmla="*/ 3880154 w 4772243"/>
              <a:gd name="connsiteY2082" fmla="*/ 7493489 h 8861755"/>
              <a:gd name="connsiteX2083" fmla="*/ 3852969 w 4772243"/>
              <a:gd name="connsiteY2083" fmla="*/ 7472505 h 8861755"/>
              <a:gd name="connsiteX2084" fmla="*/ 3827597 w 4772243"/>
              <a:gd name="connsiteY2084" fmla="*/ 7449369 h 8861755"/>
              <a:gd name="connsiteX2085" fmla="*/ 3815516 w 4772243"/>
              <a:gd name="connsiteY2085" fmla="*/ 7436993 h 8861755"/>
              <a:gd name="connsiteX2086" fmla="*/ 3797695 w 4772243"/>
              <a:gd name="connsiteY2086" fmla="*/ 7418431 h 8861755"/>
              <a:gd name="connsiteX2087" fmla="*/ 3760241 w 4772243"/>
              <a:gd name="connsiteY2087" fmla="*/ 7383457 h 8861755"/>
              <a:gd name="connsiteX2088" fmla="*/ 3719767 w 4772243"/>
              <a:gd name="connsiteY2088" fmla="*/ 7351174 h 8861755"/>
              <a:gd name="connsiteX2089" fmla="*/ 3676877 w 4772243"/>
              <a:gd name="connsiteY2089" fmla="*/ 7320775 h 8861755"/>
              <a:gd name="connsiteX2090" fmla="*/ 3632174 w 4772243"/>
              <a:gd name="connsiteY2090" fmla="*/ 7292527 h 8861755"/>
              <a:gd name="connsiteX2091" fmla="*/ 3585659 w 4772243"/>
              <a:gd name="connsiteY2091" fmla="*/ 7265893 h 8861755"/>
              <a:gd name="connsiteX2092" fmla="*/ 3513168 w 4772243"/>
              <a:gd name="connsiteY2092" fmla="*/ 7228767 h 8861755"/>
              <a:gd name="connsiteX2093" fmla="*/ 3462726 w 4772243"/>
              <a:gd name="connsiteY2093" fmla="*/ 7205631 h 8861755"/>
              <a:gd name="connsiteX2094" fmla="*/ 3447926 w 4772243"/>
              <a:gd name="connsiteY2094" fmla="*/ 7199443 h 8861755"/>
              <a:gd name="connsiteX2095" fmla="*/ 3415003 w 4772243"/>
              <a:gd name="connsiteY2095" fmla="*/ 7189758 h 8861755"/>
              <a:gd name="connsiteX2096" fmla="*/ 3360937 w 4772243"/>
              <a:gd name="connsiteY2096" fmla="*/ 7177383 h 8861755"/>
              <a:gd name="connsiteX2097" fmla="*/ 3321369 w 4772243"/>
              <a:gd name="connsiteY2097" fmla="*/ 7167968 h 8861755"/>
              <a:gd name="connsiteX2098" fmla="*/ 3326202 w 4772243"/>
              <a:gd name="connsiteY2098" fmla="*/ 7237377 h 8861755"/>
              <a:gd name="connsiteX2099" fmla="*/ 3330430 w 4772243"/>
              <a:gd name="connsiteY2099" fmla="*/ 7294679 h 8861755"/>
              <a:gd name="connsiteX2100" fmla="*/ 3333451 w 4772243"/>
              <a:gd name="connsiteY2100" fmla="*/ 7324003 h 8861755"/>
              <a:gd name="connsiteX2101" fmla="*/ 3345231 w 4772243"/>
              <a:gd name="connsiteY2101" fmla="*/ 7379422 h 8861755"/>
              <a:gd name="connsiteX2102" fmla="*/ 3358823 w 4772243"/>
              <a:gd name="connsiteY2102" fmla="*/ 7418699 h 8861755"/>
              <a:gd name="connsiteX2103" fmla="*/ 3369998 w 4772243"/>
              <a:gd name="connsiteY2103" fmla="*/ 7444257 h 8861755"/>
              <a:gd name="connsiteX2104" fmla="*/ 3382685 w 4772243"/>
              <a:gd name="connsiteY2104" fmla="*/ 7468469 h 8861755"/>
              <a:gd name="connsiteX2105" fmla="*/ 3397182 w 4772243"/>
              <a:gd name="connsiteY2105" fmla="*/ 7492412 h 8861755"/>
              <a:gd name="connsiteX2106" fmla="*/ 3414097 w 4772243"/>
              <a:gd name="connsiteY2106" fmla="*/ 7515281 h 8861755"/>
              <a:gd name="connsiteX2107" fmla="*/ 3432219 w 4772243"/>
              <a:gd name="connsiteY2107" fmla="*/ 7537340 h 8861755"/>
              <a:gd name="connsiteX2108" fmla="*/ 3452456 w 4772243"/>
              <a:gd name="connsiteY2108" fmla="*/ 7558325 h 8861755"/>
              <a:gd name="connsiteX2109" fmla="*/ 3474808 w 4772243"/>
              <a:gd name="connsiteY2109" fmla="*/ 7578501 h 8861755"/>
              <a:gd name="connsiteX2110" fmla="*/ 3498670 w 4772243"/>
              <a:gd name="connsiteY2110" fmla="*/ 7597871 h 8861755"/>
              <a:gd name="connsiteX2111" fmla="*/ 3524948 w 4772243"/>
              <a:gd name="connsiteY2111" fmla="*/ 7616434 h 8861755"/>
              <a:gd name="connsiteX2112" fmla="*/ 3567234 w 4772243"/>
              <a:gd name="connsiteY2112" fmla="*/ 7642261 h 8861755"/>
              <a:gd name="connsiteX2113" fmla="*/ 3598647 w 4772243"/>
              <a:gd name="connsiteY2113" fmla="*/ 7658402 h 8861755"/>
              <a:gd name="connsiteX2114" fmla="*/ 3622509 w 4772243"/>
              <a:gd name="connsiteY2114" fmla="*/ 7670509 h 8861755"/>
              <a:gd name="connsiteX2115" fmla="*/ 3667816 w 4772243"/>
              <a:gd name="connsiteY2115" fmla="*/ 7698487 h 8861755"/>
              <a:gd name="connsiteX2116" fmla="*/ 3688053 w 4772243"/>
              <a:gd name="connsiteY2116" fmla="*/ 7713821 h 8861755"/>
              <a:gd name="connsiteX2117" fmla="*/ 3711310 w 4772243"/>
              <a:gd name="connsiteY2117" fmla="*/ 7731846 h 8861755"/>
              <a:gd name="connsiteX2118" fmla="*/ 3759335 w 4772243"/>
              <a:gd name="connsiteY2118" fmla="*/ 7764937 h 8861755"/>
              <a:gd name="connsiteX2119" fmla="*/ 3809173 w 4772243"/>
              <a:gd name="connsiteY2119" fmla="*/ 7794260 h 8861755"/>
              <a:gd name="connsiteX2120" fmla="*/ 3861728 w 4772243"/>
              <a:gd name="connsiteY2120" fmla="*/ 7820087 h 8861755"/>
              <a:gd name="connsiteX2121" fmla="*/ 3916097 w 4772243"/>
              <a:gd name="connsiteY2121" fmla="*/ 7841339 h 8861755"/>
              <a:gd name="connsiteX2122" fmla="*/ 3973485 w 4772243"/>
              <a:gd name="connsiteY2122" fmla="*/ 7858827 h 8861755"/>
              <a:gd name="connsiteX2123" fmla="*/ 4033592 w 4772243"/>
              <a:gd name="connsiteY2123" fmla="*/ 7871471 h 8861755"/>
              <a:gd name="connsiteX2124" fmla="*/ 4096116 w 4772243"/>
              <a:gd name="connsiteY2124" fmla="*/ 7879273 h 8861755"/>
              <a:gd name="connsiteX2125" fmla="*/ 4129039 w 4772243"/>
              <a:gd name="connsiteY2125" fmla="*/ 7881425 h 8861755"/>
              <a:gd name="connsiteX2126" fmla="*/ 4081920 w 4772243"/>
              <a:gd name="connsiteY2126" fmla="*/ 7883577 h 8861755"/>
              <a:gd name="connsiteX2127" fmla="*/ 4037821 w 4772243"/>
              <a:gd name="connsiteY2127" fmla="*/ 7885191 h 8861755"/>
              <a:gd name="connsiteX2128" fmla="*/ 4061381 w 4772243"/>
              <a:gd name="connsiteY2128" fmla="*/ 7899449 h 8861755"/>
              <a:gd name="connsiteX2129" fmla="*/ 4107594 w 4772243"/>
              <a:gd name="connsiteY2129" fmla="*/ 7928235 h 8861755"/>
              <a:gd name="connsiteX2130" fmla="*/ 4129039 w 4772243"/>
              <a:gd name="connsiteY2130" fmla="*/ 7943570 h 8861755"/>
              <a:gd name="connsiteX2131" fmla="*/ 4156525 w 4772243"/>
              <a:gd name="connsiteY2131" fmla="*/ 7964015 h 8861755"/>
              <a:gd name="connsiteX2132" fmla="*/ 4208477 w 4772243"/>
              <a:gd name="connsiteY2132" fmla="*/ 8007059 h 8861755"/>
              <a:gd name="connsiteX2133" fmla="*/ 4234453 w 4772243"/>
              <a:gd name="connsiteY2133" fmla="*/ 8028581 h 8861755"/>
              <a:gd name="connsiteX2134" fmla="*/ 4246534 w 4772243"/>
              <a:gd name="connsiteY2134" fmla="*/ 8038267 h 8861755"/>
              <a:gd name="connsiteX2135" fmla="*/ 4271906 w 4772243"/>
              <a:gd name="connsiteY2135" fmla="*/ 8054677 h 8861755"/>
              <a:gd name="connsiteX2136" fmla="*/ 4298486 w 4772243"/>
              <a:gd name="connsiteY2136" fmla="*/ 8068129 h 8861755"/>
              <a:gd name="connsiteX2137" fmla="*/ 4325973 w 4772243"/>
              <a:gd name="connsiteY2137" fmla="*/ 8078082 h 8861755"/>
              <a:gd name="connsiteX2138" fmla="*/ 4355271 w 4772243"/>
              <a:gd name="connsiteY2138" fmla="*/ 8085077 h 8861755"/>
              <a:gd name="connsiteX2139" fmla="*/ 4385475 w 4772243"/>
              <a:gd name="connsiteY2139" fmla="*/ 8088843 h 8861755"/>
              <a:gd name="connsiteX2140" fmla="*/ 4416888 w 4772243"/>
              <a:gd name="connsiteY2140" fmla="*/ 8089920 h 8861755"/>
              <a:gd name="connsiteX2141" fmla="*/ 4449207 w 4772243"/>
              <a:gd name="connsiteY2141" fmla="*/ 8088305 h 8861755"/>
              <a:gd name="connsiteX2142" fmla="*/ 4466121 w 4772243"/>
              <a:gd name="connsiteY2142" fmla="*/ 8086154 h 8861755"/>
              <a:gd name="connsiteX2143" fmla="*/ 4528343 w 4772243"/>
              <a:gd name="connsiteY2143" fmla="*/ 8079159 h 8861755"/>
              <a:gd name="connsiteX2144" fmla="*/ 4591470 w 4772243"/>
              <a:gd name="connsiteY2144" fmla="*/ 8073240 h 8861755"/>
              <a:gd name="connsiteX2145" fmla="*/ 4578784 w 4772243"/>
              <a:gd name="connsiteY2145" fmla="*/ 8078082 h 8861755"/>
              <a:gd name="connsiteX2146" fmla="*/ 4553413 w 4772243"/>
              <a:gd name="connsiteY2146" fmla="*/ 8085077 h 8861755"/>
              <a:gd name="connsiteX2147" fmla="*/ 4514147 w 4772243"/>
              <a:gd name="connsiteY2147" fmla="*/ 8092341 h 8861755"/>
              <a:gd name="connsiteX2148" fmla="*/ 4488473 w 4772243"/>
              <a:gd name="connsiteY2148" fmla="*/ 8097721 h 8861755"/>
              <a:gd name="connsiteX2149" fmla="*/ 4464007 w 4772243"/>
              <a:gd name="connsiteY2149" fmla="*/ 8102833 h 8861755"/>
              <a:gd name="connsiteX2150" fmla="*/ 4417190 w 4772243"/>
              <a:gd name="connsiteY2150" fmla="*/ 8108213 h 8861755"/>
              <a:gd name="connsiteX2151" fmla="*/ 4372487 w 4772243"/>
              <a:gd name="connsiteY2151" fmla="*/ 8107407 h 8861755"/>
              <a:gd name="connsiteX2152" fmla="*/ 4329899 w 4772243"/>
              <a:gd name="connsiteY2152" fmla="*/ 8101487 h 8861755"/>
              <a:gd name="connsiteX2153" fmla="*/ 4290029 w 4772243"/>
              <a:gd name="connsiteY2153" fmla="*/ 8089920 h 8861755"/>
              <a:gd name="connsiteX2154" fmla="*/ 4251971 w 4772243"/>
              <a:gd name="connsiteY2154" fmla="*/ 8074047 h 8861755"/>
              <a:gd name="connsiteX2155" fmla="*/ 4215424 w 4772243"/>
              <a:gd name="connsiteY2155" fmla="*/ 8053063 h 8861755"/>
              <a:gd name="connsiteX2156" fmla="*/ 4180990 w 4772243"/>
              <a:gd name="connsiteY2156" fmla="*/ 8027775 h 8861755"/>
              <a:gd name="connsiteX2157" fmla="*/ 4164680 w 4772243"/>
              <a:gd name="connsiteY2157" fmla="*/ 8013517 h 8861755"/>
              <a:gd name="connsiteX2158" fmla="*/ 4151390 w 4772243"/>
              <a:gd name="connsiteY2158" fmla="*/ 8002218 h 8861755"/>
              <a:gd name="connsiteX2159" fmla="*/ 4123904 w 4772243"/>
              <a:gd name="connsiteY2159" fmla="*/ 7980157 h 8861755"/>
              <a:gd name="connsiteX2160" fmla="*/ 4094907 w 4772243"/>
              <a:gd name="connsiteY2160" fmla="*/ 7959980 h 8861755"/>
              <a:gd name="connsiteX2161" fmla="*/ 4064703 w 4772243"/>
              <a:gd name="connsiteY2161" fmla="*/ 7940610 h 8861755"/>
              <a:gd name="connsiteX2162" fmla="*/ 4017584 w 4772243"/>
              <a:gd name="connsiteY2162" fmla="*/ 7914515 h 8861755"/>
              <a:gd name="connsiteX2163" fmla="*/ 3950228 w 4772243"/>
              <a:gd name="connsiteY2163" fmla="*/ 7884115 h 8861755"/>
              <a:gd name="connsiteX2164" fmla="*/ 3914587 w 4772243"/>
              <a:gd name="connsiteY2164" fmla="*/ 7870933 h 8861755"/>
              <a:gd name="connsiteX2165" fmla="*/ 3876529 w 4772243"/>
              <a:gd name="connsiteY2165" fmla="*/ 7856674 h 8861755"/>
              <a:gd name="connsiteX2166" fmla="*/ 3802225 w 4772243"/>
              <a:gd name="connsiteY2166" fmla="*/ 7825737 h 8861755"/>
              <a:gd name="connsiteX2167" fmla="*/ 3749972 w 4772243"/>
              <a:gd name="connsiteY2167" fmla="*/ 7798564 h 8861755"/>
              <a:gd name="connsiteX2168" fmla="*/ 3716747 w 4772243"/>
              <a:gd name="connsiteY2168" fmla="*/ 7778119 h 8861755"/>
              <a:gd name="connsiteX2169" fmla="*/ 3685334 w 4772243"/>
              <a:gd name="connsiteY2169" fmla="*/ 7755789 h 8861755"/>
              <a:gd name="connsiteX2170" fmla="*/ 3656338 w 4772243"/>
              <a:gd name="connsiteY2170" fmla="*/ 7731039 h 8861755"/>
              <a:gd name="connsiteX2171" fmla="*/ 3642746 w 4772243"/>
              <a:gd name="connsiteY2171" fmla="*/ 7717857 h 8861755"/>
              <a:gd name="connsiteX2172" fmla="*/ 3635496 w 4772243"/>
              <a:gd name="connsiteY2172" fmla="*/ 7711401 h 8861755"/>
              <a:gd name="connsiteX2173" fmla="*/ 3615259 w 4772243"/>
              <a:gd name="connsiteY2173" fmla="*/ 7701177 h 8861755"/>
              <a:gd name="connsiteX2174" fmla="*/ 3605594 w 4772243"/>
              <a:gd name="connsiteY2174" fmla="*/ 7696066 h 8861755"/>
              <a:gd name="connsiteX2175" fmla="*/ 3600762 w 4772243"/>
              <a:gd name="connsiteY2175" fmla="*/ 7699563 h 8861755"/>
              <a:gd name="connsiteX2176" fmla="*/ 3595929 w 4772243"/>
              <a:gd name="connsiteY2176" fmla="*/ 7702791 h 8861755"/>
              <a:gd name="connsiteX2177" fmla="*/ 3617978 w 4772243"/>
              <a:gd name="connsiteY2177" fmla="*/ 7722161 h 8861755"/>
              <a:gd name="connsiteX2178" fmla="*/ 3657546 w 4772243"/>
              <a:gd name="connsiteY2178" fmla="*/ 7762515 h 8861755"/>
              <a:gd name="connsiteX2179" fmla="*/ 3691677 w 4772243"/>
              <a:gd name="connsiteY2179" fmla="*/ 7804753 h 8861755"/>
              <a:gd name="connsiteX2180" fmla="*/ 3720975 w 4772243"/>
              <a:gd name="connsiteY2180" fmla="*/ 7849142 h 8861755"/>
              <a:gd name="connsiteX2181" fmla="*/ 3746649 w 4772243"/>
              <a:gd name="connsiteY2181" fmla="*/ 7894607 h 8861755"/>
              <a:gd name="connsiteX2182" fmla="*/ 3768699 w 4772243"/>
              <a:gd name="connsiteY2182" fmla="*/ 7941687 h 8861755"/>
              <a:gd name="connsiteX2183" fmla="*/ 3798903 w 4772243"/>
              <a:gd name="connsiteY2183" fmla="*/ 8013247 h 8861755"/>
              <a:gd name="connsiteX2184" fmla="*/ 3817328 w 4772243"/>
              <a:gd name="connsiteY2184" fmla="*/ 8061672 h 8861755"/>
              <a:gd name="connsiteX2185" fmla="*/ 3828806 w 4772243"/>
              <a:gd name="connsiteY2185" fmla="*/ 8090995 h 8861755"/>
              <a:gd name="connsiteX2186" fmla="*/ 3840887 w 4772243"/>
              <a:gd name="connsiteY2186" fmla="*/ 8120319 h 8861755"/>
              <a:gd name="connsiteX2187" fmla="*/ 3853271 w 4772243"/>
              <a:gd name="connsiteY2187" fmla="*/ 8149643 h 8861755"/>
              <a:gd name="connsiteX2188" fmla="*/ 3883476 w 4772243"/>
              <a:gd name="connsiteY2188" fmla="*/ 8203717 h 8861755"/>
              <a:gd name="connsiteX2189" fmla="*/ 3910056 w 4772243"/>
              <a:gd name="connsiteY2189" fmla="*/ 8241381 h 8861755"/>
              <a:gd name="connsiteX2190" fmla="*/ 3929689 w 4772243"/>
              <a:gd name="connsiteY2190" fmla="*/ 8265325 h 8861755"/>
              <a:gd name="connsiteX2191" fmla="*/ 3950832 w 4772243"/>
              <a:gd name="connsiteY2191" fmla="*/ 8287923 h 8861755"/>
              <a:gd name="connsiteX2192" fmla="*/ 3973183 w 4772243"/>
              <a:gd name="connsiteY2192" fmla="*/ 8309176 h 8861755"/>
              <a:gd name="connsiteX2193" fmla="*/ 3997347 w 4772243"/>
              <a:gd name="connsiteY2193" fmla="*/ 8329891 h 8861755"/>
              <a:gd name="connsiteX2194" fmla="*/ 4023021 w 4772243"/>
              <a:gd name="connsiteY2194" fmla="*/ 8348991 h 8861755"/>
              <a:gd name="connsiteX2195" fmla="*/ 4050205 w 4772243"/>
              <a:gd name="connsiteY2195" fmla="*/ 8367285 h 8861755"/>
              <a:gd name="connsiteX2196" fmla="*/ 4078899 w 4772243"/>
              <a:gd name="connsiteY2196" fmla="*/ 8383965 h 8861755"/>
              <a:gd name="connsiteX2197" fmla="*/ 4125112 w 4772243"/>
              <a:gd name="connsiteY2197" fmla="*/ 8407370 h 8861755"/>
              <a:gd name="connsiteX2198" fmla="*/ 4192166 w 4772243"/>
              <a:gd name="connsiteY2198" fmla="*/ 8434004 h 8861755"/>
              <a:gd name="connsiteX2199" fmla="*/ 4228411 w 4772243"/>
              <a:gd name="connsiteY2199" fmla="*/ 8445573 h 8861755"/>
              <a:gd name="connsiteX2200" fmla="*/ 4265261 w 4772243"/>
              <a:gd name="connsiteY2200" fmla="*/ 8456871 h 8861755"/>
              <a:gd name="connsiteX2201" fmla="*/ 4337752 w 4772243"/>
              <a:gd name="connsiteY2201" fmla="*/ 8481083 h 8861755"/>
              <a:gd name="connsiteX2202" fmla="*/ 4409034 w 4772243"/>
              <a:gd name="connsiteY2202" fmla="*/ 8507986 h 8861755"/>
              <a:gd name="connsiteX2203" fmla="*/ 4478505 w 4772243"/>
              <a:gd name="connsiteY2203" fmla="*/ 8537041 h 8861755"/>
              <a:gd name="connsiteX2204" fmla="*/ 4512636 w 4772243"/>
              <a:gd name="connsiteY2204" fmla="*/ 8552375 h 8861755"/>
              <a:gd name="connsiteX2205" fmla="*/ 4528645 w 4772243"/>
              <a:gd name="connsiteY2205" fmla="*/ 8559907 h 8861755"/>
              <a:gd name="connsiteX2206" fmla="*/ 4534988 w 4772243"/>
              <a:gd name="connsiteY2206" fmla="*/ 8565019 h 8861755"/>
              <a:gd name="connsiteX2207" fmla="*/ 4530759 w 4772243"/>
              <a:gd name="connsiteY2207" fmla="*/ 8565019 h 8861755"/>
              <a:gd name="connsiteX2208" fmla="*/ 4495419 w 4772243"/>
              <a:gd name="connsiteY2208" fmla="*/ 8556949 h 8861755"/>
              <a:gd name="connsiteX2209" fmla="*/ 4367352 w 4772243"/>
              <a:gd name="connsiteY2209" fmla="*/ 8520899 h 8861755"/>
              <a:gd name="connsiteX2210" fmla="*/ 4191260 w 4772243"/>
              <a:gd name="connsiteY2210" fmla="*/ 8473551 h 8861755"/>
              <a:gd name="connsiteX2211" fmla="*/ 4096418 w 4772243"/>
              <a:gd name="connsiteY2211" fmla="*/ 8450952 h 8861755"/>
              <a:gd name="connsiteX2212" fmla="*/ 4101250 w 4772243"/>
              <a:gd name="connsiteY2212" fmla="*/ 8467363 h 8861755"/>
              <a:gd name="connsiteX2213" fmla="*/ 4113635 w 4772243"/>
              <a:gd name="connsiteY2213" fmla="*/ 8498570 h 8861755"/>
              <a:gd name="connsiteX2214" fmla="*/ 4129039 w 4772243"/>
              <a:gd name="connsiteY2214" fmla="*/ 8528702 h 8861755"/>
              <a:gd name="connsiteX2215" fmla="*/ 4147162 w 4772243"/>
              <a:gd name="connsiteY2215" fmla="*/ 8557488 h 8861755"/>
              <a:gd name="connsiteX2216" fmla="*/ 4197905 w 4772243"/>
              <a:gd name="connsiteY2216" fmla="*/ 8626358 h 8861755"/>
              <a:gd name="connsiteX2217" fmla="*/ 4241400 w 4772243"/>
              <a:gd name="connsiteY2217" fmla="*/ 8680431 h 8861755"/>
              <a:gd name="connsiteX2218" fmla="*/ 4228714 w 4772243"/>
              <a:gd name="connsiteY2218" fmla="*/ 8675320 h 8861755"/>
              <a:gd name="connsiteX2219" fmla="*/ 4204852 w 4772243"/>
              <a:gd name="connsiteY2219" fmla="*/ 8669403 h 8861755"/>
              <a:gd name="connsiteX2220" fmla="*/ 4192166 w 4772243"/>
              <a:gd name="connsiteY2220" fmla="*/ 8664290 h 8861755"/>
              <a:gd name="connsiteX2221" fmla="*/ 4188240 w 4772243"/>
              <a:gd name="connsiteY2221" fmla="*/ 8660524 h 8861755"/>
              <a:gd name="connsiteX2222" fmla="*/ 4172836 w 4772243"/>
              <a:gd name="connsiteY2222" fmla="*/ 8638195 h 8861755"/>
              <a:gd name="connsiteX2223" fmla="*/ 4146255 w 4772243"/>
              <a:gd name="connsiteY2223" fmla="*/ 8591384 h 8861755"/>
              <a:gd name="connsiteX2224" fmla="*/ 4121487 w 4772243"/>
              <a:gd name="connsiteY2224" fmla="*/ 8543497 h 8861755"/>
              <a:gd name="connsiteX2225" fmla="*/ 4094907 w 4772243"/>
              <a:gd name="connsiteY2225" fmla="*/ 8497225 h 8861755"/>
              <a:gd name="connsiteX2226" fmla="*/ 4078899 w 4772243"/>
              <a:gd name="connsiteY2226" fmla="*/ 8474896 h 8861755"/>
              <a:gd name="connsiteX2227" fmla="*/ 4065307 w 4772243"/>
              <a:gd name="connsiteY2227" fmla="*/ 8456871 h 8861755"/>
              <a:gd name="connsiteX2228" fmla="*/ 4041446 w 4772243"/>
              <a:gd name="connsiteY2228" fmla="*/ 8430775 h 8861755"/>
              <a:gd name="connsiteX2229" fmla="*/ 4023323 w 4772243"/>
              <a:gd name="connsiteY2229" fmla="*/ 8415979 h 8861755"/>
              <a:gd name="connsiteX2230" fmla="*/ 4012751 w 4772243"/>
              <a:gd name="connsiteY2230" fmla="*/ 8410060 h 8861755"/>
              <a:gd name="connsiteX2231" fmla="*/ 3997951 w 4772243"/>
              <a:gd name="connsiteY2231" fmla="*/ 8402528 h 8861755"/>
              <a:gd name="connsiteX2232" fmla="*/ 3970163 w 4772243"/>
              <a:gd name="connsiteY2232" fmla="*/ 8386117 h 8861755"/>
              <a:gd name="connsiteX2233" fmla="*/ 3943583 w 4772243"/>
              <a:gd name="connsiteY2233" fmla="*/ 8368093 h 8861755"/>
              <a:gd name="connsiteX2234" fmla="*/ 3919117 w 4772243"/>
              <a:gd name="connsiteY2234" fmla="*/ 8349529 h 8861755"/>
              <a:gd name="connsiteX2235" fmla="*/ 3896766 w 4772243"/>
              <a:gd name="connsiteY2235" fmla="*/ 8329083 h 8861755"/>
              <a:gd name="connsiteX2236" fmla="*/ 3876529 w 4772243"/>
              <a:gd name="connsiteY2236" fmla="*/ 8307831 h 8861755"/>
              <a:gd name="connsiteX2237" fmla="*/ 3858104 w 4772243"/>
              <a:gd name="connsiteY2237" fmla="*/ 8284963 h 8861755"/>
              <a:gd name="connsiteX2238" fmla="*/ 3842095 w 4772243"/>
              <a:gd name="connsiteY2238" fmla="*/ 8260751 h 8861755"/>
              <a:gd name="connsiteX2239" fmla="*/ 3835149 w 4772243"/>
              <a:gd name="connsiteY2239" fmla="*/ 8248376 h 8861755"/>
              <a:gd name="connsiteX2240" fmla="*/ 3799809 w 4772243"/>
              <a:gd name="connsiteY2240" fmla="*/ 8183003 h 8861755"/>
              <a:gd name="connsiteX2241" fmla="*/ 3749972 w 4772243"/>
              <a:gd name="connsiteY2241" fmla="*/ 8084001 h 8861755"/>
              <a:gd name="connsiteX2242" fmla="*/ 3720371 w 4772243"/>
              <a:gd name="connsiteY2242" fmla="*/ 8017013 h 8861755"/>
              <a:gd name="connsiteX2243" fmla="*/ 3707384 w 4772243"/>
              <a:gd name="connsiteY2243" fmla="*/ 7983655 h 8861755"/>
              <a:gd name="connsiteX2244" fmla="*/ 3695905 w 4772243"/>
              <a:gd name="connsiteY2244" fmla="*/ 7955675 h 8861755"/>
              <a:gd name="connsiteX2245" fmla="*/ 3668118 w 4772243"/>
              <a:gd name="connsiteY2245" fmla="*/ 7903753 h 8861755"/>
              <a:gd name="connsiteX2246" fmla="*/ 3634892 w 4772243"/>
              <a:gd name="connsiteY2246" fmla="*/ 7854521 h 8861755"/>
              <a:gd name="connsiteX2247" fmla="*/ 3596533 w 4772243"/>
              <a:gd name="connsiteY2247" fmla="*/ 7807981 h 8861755"/>
              <a:gd name="connsiteX2248" fmla="*/ 3554548 w 4772243"/>
              <a:gd name="connsiteY2248" fmla="*/ 7763321 h 8861755"/>
              <a:gd name="connsiteX2249" fmla="*/ 3509544 w 4772243"/>
              <a:gd name="connsiteY2249" fmla="*/ 7720009 h 8861755"/>
              <a:gd name="connsiteX2250" fmla="*/ 3439167 w 4772243"/>
              <a:gd name="connsiteY2250" fmla="*/ 7656249 h 8861755"/>
              <a:gd name="connsiteX2251" fmla="*/ 3390537 w 4772243"/>
              <a:gd name="connsiteY2251" fmla="*/ 7613743 h 8861755"/>
              <a:gd name="connsiteX2252" fmla="*/ 3380570 w 4772243"/>
              <a:gd name="connsiteY2252" fmla="*/ 7647909 h 8861755"/>
              <a:gd name="connsiteX2253" fmla="*/ 3369394 w 4772243"/>
              <a:gd name="connsiteY2253" fmla="*/ 7699025 h 8861755"/>
              <a:gd name="connsiteX2254" fmla="*/ 3367884 w 4772243"/>
              <a:gd name="connsiteY2254" fmla="*/ 7724582 h 8861755"/>
              <a:gd name="connsiteX2255" fmla="*/ 3369092 w 4772243"/>
              <a:gd name="connsiteY2255" fmla="*/ 7740993 h 8861755"/>
              <a:gd name="connsiteX2256" fmla="*/ 3370602 w 4772243"/>
              <a:gd name="connsiteY2256" fmla="*/ 7749333 h 8861755"/>
              <a:gd name="connsiteX2257" fmla="*/ 3380570 w 4772243"/>
              <a:gd name="connsiteY2257" fmla="*/ 7796143 h 8861755"/>
              <a:gd name="connsiteX2258" fmla="*/ 3399297 w 4772243"/>
              <a:gd name="connsiteY2258" fmla="*/ 7865014 h 8861755"/>
              <a:gd name="connsiteX2259" fmla="*/ 3414399 w 4772243"/>
              <a:gd name="connsiteY2259" fmla="*/ 7910748 h 8861755"/>
              <a:gd name="connsiteX2260" fmla="*/ 3432522 w 4772243"/>
              <a:gd name="connsiteY2260" fmla="*/ 7955407 h 8861755"/>
              <a:gd name="connsiteX2261" fmla="*/ 3453665 w 4772243"/>
              <a:gd name="connsiteY2261" fmla="*/ 7999258 h 8861755"/>
              <a:gd name="connsiteX2262" fmla="*/ 3478735 w 4772243"/>
              <a:gd name="connsiteY2262" fmla="*/ 8042303 h 8861755"/>
              <a:gd name="connsiteX2263" fmla="*/ 3507429 w 4772243"/>
              <a:gd name="connsiteY2263" fmla="*/ 8084001 h 8861755"/>
              <a:gd name="connsiteX2264" fmla="*/ 3523739 w 4772243"/>
              <a:gd name="connsiteY2264" fmla="*/ 8104177 h 8861755"/>
              <a:gd name="connsiteX2265" fmla="*/ 3531895 w 4772243"/>
              <a:gd name="connsiteY2265" fmla="*/ 8114670 h 8861755"/>
              <a:gd name="connsiteX2266" fmla="*/ 3544883 w 4772243"/>
              <a:gd name="connsiteY2266" fmla="*/ 8135654 h 8861755"/>
              <a:gd name="connsiteX2267" fmla="*/ 3554548 w 4772243"/>
              <a:gd name="connsiteY2267" fmla="*/ 8156907 h 8861755"/>
              <a:gd name="connsiteX2268" fmla="*/ 3561496 w 4772243"/>
              <a:gd name="connsiteY2268" fmla="*/ 8178967 h 8861755"/>
              <a:gd name="connsiteX2269" fmla="*/ 3567234 w 4772243"/>
              <a:gd name="connsiteY2269" fmla="*/ 8212057 h 8861755"/>
              <a:gd name="connsiteX2270" fmla="*/ 3568140 w 4772243"/>
              <a:gd name="connsiteY2270" fmla="*/ 8258329 h 8861755"/>
              <a:gd name="connsiteX2271" fmla="*/ 3566328 w 4772243"/>
              <a:gd name="connsiteY2271" fmla="*/ 8282005 h 8861755"/>
              <a:gd name="connsiteX2272" fmla="*/ 3564818 w 4772243"/>
              <a:gd name="connsiteY2272" fmla="*/ 8308637 h 8861755"/>
              <a:gd name="connsiteX2273" fmla="*/ 3564818 w 4772243"/>
              <a:gd name="connsiteY2273" fmla="*/ 8361637 h 8861755"/>
              <a:gd name="connsiteX2274" fmla="*/ 3568442 w 4772243"/>
              <a:gd name="connsiteY2274" fmla="*/ 8414903 h 8861755"/>
              <a:gd name="connsiteX2275" fmla="*/ 3574785 w 4772243"/>
              <a:gd name="connsiteY2275" fmla="*/ 8467901 h 8861755"/>
              <a:gd name="connsiteX2276" fmla="*/ 3579014 w 4772243"/>
              <a:gd name="connsiteY2276" fmla="*/ 8493996 h 8861755"/>
              <a:gd name="connsiteX2277" fmla="*/ 3582639 w 4772243"/>
              <a:gd name="connsiteY2277" fmla="*/ 8514443 h 8861755"/>
              <a:gd name="connsiteX2278" fmla="*/ 3588377 w 4772243"/>
              <a:gd name="connsiteY2278" fmla="*/ 8553721 h 8861755"/>
              <a:gd name="connsiteX2279" fmla="*/ 3589585 w 4772243"/>
              <a:gd name="connsiteY2279" fmla="*/ 8593267 h 8861755"/>
              <a:gd name="connsiteX2280" fmla="*/ 3585659 w 4772243"/>
              <a:gd name="connsiteY2280" fmla="*/ 8622860 h 8861755"/>
              <a:gd name="connsiteX2281" fmla="*/ 3580222 w 4772243"/>
              <a:gd name="connsiteY2281" fmla="*/ 8642768 h 8861755"/>
              <a:gd name="connsiteX2282" fmla="*/ 3576296 w 4772243"/>
              <a:gd name="connsiteY2282" fmla="*/ 8652453 h 8861755"/>
              <a:gd name="connsiteX2283" fmla="*/ 3572973 w 4772243"/>
              <a:gd name="connsiteY2283" fmla="*/ 8661062 h 8861755"/>
              <a:gd name="connsiteX2284" fmla="*/ 3573577 w 4772243"/>
              <a:gd name="connsiteY2284" fmla="*/ 8676127 h 8861755"/>
              <a:gd name="connsiteX2285" fmla="*/ 3577806 w 4772243"/>
              <a:gd name="connsiteY2285" fmla="*/ 8688233 h 8861755"/>
              <a:gd name="connsiteX2286" fmla="*/ 3581733 w 4772243"/>
              <a:gd name="connsiteY2286" fmla="*/ 8699533 h 8861755"/>
              <a:gd name="connsiteX2287" fmla="*/ 3581733 w 4772243"/>
              <a:gd name="connsiteY2287" fmla="*/ 8705182 h 8861755"/>
              <a:gd name="connsiteX2288" fmla="*/ 3581431 w 4772243"/>
              <a:gd name="connsiteY2288" fmla="*/ 8706797 h 8861755"/>
              <a:gd name="connsiteX2289" fmla="*/ 3578108 w 4772243"/>
              <a:gd name="connsiteY2289" fmla="*/ 8708948 h 8861755"/>
              <a:gd name="connsiteX2290" fmla="*/ 3570859 w 4772243"/>
              <a:gd name="connsiteY2290" fmla="*/ 8710294 h 8861755"/>
              <a:gd name="connsiteX2291" fmla="*/ 3566328 w 4772243"/>
              <a:gd name="connsiteY2291" fmla="*/ 8709217 h 8861755"/>
              <a:gd name="connsiteX2292" fmla="*/ 3560892 w 4772243"/>
              <a:gd name="connsiteY2292" fmla="*/ 8697649 h 8861755"/>
              <a:gd name="connsiteX2293" fmla="*/ 3553944 w 4772243"/>
              <a:gd name="connsiteY2293" fmla="*/ 8682316 h 8861755"/>
              <a:gd name="connsiteX2294" fmla="*/ 3540956 w 4772243"/>
              <a:gd name="connsiteY2294" fmla="*/ 8692269 h 8861755"/>
              <a:gd name="connsiteX2295" fmla="*/ 3517396 w 4772243"/>
              <a:gd name="connsiteY2295" fmla="*/ 8711908 h 8861755"/>
              <a:gd name="connsiteX2296" fmla="*/ 3496253 w 4772243"/>
              <a:gd name="connsiteY2296" fmla="*/ 8732892 h 8861755"/>
              <a:gd name="connsiteX2297" fmla="*/ 3477526 w 4772243"/>
              <a:gd name="connsiteY2297" fmla="*/ 8754682 h 8861755"/>
              <a:gd name="connsiteX2298" fmla="*/ 3460612 w 4772243"/>
              <a:gd name="connsiteY2298" fmla="*/ 8777013 h 8861755"/>
              <a:gd name="connsiteX2299" fmla="*/ 3446114 w 4772243"/>
              <a:gd name="connsiteY2299" fmla="*/ 8799879 h 8861755"/>
              <a:gd name="connsiteX2300" fmla="*/ 3433428 w 4772243"/>
              <a:gd name="connsiteY2300" fmla="*/ 8824092 h 8861755"/>
              <a:gd name="connsiteX2301" fmla="*/ 3422856 w 4772243"/>
              <a:gd name="connsiteY2301" fmla="*/ 8848842 h 8861755"/>
              <a:gd name="connsiteX2302" fmla="*/ 3418024 w 4772243"/>
              <a:gd name="connsiteY2302" fmla="*/ 8861755 h 8861755"/>
              <a:gd name="connsiteX2303" fmla="*/ 3418024 w 4772243"/>
              <a:gd name="connsiteY2303" fmla="*/ 8851263 h 8861755"/>
              <a:gd name="connsiteX2304" fmla="*/ 3420742 w 4772243"/>
              <a:gd name="connsiteY2304" fmla="*/ 8830548 h 8861755"/>
              <a:gd name="connsiteX2305" fmla="*/ 3426179 w 4772243"/>
              <a:gd name="connsiteY2305" fmla="*/ 8811178 h 8861755"/>
              <a:gd name="connsiteX2306" fmla="*/ 3434032 w 4772243"/>
              <a:gd name="connsiteY2306" fmla="*/ 8792346 h 8861755"/>
              <a:gd name="connsiteX2307" fmla="*/ 3449437 w 4772243"/>
              <a:gd name="connsiteY2307" fmla="*/ 8765444 h 8861755"/>
              <a:gd name="connsiteX2308" fmla="*/ 3476922 w 4772243"/>
              <a:gd name="connsiteY2308" fmla="*/ 8731816 h 8861755"/>
              <a:gd name="connsiteX2309" fmla="*/ 3492327 w 4772243"/>
              <a:gd name="connsiteY2309" fmla="*/ 8716212 h 8861755"/>
              <a:gd name="connsiteX2310" fmla="*/ 3502898 w 4772243"/>
              <a:gd name="connsiteY2310" fmla="*/ 8705720 h 8861755"/>
              <a:gd name="connsiteX2311" fmla="*/ 3521021 w 4772243"/>
              <a:gd name="connsiteY2311" fmla="*/ 8684198 h 8861755"/>
              <a:gd name="connsiteX2312" fmla="*/ 3535822 w 4772243"/>
              <a:gd name="connsiteY2312" fmla="*/ 8662138 h 8861755"/>
              <a:gd name="connsiteX2313" fmla="*/ 3546997 w 4772243"/>
              <a:gd name="connsiteY2313" fmla="*/ 8639539 h 8861755"/>
              <a:gd name="connsiteX2314" fmla="*/ 3554548 w 4772243"/>
              <a:gd name="connsiteY2314" fmla="*/ 8616134 h 8861755"/>
              <a:gd name="connsiteX2315" fmla="*/ 3558475 w 4772243"/>
              <a:gd name="connsiteY2315" fmla="*/ 8591653 h 8861755"/>
              <a:gd name="connsiteX2316" fmla="*/ 3559079 w 4772243"/>
              <a:gd name="connsiteY2316" fmla="*/ 8566903 h 8861755"/>
              <a:gd name="connsiteX2317" fmla="*/ 3555757 w 4772243"/>
              <a:gd name="connsiteY2317" fmla="*/ 8541077 h 8861755"/>
              <a:gd name="connsiteX2318" fmla="*/ 3552736 w 4772243"/>
              <a:gd name="connsiteY2318" fmla="*/ 8527894 h 8861755"/>
              <a:gd name="connsiteX2319" fmla="*/ 3531895 w 4772243"/>
              <a:gd name="connsiteY2319" fmla="*/ 8442075 h 8861755"/>
              <a:gd name="connsiteX2320" fmla="*/ 3513470 w 4772243"/>
              <a:gd name="connsiteY2320" fmla="*/ 8360291 h 8861755"/>
              <a:gd name="connsiteX2321" fmla="*/ 3479641 w 4772243"/>
              <a:gd name="connsiteY2321" fmla="*/ 8413289 h 8861755"/>
              <a:gd name="connsiteX2322" fmla="*/ 3441885 w 4772243"/>
              <a:gd name="connsiteY2322" fmla="*/ 8471130 h 8861755"/>
              <a:gd name="connsiteX2323" fmla="*/ 3435542 w 4772243"/>
              <a:gd name="connsiteY2323" fmla="*/ 8468708 h 8861755"/>
              <a:gd name="connsiteX2324" fmla="*/ 3428898 w 4772243"/>
              <a:gd name="connsiteY2324" fmla="*/ 8466287 h 8861755"/>
              <a:gd name="connsiteX2325" fmla="*/ 3431917 w 4772243"/>
              <a:gd name="connsiteY2325" fmla="*/ 8457948 h 8861755"/>
              <a:gd name="connsiteX2326" fmla="*/ 3435240 w 4772243"/>
              <a:gd name="connsiteY2326" fmla="*/ 8449339 h 8861755"/>
              <a:gd name="connsiteX2327" fmla="*/ 3458498 w 4772243"/>
              <a:gd name="connsiteY2327" fmla="*/ 8406294 h 8861755"/>
              <a:gd name="connsiteX2328" fmla="*/ 3493233 w 4772243"/>
              <a:gd name="connsiteY2328" fmla="*/ 8340921 h 8861755"/>
              <a:gd name="connsiteX2329" fmla="*/ 3513470 w 4772243"/>
              <a:gd name="connsiteY2329" fmla="*/ 8297070 h 8861755"/>
              <a:gd name="connsiteX2330" fmla="*/ 3521323 w 4772243"/>
              <a:gd name="connsiteY2330" fmla="*/ 8274741 h 8861755"/>
              <a:gd name="connsiteX2331" fmla="*/ 3525250 w 4772243"/>
              <a:gd name="connsiteY2331" fmla="*/ 8260751 h 8861755"/>
              <a:gd name="connsiteX2332" fmla="*/ 3528874 w 4772243"/>
              <a:gd name="connsiteY2332" fmla="*/ 8231158 h 8861755"/>
              <a:gd name="connsiteX2333" fmla="*/ 3526458 w 4772243"/>
              <a:gd name="connsiteY2333" fmla="*/ 8200758 h 8861755"/>
              <a:gd name="connsiteX2334" fmla="*/ 3518605 w 4772243"/>
              <a:gd name="connsiteY2334" fmla="*/ 8171973 h 8861755"/>
              <a:gd name="connsiteX2335" fmla="*/ 3512564 w 4772243"/>
              <a:gd name="connsiteY2335" fmla="*/ 8158791 h 8861755"/>
              <a:gd name="connsiteX2336" fmla="*/ 3492025 w 4772243"/>
              <a:gd name="connsiteY2336" fmla="*/ 8120589 h 8861755"/>
              <a:gd name="connsiteX2337" fmla="*/ 3448530 w 4772243"/>
              <a:gd name="connsiteY2337" fmla="*/ 8046069 h 8861755"/>
              <a:gd name="connsiteX2338" fmla="*/ 3380570 w 4772243"/>
              <a:gd name="connsiteY2338" fmla="*/ 7935230 h 8861755"/>
              <a:gd name="connsiteX2339" fmla="*/ 3335867 w 4772243"/>
              <a:gd name="connsiteY2339" fmla="*/ 7862055 h 8861755"/>
              <a:gd name="connsiteX2340" fmla="*/ 3319557 w 4772243"/>
              <a:gd name="connsiteY2340" fmla="*/ 7884115 h 8861755"/>
              <a:gd name="connsiteX2341" fmla="*/ 3288446 w 4772243"/>
              <a:gd name="connsiteY2341" fmla="*/ 7930387 h 8861755"/>
              <a:gd name="connsiteX2342" fmla="*/ 3257940 w 4772243"/>
              <a:gd name="connsiteY2342" fmla="*/ 7977736 h 8861755"/>
              <a:gd name="connsiteX2343" fmla="*/ 3226225 w 4772243"/>
              <a:gd name="connsiteY2343" fmla="*/ 8024815 h 8861755"/>
              <a:gd name="connsiteX2344" fmla="*/ 3191490 w 4772243"/>
              <a:gd name="connsiteY2344" fmla="*/ 8070551 h 8861755"/>
              <a:gd name="connsiteX2345" fmla="*/ 3151922 w 4772243"/>
              <a:gd name="connsiteY2345" fmla="*/ 8113594 h 8861755"/>
              <a:gd name="connsiteX2346" fmla="*/ 3117790 w 4772243"/>
              <a:gd name="connsiteY2346" fmla="*/ 8143725 h 8861755"/>
              <a:gd name="connsiteX2347" fmla="*/ 3092720 w 4772243"/>
              <a:gd name="connsiteY2347" fmla="*/ 8162557 h 8861755"/>
              <a:gd name="connsiteX2348" fmla="*/ 3065839 w 4772243"/>
              <a:gd name="connsiteY2348" fmla="*/ 8180043 h 8861755"/>
              <a:gd name="connsiteX2349" fmla="*/ 3035936 w 4772243"/>
              <a:gd name="connsiteY2349" fmla="*/ 8195647 h 8861755"/>
              <a:gd name="connsiteX2350" fmla="*/ 3020230 w 4772243"/>
              <a:gd name="connsiteY2350" fmla="*/ 8202911 h 8861755"/>
              <a:gd name="connsiteX2351" fmla="*/ 3032916 w 4772243"/>
              <a:gd name="connsiteY2351" fmla="*/ 8194571 h 8861755"/>
              <a:gd name="connsiteX2352" fmla="*/ 3056475 w 4772243"/>
              <a:gd name="connsiteY2352" fmla="*/ 8177084 h 8861755"/>
              <a:gd name="connsiteX2353" fmla="*/ 3077920 w 4772243"/>
              <a:gd name="connsiteY2353" fmla="*/ 8158253 h 8861755"/>
              <a:gd name="connsiteX2354" fmla="*/ 3098157 w 4772243"/>
              <a:gd name="connsiteY2354" fmla="*/ 8138344 h 8861755"/>
              <a:gd name="connsiteX2355" fmla="*/ 3116582 w 4772243"/>
              <a:gd name="connsiteY2355" fmla="*/ 8117091 h 8861755"/>
              <a:gd name="connsiteX2356" fmla="*/ 3133496 w 4772243"/>
              <a:gd name="connsiteY2356" fmla="*/ 8094762 h 8861755"/>
              <a:gd name="connsiteX2357" fmla="*/ 3156150 w 4772243"/>
              <a:gd name="connsiteY2357" fmla="*/ 8058981 h 8861755"/>
              <a:gd name="connsiteX2358" fmla="*/ 3169440 w 4772243"/>
              <a:gd name="connsiteY2358" fmla="*/ 8033155 h 8861755"/>
              <a:gd name="connsiteX2359" fmla="*/ 3107219 w 4772243"/>
              <a:gd name="connsiteY2359" fmla="*/ 8054677 h 8861755"/>
              <a:gd name="connsiteX2360" fmla="*/ 3067953 w 4772243"/>
              <a:gd name="connsiteY2360" fmla="*/ 8069473 h 8861755"/>
              <a:gd name="connsiteX2361" fmla="*/ 3060100 w 4772243"/>
              <a:gd name="connsiteY2361" fmla="*/ 8065977 h 8861755"/>
              <a:gd name="connsiteX2362" fmla="*/ 3051642 w 4772243"/>
              <a:gd name="connsiteY2362" fmla="*/ 8058981 h 8861755"/>
              <a:gd name="connsiteX2363" fmla="*/ 3051642 w 4772243"/>
              <a:gd name="connsiteY2363" fmla="*/ 8052256 h 8861755"/>
              <a:gd name="connsiteX2364" fmla="*/ 3059194 w 4772243"/>
              <a:gd name="connsiteY2364" fmla="*/ 8047145 h 8861755"/>
              <a:gd name="connsiteX2365" fmla="*/ 3065235 w 4772243"/>
              <a:gd name="connsiteY2365" fmla="*/ 8044992 h 8861755"/>
              <a:gd name="connsiteX2366" fmla="*/ 3084264 w 4772243"/>
              <a:gd name="connsiteY2366" fmla="*/ 8039881 h 8861755"/>
              <a:gd name="connsiteX2367" fmla="*/ 3117790 w 4772243"/>
              <a:gd name="connsiteY2367" fmla="*/ 8026968 h 8861755"/>
              <a:gd name="connsiteX2368" fmla="*/ 3147693 w 4772243"/>
              <a:gd name="connsiteY2368" fmla="*/ 8012171 h 8861755"/>
              <a:gd name="connsiteX2369" fmla="*/ 3173367 w 4772243"/>
              <a:gd name="connsiteY2369" fmla="*/ 7995761 h 8861755"/>
              <a:gd name="connsiteX2370" fmla="*/ 3205384 w 4772243"/>
              <a:gd name="connsiteY2370" fmla="*/ 7970472 h 8861755"/>
              <a:gd name="connsiteX2371" fmla="*/ 3237703 w 4772243"/>
              <a:gd name="connsiteY2371" fmla="*/ 7938189 h 8861755"/>
              <a:gd name="connsiteX2372" fmla="*/ 3249784 w 4772243"/>
              <a:gd name="connsiteY2372" fmla="*/ 7925813 h 8861755"/>
              <a:gd name="connsiteX2373" fmla="*/ 3268511 w 4772243"/>
              <a:gd name="connsiteY2373" fmla="*/ 7906175 h 8861755"/>
              <a:gd name="connsiteX2374" fmla="*/ 3290862 w 4772243"/>
              <a:gd name="connsiteY2374" fmla="*/ 7877390 h 8861755"/>
              <a:gd name="connsiteX2375" fmla="*/ 3301736 w 4772243"/>
              <a:gd name="connsiteY2375" fmla="*/ 7858019 h 8861755"/>
              <a:gd name="connsiteX2376" fmla="*/ 3309589 w 4772243"/>
              <a:gd name="connsiteY2376" fmla="*/ 7838111 h 8861755"/>
              <a:gd name="connsiteX2377" fmla="*/ 3313818 w 4772243"/>
              <a:gd name="connsiteY2377" fmla="*/ 7817935 h 8861755"/>
              <a:gd name="connsiteX2378" fmla="*/ 3314724 w 4772243"/>
              <a:gd name="connsiteY2378" fmla="*/ 7796413 h 8861755"/>
              <a:gd name="connsiteX2379" fmla="*/ 3310797 w 4772243"/>
              <a:gd name="connsiteY2379" fmla="*/ 7773276 h 8861755"/>
              <a:gd name="connsiteX2380" fmla="*/ 3307173 w 4772243"/>
              <a:gd name="connsiteY2380" fmla="*/ 7761170 h 8861755"/>
              <a:gd name="connsiteX2381" fmla="*/ 3304152 w 4772243"/>
              <a:gd name="connsiteY2381" fmla="*/ 7750409 h 8861755"/>
              <a:gd name="connsiteX2382" fmla="*/ 3301434 w 4772243"/>
              <a:gd name="connsiteY2382" fmla="*/ 7727273 h 8861755"/>
              <a:gd name="connsiteX2383" fmla="*/ 3302039 w 4772243"/>
              <a:gd name="connsiteY2383" fmla="*/ 7703867 h 8861755"/>
              <a:gd name="connsiteX2384" fmla="*/ 3305662 w 4772243"/>
              <a:gd name="connsiteY2384" fmla="*/ 7680731 h 8861755"/>
              <a:gd name="connsiteX2385" fmla="*/ 3314422 w 4772243"/>
              <a:gd name="connsiteY2385" fmla="*/ 7646027 h 8861755"/>
              <a:gd name="connsiteX2386" fmla="*/ 3328920 w 4772243"/>
              <a:gd name="connsiteY2386" fmla="*/ 7604596 h 8861755"/>
              <a:gd name="connsiteX2387" fmla="*/ 3334961 w 4772243"/>
              <a:gd name="connsiteY2387" fmla="*/ 7587110 h 8861755"/>
              <a:gd name="connsiteX2388" fmla="*/ 3341002 w 4772243"/>
              <a:gd name="connsiteY2388" fmla="*/ 7572045 h 8861755"/>
              <a:gd name="connsiteX2389" fmla="*/ 3344325 w 4772243"/>
              <a:gd name="connsiteY2389" fmla="*/ 7555096 h 8861755"/>
              <a:gd name="connsiteX2390" fmla="*/ 3339794 w 4772243"/>
              <a:gd name="connsiteY2390" fmla="*/ 7542990 h 8861755"/>
              <a:gd name="connsiteX2391" fmla="*/ 3334357 w 4772243"/>
              <a:gd name="connsiteY2391" fmla="*/ 7535995 h 8861755"/>
              <a:gd name="connsiteX2392" fmla="*/ 3321369 w 4772243"/>
              <a:gd name="connsiteY2392" fmla="*/ 7520660 h 8861755"/>
              <a:gd name="connsiteX2393" fmla="*/ 3298414 w 4772243"/>
              <a:gd name="connsiteY2393" fmla="*/ 7489185 h 8861755"/>
              <a:gd name="connsiteX2394" fmla="*/ 3279385 w 4772243"/>
              <a:gd name="connsiteY2394" fmla="*/ 7456633 h 8861755"/>
              <a:gd name="connsiteX2395" fmla="*/ 3263678 w 4772243"/>
              <a:gd name="connsiteY2395" fmla="*/ 7423541 h 8861755"/>
              <a:gd name="connsiteX2396" fmla="*/ 3252201 w 4772243"/>
              <a:gd name="connsiteY2396" fmla="*/ 7389376 h 8861755"/>
              <a:gd name="connsiteX2397" fmla="*/ 3243139 w 4772243"/>
              <a:gd name="connsiteY2397" fmla="*/ 7354671 h 8861755"/>
              <a:gd name="connsiteX2398" fmla="*/ 3237099 w 4772243"/>
              <a:gd name="connsiteY2398" fmla="*/ 7318891 h 8861755"/>
              <a:gd name="connsiteX2399" fmla="*/ 3234078 w 4772243"/>
              <a:gd name="connsiteY2399" fmla="*/ 7282841 h 8861755"/>
              <a:gd name="connsiteX2400" fmla="*/ 3233776 w 4772243"/>
              <a:gd name="connsiteY2400" fmla="*/ 7264010 h 8861755"/>
              <a:gd name="connsiteX2401" fmla="*/ 3232870 w 4772243"/>
              <a:gd name="connsiteY2401" fmla="*/ 7193794 h 8861755"/>
              <a:gd name="connsiteX2402" fmla="*/ 3228339 w 4772243"/>
              <a:gd name="connsiteY2402" fmla="*/ 7088874 h 8861755"/>
              <a:gd name="connsiteX2403" fmla="*/ 3219882 w 4772243"/>
              <a:gd name="connsiteY2403" fmla="*/ 7019196 h 8861755"/>
              <a:gd name="connsiteX2404" fmla="*/ 3213841 w 4772243"/>
              <a:gd name="connsiteY2404" fmla="*/ 6984492 h 8861755"/>
              <a:gd name="connsiteX2405" fmla="*/ 3205384 w 4772243"/>
              <a:gd name="connsiteY2405" fmla="*/ 6944945 h 8861755"/>
              <a:gd name="connsiteX2406" fmla="*/ 3185449 w 4772243"/>
              <a:gd name="connsiteY2406" fmla="*/ 6865582 h 8861755"/>
              <a:gd name="connsiteX2407" fmla="*/ 3162493 w 4772243"/>
              <a:gd name="connsiteY2407" fmla="*/ 6787296 h 8861755"/>
              <a:gd name="connsiteX2408" fmla="*/ 3136517 w 4772243"/>
              <a:gd name="connsiteY2408" fmla="*/ 6709548 h 8861755"/>
              <a:gd name="connsiteX2409" fmla="*/ 3108125 w 4772243"/>
              <a:gd name="connsiteY2409" fmla="*/ 6632068 h 8861755"/>
              <a:gd name="connsiteX2410" fmla="*/ 3077014 w 4772243"/>
              <a:gd name="connsiteY2410" fmla="*/ 6555127 h 8861755"/>
              <a:gd name="connsiteX2411" fmla="*/ 3027781 w 4772243"/>
              <a:gd name="connsiteY2411" fmla="*/ 6440522 h 8861755"/>
              <a:gd name="connsiteX2412" fmla="*/ 2992139 w 4772243"/>
              <a:gd name="connsiteY2412" fmla="*/ 6364657 h 8861755"/>
              <a:gd name="connsiteX2413" fmla="*/ 2984286 w 4772243"/>
              <a:gd name="connsiteY2413" fmla="*/ 6347977 h 8861755"/>
              <a:gd name="connsiteX2414" fmla="*/ 2966163 w 4772243"/>
              <a:gd name="connsiteY2414" fmla="*/ 6316769 h 8861755"/>
              <a:gd name="connsiteX2415" fmla="*/ 2945926 w 4772243"/>
              <a:gd name="connsiteY2415" fmla="*/ 6287984 h 8861755"/>
              <a:gd name="connsiteX2416" fmla="*/ 2923575 w 4772243"/>
              <a:gd name="connsiteY2416" fmla="*/ 6260274 h 8861755"/>
              <a:gd name="connsiteX2417" fmla="*/ 2899411 w 4772243"/>
              <a:gd name="connsiteY2417" fmla="*/ 6234985 h 8861755"/>
              <a:gd name="connsiteX2418" fmla="*/ 2873435 w 4772243"/>
              <a:gd name="connsiteY2418" fmla="*/ 6210774 h 8861755"/>
              <a:gd name="connsiteX2419" fmla="*/ 2832055 w 4772243"/>
              <a:gd name="connsiteY2419" fmla="*/ 6176606 h 8861755"/>
              <a:gd name="connsiteX2420" fmla="*/ 2771646 w 4772243"/>
              <a:gd name="connsiteY2420" fmla="*/ 6135446 h 8861755"/>
              <a:gd name="connsiteX2421" fmla="*/ 2707612 w 4772243"/>
              <a:gd name="connsiteY2421" fmla="*/ 6097244 h 8861755"/>
              <a:gd name="connsiteX2422" fmla="*/ 2607333 w 4772243"/>
              <a:gd name="connsiteY2422" fmla="*/ 6042363 h 8861755"/>
              <a:gd name="connsiteX2423" fmla="*/ 2539675 w 4772243"/>
              <a:gd name="connsiteY2423" fmla="*/ 6006314 h 8861755"/>
              <a:gd name="connsiteX2424" fmla="*/ 2529104 w 4772243"/>
              <a:gd name="connsiteY2424" fmla="*/ 6052856 h 8861755"/>
              <a:gd name="connsiteX2425" fmla="*/ 2514001 w 4772243"/>
              <a:gd name="connsiteY2425" fmla="*/ 6121995 h 8861755"/>
              <a:gd name="connsiteX2426" fmla="*/ 2502826 w 4772243"/>
              <a:gd name="connsiteY2426" fmla="*/ 6167191 h 8861755"/>
              <a:gd name="connsiteX2427" fmla="*/ 2496181 w 4772243"/>
              <a:gd name="connsiteY2427" fmla="*/ 6189520 h 8861755"/>
              <a:gd name="connsiteX2428" fmla="*/ 2473527 w 4772243"/>
              <a:gd name="connsiteY2428" fmla="*/ 6261889 h 8861755"/>
              <a:gd name="connsiteX2429" fmla="*/ 2449669 w 4772243"/>
              <a:gd name="connsiteY2429" fmla="*/ 6345429 h 8861755"/>
              <a:gd name="connsiteX2430" fmla="*/ 2487821 w 4772243"/>
              <a:gd name="connsiteY2430" fmla="*/ 6361133 h 8861755"/>
              <a:gd name="connsiteX2431" fmla="*/ 2515630 w 4772243"/>
              <a:gd name="connsiteY2431" fmla="*/ 6370542 h 8861755"/>
              <a:gd name="connsiteX2432" fmla="*/ 2529233 w 4772243"/>
              <a:gd name="connsiteY2432" fmla="*/ 6375113 h 8861755"/>
              <a:gd name="connsiteX2433" fmla="*/ 2554321 w 4772243"/>
              <a:gd name="connsiteY2433" fmla="*/ 6386134 h 8861755"/>
              <a:gd name="connsiteX2434" fmla="*/ 2576992 w 4772243"/>
              <a:gd name="connsiteY2434" fmla="*/ 6399307 h 8861755"/>
              <a:gd name="connsiteX2435" fmla="*/ 2597245 w 4772243"/>
              <a:gd name="connsiteY2435" fmla="*/ 6414092 h 8861755"/>
              <a:gd name="connsiteX2436" fmla="*/ 2625054 w 4772243"/>
              <a:gd name="connsiteY2436" fmla="*/ 6438824 h 8861755"/>
              <a:gd name="connsiteX2437" fmla="*/ 2658001 w 4772243"/>
              <a:gd name="connsiteY2437" fmla="*/ 6476458 h 8861755"/>
              <a:gd name="connsiteX2438" fmla="*/ 2673720 w 4772243"/>
              <a:gd name="connsiteY2438" fmla="*/ 6496620 h 8861755"/>
              <a:gd name="connsiteX2439" fmla="*/ 2690950 w 4772243"/>
              <a:gd name="connsiteY2439" fmla="*/ 6518933 h 8861755"/>
              <a:gd name="connsiteX2440" fmla="*/ 2728129 w 4772243"/>
              <a:gd name="connsiteY2440" fmla="*/ 6562482 h 8861755"/>
              <a:gd name="connsiteX2441" fmla="*/ 2768634 w 4772243"/>
              <a:gd name="connsiteY2441" fmla="*/ 6604149 h 8861755"/>
              <a:gd name="connsiteX2442" fmla="*/ 2810952 w 4772243"/>
              <a:gd name="connsiteY2442" fmla="*/ 6645011 h 8861755"/>
              <a:gd name="connsiteX2443" fmla="*/ 2832414 w 4772243"/>
              <a:gd name="connsiteY2443" fmla="*/ 6664634 h 8861755"/>
              <a:gd name="connsiteX2444" fmla="*/ 2849341 w 4772243"/>
              <a:gd name="connsiteY2444" fmla="*/ 6679419 h 8861755"/>
              <a:gd name="connsiteX2445" fmla="*/ 2881685 w 4772243"/>
              <a:gd name="connsiteY2445" fmla="*/ 6709259 h 8861755"/>
              <a:gd name="connsiteX2446" fmla="*/ 2910401 w 4772243"/>
              <a:gd name="connsiteY2446" fmla="*/ 6740711 h 8861755"/>
              <a:gd name="connsiteX2447" fmla="*/ 2927933 w 4772243"/>
              <a:gd name="connsiteY2447" fmla="*/ 6767055 h 8861755"/>
              <a:gd name="connsiteX2448" fmla="*/ 2937606 w 4772243"/>
              <a:gd name="connsiteY2448" fmla="*/ 6785335 h 8861755"/>
              <a:gd name="connsiteX2449" fmla="*/ 2941233 w 4772243"/>
              <a:gd name="connsiteY2449" fmla="*/ 6795551 h 8861755"/>
              <a:gd name="connsiteX2450" fmla="*/ 2944860 w 4772243"/>
              <a:gd name="connsiteY2450" fmla="*/ 6804153 h 8861755"/>
              <a:gd name="connsiteX2451" fmla="*/ 2955742 w 4772243"/>
              <a:gd name="connsiteY2451" fmla="*/ 6815981 h 8861755"/>
              <a:gd name="connsiteX2452" fmla="*/ 2968136 w 4772243"/>
              <a:gd name="connsiteY2452" fmla="*/ 6824046 h 8861755"/>
              <a:gd name="connsiteX2453" fmla="*/ 2978715 w 4772243"/>
              <a:gd name="connsiteY2453" fmla="*/ 6831303 h 8861755"/>
              <a:gd name="connsiteX2454" fmla="*/ 2982645 w 4772243"/>
              <a:gd name="connsiteY2454" fmla="*/ 6835874 h 8861755"/>
              <a:gd name="connsiteX2455" fmla="*/ 2983249 w 4772243"/>
              <a:gd name="connsiteY2455" fmla="*/ 6837755 h 8861755"/>
              <a:gd name="connsiteX2456" fmla="*/ 2982645 w 4772243"/>
              <a:gd name="connsiteY2456" fmla="*/ 6840713 h 8861755"/>
              <a:gd name="connsiteX2457" fmla="*/ 2977808 w 4772243"/>
              <a:gd name="connsiteY2457" fmla="*/ 6845013 h 8861755"/>
              <a:gd name="connsiteX2458" fmla="*/ 2973576 w 4772243"/>
              <a:gd name="connsiteY2458" fmla="*/ 6846627 h 8861755"/>
              <a:gd name="connsiteX2459" fmla="*/ 2961486 w 4772243"/>
              <a:gd name="connsiteY2459" fmla="*/ 6839369 h 8861755"/>
              <a:gd name="connsiteX2460" fmla="*/ 2944860 w 4772243"/>
              <a:gd name="connsiteY2460" fmla="*/ 6829960 h 8861755"/>
              <a:gd name="connsiteX2461" fmla="*/ 2941233 w 4772243"/>
              <a:gd name="connsiteY2461" fmla="*/ 6843939 h 8861755"/>
              <a:gd name="connsiteX2462" fmla="*/ 2937001 w 4772243"/>
              <a:gd name="connsiteY2462" fmla="*/ 6871090 h 8861755"/>
              <a:gd name="connsiteX2463" fmla="*/ 2934583 w 4772243"/>
              <a:gd name="connsiteY2463" fmla="*/ 6897972 h 8861755"/>
              <a:gd name="connsiteX2464" fmla="*/ 2934583 w 4772243"/>
              <a:gd name="connsiteY2464" fmla="*/ 6924049 h 8861755"/>
              <a:gd name="connsiteX2465" fmla="*/ 2937606 w 4772243"/>
              <a:gd name="connsiteY2465" fmla="*/ 6949855 h 8861755"/>
              <a:gd name="connsiteX2466" fmla="*/ 2942140 w 4772243"/>
              <a:gd name="connsiteY2466" fmla="*/ 6975662 h 8861755"/>
              <a:gd name="connsiteX2467" fmla="*/ 2948790 w 4772243"/>
              <a:gd name="connsiteY2467" fmla="*/ 7001200 h 8861755"/>
              <a:gd name="connsiteX2468" fmla="*/ 2957858 w 4772243"/>
              <a:gd name="connsiteY2468" fmla="*/ 7026201 h 8861755"/>
              <a:gd name="connsiteX2469" fmla="*/ 2962997 w 4772243"/>
              <a:gd name="connsiteY2469" fmla="*/ 7038835 h 8861755"/>
              <a:gd name="connsiteX2470" fmla="*/ 2955742 w 4772243"/>
              <a:gd name="connsiteY2470" fmla="*/ 7029964 h 8861755"/>
              <a:gd name="connsiteX2471" fmla="*/ 2943349 w 4772243"/>
              <a:gd name="connsiteY2471" fmla="*/ 7012221 h 8861755"/>
              <a:gd name="connsiteX2472" fmla="*/ 2933979 w 4772243"/>
              <a:gd name="connsiteY2472" fmla="*/ 6993673 h 8861755"/>
              <a:gd name="connsiteX2473" fmla="*/ 2927026 w 4772243"/>
              <a:gd name="connsiteY2473" fmla="*/ 6974587 h 8861755"/>
              <a:gd name="connsiteX2474" fmla="*/ 2920678 w 4772243"/>
              <a:gd name="connsiteY2474" fmla="*/ 6945822 h 8861755"/>
              <a:gd name="connsiteX2475" fmla="*/ 2918563 w 4772243"/>
              <a:gd name="connsiteY2475" fmla="*/ 6906037 h 8861755"/>
              <a:gd name="connsiteX2476" fmla="*/ 2919772 w 4772243"/>
              <a:gd name="connsiteY2476" fmla="*/ 6885875 h 8861755"/>
              <a:gd name="connsiteX2477" fmla="*/ 2920980 w 4772243"/>
              <a:gd name="connsiteY2477" fmla="*/ 6872435 h 8861755"/>
              <a:gd name="connsiteX2478" fmla="*/ 2920074 w 4772243"/>
              <a:gd name="connsiteY2478" fmla="*/ 6846627 h 8861755"/>
              <a:gd name="connsiteX2479" fmla="*/ 2916446 w 4772243"/>
              <a:gd name="connsiteY2479" fmla="*/ 6821895 h 8861755"/>
              <a:gd name="connsiteX2480" fmla="*/ 2909192 w 4772243"/>
              <a:gd name="connsiteY2480" fmla="*/ 6798239 h 8861755"/>
              <a:gd name="connsiteX2481" fmla="*/ 2898612 w 4772243"/>
              <a:gd name="connsiteY2481" fmla="*/ 6775389 h 8861755"/>
              <a:gd name="connsiteX2482" fmla="*/ 2885010 w 4772243"/>
              <a:gd name="connsiteY2482" fmla="*/ 6753615 h 8861755"/>
              <a:gd name="connsiteX2483" fmla="*/ 2867780 w 4772243"/>
              <a:gd name="connsiteY2483" fmla="*/ 6733184 h 8861755"/>
              <a:gd name="connsiteX2484" fmla="*/ 2847226 w 4772243"/>
              <a:gd name="connsiteY2484" fmla="*/ 6713560 h 8861755"/>
              <a:gd name="connsiteX2485" fmla="*/ 2835134 w 4772243"/>
              <a:gd name="connsiteY2485" fmla="*/ 6704151 h 8861755"/>
              <a:gd name="connsiteX2486" fmla="*/ 2758659 w 4772243"/>
              <a:gd name="connsiteY2486" fmla="*/ 6643397 h 8861755"/>
              <a:gd name="connsiteX2487" fmla="*/ 2687020 w 4772243"/>
              <a:gd name="connsiteY2487" fmla="*/ 6584795 h 8861755"/>
              <a:gd name="connsiteX2488" fmla="*/ 2696995 w 4772243"/>
              <a:gd name="connsiteY2488" fmla="*/ 6643666 h 8861755"/>
              <a:gd name="connsiteX2489" fmla="*/ 2708179 w 4772243"/>
              <a:gd name="connsiteY2489" fmla="*/ 6708184 h 8861755"/>
              <a:gd name="connsiteX2490" fmla="*/ 2701227 w 4772243"/>
              <a:gd name="connsiteY2490" fmla="*/ 6709259 h 8861755"/>
              <a:gd name="connsiteX2491" fmla="*/ 2694275 w 4772243"/>
              <a:gd name="connsiteY2491" fmla="*/ 6710065 h 8861755"/>
              <a:gd name="connsiteX2492" fmla="*/ 2690647 w 4772243"/>
              <a:gd name="connsiteY2492" fmla="*/ 6701732 h 8861755"/>
              <a:gd name="connsiteX2493" fmla="*/ 2687625 w 4772243"/>
              <a:gd name="connsiteY2493" fmla="*/ 6693398 h 8861755"/>
              <a:gd name="connsiteX2494" fmla="*/ 2675231 w 4772243"/>
              <a:gd name="connsiteY2494" fmla="*/ 6647429 h 8861755"/>
              <a:gd name="connsiteX2495" fmla="*/ 2657397 w 4772243"/>
              <a:gd name="connsiteY2495" fmla="*/ 6578073 h 8861755"/>
              <a:gd name="connsiteX2496" fmla="*/ 2642586 w 4772243"/>
              <a:gd name="connsiteY2496" fmla="*/ 6532911 h 8861755"/>
              <a:gd name="connsiteX2497" fmla="*/ 2632913 w 4772243"/>
              <a:gd name="connsiteY2497" fmla="*/ 6510867 h 8861755"/>
              <a:gd name="connsiteX2498" fmla="*/ 2626263 w 4772243"/>
              <a:gd name="connsiteY2498" fmla="*/ 6497965 h 8861755"/>
              <a:gd name="connsiteX2499" fmla="*/ 2608428 w 4772243"/>
              <a:gd name="connsiteY2499" fmla="*/ 6471888 h 8861755"/>
              <a:gd name="connsiteX2500" fmla="*/ 2585153 w 4772243"/>
              <a:gd name="connsiteY2500" fmla="*/ 6448232 h 8861755"/>
              <a:gd name="connsiteX2501" fmla="*/ 2558553 w 4772243"/>
              <a:gd name="connsiteY2501" fmla="*/ 6428070 h 8861755"/>
              <a:gd name="connsiteX2502" fmla="*/ 2544347 w 4772243"/>
              <a:gd name="connsiteY2502" fmla="*/ 6420006 h 8861755"/>
              <a:gd name="connsiteX2503" fmla="*/ 2460919 w 4772243"/>
              <a:gd name="connsiteY2503" fmla="*/ 6376994 h 8861755"/>
              <a:gd name="connsiteX2504" fmla="*/ 2443058 w 4772243"/>
              <a:gd name="connsiteY2504" fmla="*/ 6368579 h 8861755"/>
              <a:gd name="connsiteX2505" fmla="*/ 2442719 w 4772243"/>
              <a:gd name="connsiteY2505" fmla="*/ 6369768 h 8861755"/>
              <a:gd name="connsiteX2506" fmla="*/ 2425200 w 4772243"/>
              <a:gd name="connsiteY2506" fmla="*/ 6442404 h 8861755"/>
              <a:gd name="connsiteX2507" fmla="*/ 2411306 w 4772243"/>
              <a:gd name="connsiteY2507" fmla="*/ 6515311 h 8861755"/>
              <a:gd name="connsiteX2508" fmla="*/ 2400735 w 4772243"/>
              <a:gd name="connsiteY2508" fmla="*/ 6588755 h 8861755"/>
              <a:gd name="connsiteX2509" fmla="*/ 2395600 w 4772243"/>
              <a:gd name="connsiteY2509" fmla="*/ 6662737 h 8861755"/>
              <a:gd name="connsiteX2510" fmla="*/ 2395600 w 4772243"/>
              <a:gd name="connsiteY2510" fmla="*/ 6736988 h 8861755"/>
              <a:gd name="connsiteX2511" fmla="*/ 2398318 w 4772243"/>
              <a:gd name="connsiteY2511" fmla="*/ 6774651 h 8861755"/>
              <a:gd name="connsiteX2512" fmla="*/ 2401037 w 4772243"/>
              <a:gd name="connsiteY2512" fmla="*/ 6801285 h 8861755"/>
              <a:gd name="connsiteX2513" fmla="*/ 2409493 w 4772243"/>
              <a:gd name="connsiteY2513" fmla="*/ 6839487 h 8861755"/>
              <a:gd name="connsiteX2514" fmla="*/ 2417347 w 4772243"/>
              <a:gd name="connsiteY2514" fmla="*/ 6863968 h 8861755"/>
              <a:gd name="connsiteX2515" fmla="*/ 2427616 w 4772243"/>
              <a:gd name="connsiteY2515" fmla="*/ 6887911 h 8861755"/>
              <a:gd name="connsiteX2516" fmla="*/ 2440000 w 4772243"/>
              <a:gd name="connsiteY2516" fmla="*/ 6911047 h 8861755"/>
              <a:gd name="connsiteX2517" fmla="*/ 2455707 w 4772243"/>
              <a:gd name="connsiteY2517" fmla="*/ 6933109 h 8861755"/>
              <a:gd name="connsiteX2518" fmla="*/ 2474131 w 4772243"/>
              <a:gd name="connsiteY2518" fmla="*/ 6954361 h 8861755"/>
              <a:gd name="connsiteX2519" fmla="*/ 2484703 w 4772243"/>
              <a:gd name="connsiteY2519" fmla="*/ 6964315 h 8861755"/>
              <a:gd name="connsiteX2520" fmla="*/ 2520646 w 4772243"/>
              <a:gd name="connsiteY2520" fmla="*/ 6998212 h 8861755"/>
              <a:gd name="connsiteX2521" fmla="*/ 2596762 w 4772243"/>
              <a:gd name="connsiteY2521" fmla="*/ 7062779 h 8861755"/>
              <a:gd name="connsiteX2522" fmla="*/ 2635726 w 4772243"/>
              <a:gd name="connsiteY2522" fmla="*/ 7093985 h 8861755"/>
              <a:gd name="connsiteX2523" fmla="*/ 2653849 w 4772243"/>
              <a:gd name="connsiteY2523" fmla="*/ 7108781 h 8861755"/>
              <a:gd name="connsiteX2524" fmla="*/ 2687073 w 4772243"/>
              <a:gd name="connsiteY2524" fmla="*/ 7139720 h 8861755"/>
              <a:gd name="connsiteX2525" fmla="*/ 2716372 w 4772243"/>
              <a:gd name="connsiteY2525" fmla="*/ 7171734 h 8861755"/>
              <a:gd name="connsiteX2526" fmla="*/ 2742348 w 4772243"/>
              <a:gd name="connsiteY2526" fmla="*/ 7205900 h 8861755"/>
              <a:gd name="connsiteX2527" fmla="*/ 2754128 w 4772243"/>
              <a:gd name="connsiteY2527" fmla="*/ 7223925 h 8861755"/>
              <a:gd name="connsiteX2528" fmla="*/ 2812422 w 4772243"/>
              <a:gd name="connsiteY2528" fmla="*/ 7232533 h 8861755"/>
              <a:gd name="connsiteX2529" fmla="*/ 2907265 w 4772243"/>
              <a:gd name="connsiteY2529" fmla="*/ 7249213 h 8861755"/>
              <a:gd name="connsiteX2530" fmla="*/ 2977642 w 4772243"/>
              <a:gd name="connsiteY2530" fmla="*/ 7265087 h 8861755"/>
              <a:gd name="connsiteX2531" fmla="*/ 3028083 w 4772243"/>
              <a:gd name="connsiteY2531" fmla="*/ 7279344 h 8861755"/>
              <a:gd name="connsiteX2532" fmla="*/ 3061912 w 4772243"/>
              <a:gd name="connsiteY2532" fmla="*/ 7291719 h 8861755"/>
              <a:gd name="connsiteX2533" fmla="*/ 3082149 w 4772243"/>
              <a:gd name="connsiteY2533" fmla="*/ 7302749 h 8861755"/>
              <a:gd name="connsiteX2534" fmla="*/ 3093022 w 4772243"/>
              <a:gd name="connsiteY2534" fmla="*/ 7311357 h 8861755"/>
              <a:gd name="connsiteX2535" fmla="*/ 3097855 w 4772243"/>
              <a:gd name="connsiteY2535" fmla="*/ 7318084 h 8861755"/>
              <a:gd name="connsiteX2536" fmla="*/ 3099064 w 4772243"/>
              <a:gd name="connsiteY2536" fmla="*/ 7319967 h 8861755"/>
              <a:gd name="connsiteX2537" fmla="*/ 3096949 w 4772243"/>
              <a:gd name="connsiteY2537" fmla="*/ 7321044 h 8861755"/>
              <a:gd name="connsiteX2538" fmla="*/ 3071577 w 4772243"/>
              <a:gd name="connsiteY2538" fmla="*/ 7318622 h 8861755"/>
              <a:gd name="connsiteX2539" fmla="*/ 3001201 w 4772243"/>
              <a:gd name="connsiteY2539" fmla="*/ 7308669 h 8861755"/>
              <a:gd name="connsiteX2540" fmla="*/ 2881289 w 4772243"/>
              <a:gd name="connsiteY2540" fmla="*/ 7290105 h 8861755"/>
              <a:gd name="connsiteX2541" fmla="*/ 2810610 w 4772243"/>
              <a:gd name="connsiteY2541" fmla="*/ 7279883 h 8861755"/>
              <a:gd name="connsiteX2542" fmla="*/ 2784936 w 4772243"/>
              <a:gd name="connsiteY2542" fmla="*/ 7277461 h 8861755"/>
              <a:gd name="connsiteX2543" fmla="*/ 2783124 w 4772243"/>
              <a:gd name="connsiteY2543" fmla="*/ 7278269 h 8861755"/>
              <a:gd name="connsiteX2544" fmla="*/ 2789467 w 4772243"/>
              <a:gd name="connsiteY2544" fmla="*/ 7292796 h 8861755"/>
              <a:gd name="connsiteX2545" fmla="*/ 2795206 w 4772243"/>
              <a:gd name="connsiteY2545" fmla="*/ 7307591 h 8861755"/>
              <a:gd name="connsiteX2546" fmla="*/ 2807288 w 4772243"/>
              <a:gd name="connsiteY2546" fmla="*/ 7339605 h 8861755"/>
              <a:gd name="connsiteX2547" fmla="*/ 2833867 w 4772243"/>
              <a:gd name="connsiteY2547" fmla="*/ 7402827 h 8861755"/>
              <a:gd name="connsiteX2548" fmla="*/ 2876154 w 4772243"/>
              <a:gd name="connsiteY2548" fmla="*/ 7497255 h 8861755"/>
              <a:gd name="connsiteX2549" fmla="*/ 2903942 w 4772243"/>
              <a:gd name="connsiteY2549" fmla="*/ 7560207 h 8861755"/>
              <a:gd name="connsiteX2550" fmla="*/ 2905754 w 4772243"/>
              <a:gd name="connsiteY2550" fmla="*/ 7566933 h 8861755"/>
              <a:gd name="connsiteX2551" fmla="*/ 2905754 w 4772243"/>
              <a:gd name="connsiteY2551" fmla="*/ 7573927 h 8861755"/>
              <a:gd name="connsiteX2552" fmla="*/ 2902734 w 4772243"/>
              <a:gd name="connsiteY2552" fmla="*/ 7574735 h 8861755"/>
              <a:gd name="connsiteX2553" fmla="*/ 2900015 w 4772243"/>
              <a:gd name="connsiteY2553" fmla="*/ 7575273 h 8861755"/>
              <a:gd name="connsiteX2554" fmla="*/ 2861052 w 4772243"/>
              <a:gd name="connsiteY2554" fmla="*/ 7506939 h 8861755"/>
              <a:gd name="connsiteX2555" fmla="*/ 2821786 w 4772243"/>
              <a:gd name="connsiteY2555" fmla="*/ 7438877 h 8861755"/>
              <a:gd name="connsiteX2556" fmla="*/ 2815141 w 4772243"/>
              <a:gd name="connsiteY2556" fmla="*/ 7439683 h 8861755"/>
              <a:gd name="connsiteX2557" fmla="*/ 2808495 w 4772243"/>
              <a:gd name="connsiteY2557" fmla="*/ 7440759 h 8861755"/>
              <a:gd name="connsiteX2558" fmla="*/ 2810006 w 4772243"/>
              <a:gd name="connsiteY2558" fmla="*/ 7481113 h 8861755"/>
              <a:gd name="connsiteX2559" fmla="*/ 2808193 w 4772243"/>
              <a:gd name="connsiteY2559" fmla="*/ 7562091 h 8861755"/>
              <a:gd name="connsiteX2560" fmla="*/ 2798226 w 4772243"/>
              <a:gd name="connsiteY2560" fmla="*/ 7683153 h 8861755"/>
              <a:gd name="connsiteX2561" fmla="*/ 2791279 w 4772243"/>
              <a:gd name="connsiteY2561" fmla="*/ 7763591 h 8861755"/>
              <a:gd name="connsiteX2562" fmla="*/ 2789467 w 4772243"/>
              <a:gd name="connsiteY2562" fmla="*/ 7782154 h 8861755"/>
              <a:gd name="connsiteX2563" fmla="*/ 2784634 w 4772243"/>
              <a:gd name="connsiteY2563" fmla="*/ 7795605 h 8861755"/>
              <a:gd name="connsiteX2564" fmla="*/ 2781614 w 4772243"/>
              <a:gd name="connsiteY2564" fmla="*/ 7798564 h 8861755"/>
              <a:gd name="connsiteX2565" fmla="*/ 2777989 w 4772243"/>
              <a:gd name="connsiteY2565" fmla="*/ 7796143 h 8861755"/>
              <a:gd name="connsiteX2566" fmla="*/ 2774969 w 4772243"/>
              <a:gd name="connsiteY2566" fmla="*/ 7789417 h 8861755"/>
              <a:gd name="connsiteX2567" fmla="*/ 2771646 w 4772243"/>
              <a:gd name="connsiteY2567" fmla="*/ 7772737 h 8861755"/>
              <a:gd name="connsiteX2568" fmla="*/ 2771344 w 4772243"/>
              <a:gd name="connsiteY2568" fmla="*/ 7757403 h 8861755"/>
              <a:gd name="connsiteX2569" fmla="*/ 2773156 w 4772243"/>
              <a:gd name="connsiteY2569" fmla="*/ 7685573 h 8861755"/>
              <a:gd name="connsiteX2570" fmla="*/ 2777687 w 4772243"/>
              <a:gd name="connsiteY2570" fmla="*/ 7577695 h 8861755"/>
              <a:gd name="connsiteX2571" fmla="*/ 2777687 w 4772243"/>
              <a:gd name="connsiteY2571" fmla="*/ 7505865 h 8861755"/>
              <a:gd name="connsiteX2572" fmla="*/ 2775271 w 4772243"/>
              <a:gd name="connsiteY2572" fmla="*/ 7469545 h 8861755"/>
              <a:gd name="connsiteX2573" fmla="*/ 2772854 w 4772243"/>
              <a:gd name="connsiteY2573" fmla="*/ 7441298 h 8861755"/>
              <a:gd name="connsiteX2574" fmla="*/ 2763491 w 4772243"/>
              <a:gd name="connsiteY2574" fmla="*/ 7386685 h 8861755"/>
              <a:gd name="connsiteX2575" fmla="*/ 2748086 w 4772243"/>
              <a:gd name="connsiteY2575" fmla="*/ 7334226 h 8861755"/>
              <a:gd name="connsiteX2576" fmla="*/ 2727547 w 4772243"/>
              <a:gd name="connsiteY2576" fmla="*/ 7284456 h 8861755"/>
              <a:gd name="connsiteX2577" fmla="*/ 2700364 w 4772243"/>
              <a:gd name="connsiteY2577" fmla="*/ 7236839 h 8861755"/>
              <a:gd name="connsiteX2578" fmla="*/ 2667138 w 4772243"/>
              <a:gd name="connsiteY2578" fmla="*/ 7191373 h 8861755"/>
              <a:gd name="connsiteX2579" fmla="*/ 2627268 w 4772243"/>
              <a:gd name="connsiteY2579" fmla="*/ 7148597 h 8861755"/>
              <a:gd name="connsiteX2580" fmla="*/ 2580753 w 4772243"/>
              <a:gd name="connsiteY2580" fmla="*/ 7107705 h 8861755"/>
              <a:gd name="connsiteX2581" fmla="*/ 2554475 w 4772243"/>
              <a:gd name="connsiteY2581" fmla="*/ 7088605 h 8861755"/>
              <a:gd name="connsiteX2582" fmla="*/ 2525177 w 4772243"/>
              <a:gd name="connsiteY2582" fmla="*/ 7067351 h 8861755"/>
              <a:gd name="connsiteX2583" fmla="*/ 2468694 w 4772243"/>
              <a:gd name="connsiteY2583" fmla="*/ 7023231 h 8861755"/>
              <a:gd name="connsiteX2584" fmla="*/ 2429428 w 4772243"/>
              <a:gd name="connsiteY2584" fmla="*/ 6987989 h 8861755"/>
              <a:gd name="connsiteX2585" fmla="*/ 2405265 w 4772243"/>
              <a:gd name="connsiteY2585" fmla="*/ 6963777 h 8861755"/>
              <a:gd name="connsiteX2586" fmla="*/ 2382913 w 4772243"/>
              <a:gd name="connsiteY2586" fmla="*/ 6937413 h 8861755"/>
              <a:gd name="connsiteX2587" fmla="*/ 2362978 w 4772243"/>
              <a:gd name="connsiteY2587" fmla="*/ 6910241 h 8861755"/>
              <a:gd name="connsiteX2588" fmla="*/ 2353615 w 4772243"/>
              <a:gd name="connsiteY2588" fmla="*/ 6895981 h 8861755"/>
              <a:gd name="connsiteX2589" fmla="*/ 2348782 w 4772243"/>
              <a:gd name="connsiteY2589" fmla="*/ 6893023 h 8861755"/>
              <a:gd name="connsiteX2590" fmla="*/ 2327639 w 4772243"/>
              <a:gd name="connsiteY2590" fmla="*/ 6884145 h 8861755"/>
              <a:gd name="connsiteX2591" fmla="*/ 2376269 w 4772243"/>
              <a:gd name="connsiteY2591" fmla="*/ 7021617 h 8861755"/>
              <a:gd name="connsiteX2592" fmla="*/ 2421274 w 4772243"/>
              <a:gd name="connsiteY2592" fmla="*/ 7149943 h 8861755"/>
              <a:gd name="connsiteX2593" fmla="*/ 2432147 w 4772243"/>
              <a:gd name="connsiteY2593" fmla="*/ 7181957 h 8861755"/>
              <a:gd name="connsiteX2594" fmla="*/ 2451478 w 4772243"/>
              <a:gd name="connsiteY2594" fmla="*/ 7246792 h 8861755"/>
              <a:gd name="connsiteX2595" fmla="*/ 2461144 w 4772243"/>
              <a:gd name="connsiteY2595" fmla="*/ 7296024 h 8861755"/>
              <a:gd name="connsiteX2596" fmla="*/ 2465070 w 4772243"/>
              <a:gd name="connsiteY2596" fmla="*/ 7329114 h 8861755"/>
              <a:gd name="connsiteX2597" fmla="*/ 2466279 w 4772243"/>
              <a:gd name="connsiteY2597" fmla="*/ 7362474 h 8861755"/>
              <a:gd name="connsiteX2598" fmla="*/ 2464466 w 4772243"/>
              <a:gd name="connsiteY2598" fmla="*/ 7396102 h 8861755"/>
              <a:gd name="connsiteX2599" fmla="*/ 2461748 w 4772243"/>
              <a:gd name="connsiteY2599" fmla="*/ 7413050 h 8861755"/>
              <a:gd name="connsiteX2600" fmla="*/ 2452988 w 4772243"/>
              <a:gd name="connsiteY2600" fmla="*/ 7373773 h 8861755"/>
              <a:gd name="connsiteX2601" fmla="*/ 2430335 w 4772243"/>
              <a:gd name="connsiteY2601" fmla="*/ 7296562 h 8861755"/>
              <a:gd name="connsiteX2602" fmla="*/ 2401339 w 4772243"/>
              <a:gd name="connsiteY2602" fmla="*/ 7221504 h 8861755"/>
              <a:gd name="connsiteX2603" fmla="*/ 2368113 w 4772243"/>
              <a:gd name="connsiteY2603" fmla="*/ 7147521 h 8861755"/>
              <a:gd name="connsiteX2604" fmla="*/ 2349689 w 4772243"/>
              <a:gd name="connsiteY2604" fmla="*/ 7110934 h 8861755"/>
              <a:gd name="connsiteX2605" fmla="*/ 2342137 w 4772243"/>
              <a:gd name="connsiteY2605" fmla="*/ 7112011 h 8861755"/>
              <a:gd name="connsiteX2606" fmla="*/ 2334285 w 4772243"/>
              <a:gd name="connsiteY2606" fmla="*/ 7112817 h 8861755"/>
              <a:gd name="connsiteX2607" fmla="*/ 2329754 w 4772243"/>
              <a:gd name="connsiteY2607" fmla="*/ 7136761 h 8861755"/>
              <a:gd name="connsiteX2608" fmla="*/ 2317973 w 4772243"/>
              <a:gd name="connsiteY2608" fmla="*/ 7183841 h 8861755"/>
              <a:gd name="connsiteX2609" fmla="*/ 2295924 w 4772243"/>
              <a:gd name="connsiteY2609" fmla="*/ 7254055 h 8861755"/>
              <a:gd name="connsiteX2610" fmla="*/ 2263908 w 4772243"/>
              <a:gd name="connsiteY2610" fmla="*/ 7347677 h 8861755"/>
              <a:gd name="connsiteX2611" fmla="*/ 2242160 w 4772243"/>
              <a:gd name="connsiteY2611" fmla="*/ 7417624 h 8861755"/>
              <a:gd name="connsiteX2612" fmla="*/ 2229777 w 4772243"/>
              <a:gd name="connsiteY2612" fmla="*/ 7465241 h 8861755"/>
              <a:gd name="connsiteX2613" fmla="*/ 2225246 w 4772243"/>
              <a:gd name="connsiteY2613" fmla="*/ 7488915 h 8861755"/>
              <a:gd name="connsiteX2614" fmla="*/ 2219809 w 4772243"/>
              <a:gd name="connsiteY2614" fmla="*/ 7488108 h 8861755"/>
              <a:gd name="connsiteX2615" fmla="*/ 2203197 w 4772243"/>
              <a:gd name="connsiteY2615" fmla="*/ 7482459 h 8861755"/>
              <a:gd name="connsiteX2616" fmla="*/ 2195343 w 4772243"/>
              <a:gd name="connsiteY2616" fmla="*/ 7478423 h 8861755"/>
              <a:gd name="connsiteX2617" fmla="*/ 2194739 w 4772243"/>
              <a:gd name="connsiteY2617" fmla="*/ 7476541 h 8861755"/>
              <a:gd name="connsiteX2618" fmla="*/ 2197458 w 4772243"/>
              <a:gd name="connsiteY2618" fmla="*/ 7457171 h 8861755"/>
              <a:gd name="connsiteX2619" fmla="*/ 2206519 w 4772243"/>
              <a:gd name="connsiteY2619" fmla="*/ 7418699 h 8861755"/>
              <a:gd name="connsiteX2620" fmla="*/ 2225850 w 4772243"/>
              <a:gd name="connsiteY2620" fmla="*/ 7360859 h 8861755"/>
              <a:gd name="connsiteX2621" fmla="*/ 2256658 w 4772243"/>
              <a:gd name="connsiteY2621" fmla="*/ 7284456 h 8861755"/>
              <a:gd name="connsiteX2622" fmla="*/ 2275687 w 4772243"/>
              <a:gd name="connsiteY2622" fmla="*/ 7226615 h 8861755"/>
              <a:gd name="connsiteX2623" fmla="*/ 2284749 w 4772243"/>
              <a:gd name="connsiteY2623" fmla="*/ 7187875 h 8861755"/>
              <a:gd name="connsiteX2624" fmla="*/ 2287467 w 4772243"/>
              <a:gd name="connsiteY2624" fmla="*/ 7168775 h 8861755"/>
              <a:gd name="connsiteX2625" fmla="*/ 2290488 w 4772243"/>
              <a:gd name="connsiteY2625" fmla="*/ 7146715 h 8861755"/>
              <a:gd name="connsiteX2626" fmla="*/ 2302267 w 4772243"/>
              <a:gd name="connsiteY2626" fmla="*/ 7103401 h 8861755"/>
              <a:gd name="connsiteX2627" fmla="*/ 2309517 w 4772243"/>
              <a:gd name="connsiteY2627" fmla="*/ 7071119 h 8861755"/>
              <a:gd name="connsiteX2628" fmla="*/ 2311027 w 4772243"/>
              <a:gd name="connsiteY2628" fmla="*/ 7049865 h 8861755"/>
              <a:gd name="connsiteX2629" fmla="*/ 2308913 w 4772243"/>
              <a:gd name="connsiteY2629" fmla="*/ 7028613 h 8861755"/>
              <a:gd name="connsiteX2630" fmla="*/ 2301965 w 4772243"/>
              <a:gd name="connsiteY2630" fmla="*/ 7007359 h 8861755"/>
              <a:gd name="connsiteX2631" fmla="*/ 2295623 w 4772243"/>
              <a:gd name="connsiteY2631" fmla="*/ 6996867 h 8861755"/>
              <a:gd name="connsiteX2632" fmla="*/ 2287769 w 4772243"/>
              <a:gd name="connsiteY2632" fmla="*/ 6984223 h 8861755"/>
              <a:gd name="connsiteX2633" fmla="*/ 2274781 w 4772243"/>
              <a:gd name="connsiteY2633" fmla="*/ 6958935 h 8861755"/>
              <a:gd name="connsiteX2634" fmla="*/ 2265116 w 4772243"/>
              <a:gd name="connsiteY2634" fmla="*/ 6933109 h 8861755"/>
              <a:gd name="connsiteX2635" fmla="*/ 2258471 w 4772243"/>
              <a:gd name="connsiteY2635" fmla="*/ 6906743 h 8861755"/>
              <a:gd name="connsiteX2636" fmla="*/ 2254242 w 4772243"/>
              <a:gd name="connsiteY2636" fmla="*/ 6880647 h 8861755"/>
              <a:gd name="connsiteX2637" fmla="*/ 2252732 w 4772243"/>
              <a:gd name="connsiteY2637" fmla="*/ 6854283 h 8861755"/>
              <a:gd name="connsiteX2638" fmla="*/ 2253336 w 4772243"/>
              <a:gd name="connsiteY2638" fmla="*/ 6827650 h 8861755"/>
              <a:gd name="connsiteX2639" fmla="*/ 2256054 w 4772243"/>
              <a:gd name="connsiteY2639" fmla="*/ 6801285 h 8861755"/>
              <a:gd name="connsiteX2640" fmla="*/ 2258471 w 4772243"/>
              <a:gd name="connsiteY2640" fmla="*/ 6787835 h 8861755"/>
              <a:gd name="connsiteX2641" fmla="*/ 2286259 w 4772243"/>
              <a:gd name="connsiteY2641" fmla="*/ 6637448 h 8861755"/>
              <a:gd name="connsiteX2642" fmla="*/ 2330962 w 4772243"/>
              <a:gd name="connsiteY2642" fmla="*/ 6411736 h 8861755"/>
              <a:gd name="connsiteX2643" fmla="*/ 2362978 w 4772243"/>
              <a:gd name="connsiteY2643" fmla="*/ 6261350 h 8861755"/>
              <a:gd name="connsiteX2644" fmla="*/ 2380196 w 4772243"/>
              <a:gd name="connsiteY2644" fmla="*/ 6186831 h 8861755"/>
              <a:gd name="connsiteX2645" fmla="*/ 2389256 w 4772243"/>
              <a:gd name="connsiteY2645" fmla="*/ 6147014 h 8861755"/>
              <a:gd name="connsiteX2646" fmla="*/ 2399526 w 4772243"/>
              <a:gd name="connsiteY2646" fmla="*/ 6088097 h 8861755"/>
              <a:gd name="connsiteX2647" fmla="*/ 2404056 w 4772243"/>
              <a:gd name="connsiteY2647" fmla="*/ 6049089 h 8861755"/>
              <a:gd name="connsiteX2648" fmla="*/ 2405567 w 4772243"/>
              <a:gd name="connsiteY2648" fmla="*/ 6010080 h 8861755"/>
              <a:gd name="connsiteX2649" fmla="*/ 2404359 w 4772243"/>
              <a:gd name="connsiteY2649" fmla="*/ 5971072 h 8861755"/>
              <a:gd name="connsiteX2650" fmla="*/ 2400131 w 4772243"/>
              <a:gd name="connsiteY2650" fmla="*/ 5931793 h 8861755"/>
              <a:gd name="connsiteX2651" fmla="*/ 2391673 w 4772243"/>
              <a:gd name="connsiteY2651" fmla="*/ 5892515 h 8861755"/>
              <a:gd name="connsiteX2652" fmla="*/ 2385632 w 4772243"/>
              <a:gd name="connsiteY2652" fmla="*/ 5872876 h 8861755"/>
              <a:gd name="connsiteX2653" fmla="*/ 2381101 w 4772243"/>
              <a:gd name="connsiteY2653" fmla="*/ 5859964 h 8861755"/>
              <a:gd name="connsiteX2654" fmla="*/ 2377726 w 4772243"/>
              <a:gd name="connsiteY2654" fmla="*/ 5852949 h 8861755"/>
              <a:gd name="connsiteX2655" fmla="*/ 2395711 w 4772243"/>
              <a:gd name="connsiteY2655" fmla="*/ 5850357 h 8861755"/>
              <a:gd name="connsiteX2656" fmla="*/ 2426115 w 4772243"/>
              <a:gd name="connsiteY2656" fmla="*/ 5842971 h 8861755"/>
              <a:gd name="connsiteX2657" fmla="*/ 2454815 w 4772243"/>
              <a:gd name="connsiteY2657" fmla="*/ 5832743 h 8861755"/>
              <a:gd name="connsiteX2658" fmla="*/ 2481810 w 4772243"/>
              <a:gd name="connsiteY2658" fmla="*/ 5820527 h 8861755"/>
              <a:gd name="connsiteX2659" fmla="*/ 2506816 w 4772243"/>
              <a:gd name="connsiteY2659" fmla="*/ 5805754 h 8861755"/>
              <a:gd name="connsiteX2660" fmla="*/ 2528980 w 4772243"/>
              <a:gd name="connsiteY2660" fmla="*/ 5789561 h 8861755"/>
              <a:gd name="connsiteX2661" fmla="*/ 2548018 w 4772243"/>
              <a:gd name="connsiteY2661" fmla="*/ 5771663 h 8861755"/>
              <a:gd name="connsiteX2662" fmla="*/ 2556259 w 4772243"/>
              <a:gd name="connsiteY2662" fmla="*/ 5762004 h 8861755"/>
              <a:gd name="connsiteX2663" fmla="*/ 2554125 w 4772243"/>
              <a:gd name="connsiteY2663" fmla="*/ 5759871 h 8861755"/>
              <a:gd name="connsiteX2664" fmla="*/ 2578472 w 4772243"/>
              <a:gd name="connsiteY2664" fmla="*/ 5758465 h 8861755"/>
              <a:gd name="connsiteX2665" fmla="*/ 2631439 w 4772243"/>
              <a:gd name="connsiteY2665" fmla="*/ 5749225 h 8861755"/>
              <a:gd name="connsiteX2666" fmla="*/ 2631538 w 4772243"/>
              <a:gd name="connsiteY2666" fmla="*/ 5749278 h 8861755"/>
              <a:gd name="connsiteX2667" fmla="*/ 2634216 w 4772243"/>
              <a:gd name="connsiteY2667" fmla="*/ 5761769 h 8861755"/>
              <a:gd name="connsiteX2668" fmla="*/ 2644485 w 4772243"/>
              <a:gd name="connsiteY2668" fmla="*/ 5815574 h 8861755"/>
              <a:gd name="connsiteX2669" fmla="*/ 2648714 w 4772243"/>
              <a:gd name="connsiteY2669" fmla="*/ 5842208 h 8861755"/>
              <a:gd name="connsiteX2670" fmla="*/ 2650828 w 4772243"/>
              <a:gd name="connsiteY2670" fmla="*/ 5854852 h 8861755"/>
              <a:gd name="connsiteX2671" fmla="*/ 2656869 w 4772243"/>
              <a:gd name="connsiteY2671" fmla="*/ 5878257 h 8861755"/>
              <a:gd name="connsiteX2672" fmla="*/ 2666534 w 4772243"/>
              <a:gd name="connsiteY2672" fmla="*/ 5899780 h 8861755"/>
              <a:gd name="connsiteX2673" fmla="*/ 2678919 w 4772243"/>
              <a:gd name="connsiteY2673" fmla="*/ 5918880 h 8861755"/>
              <a:gd name="connsiteX2674" fmla="*/ 2694927 w 4772243"/>
              <a:gd name="connsiteY2674" fmla="*/ 5936367 h 8861755"/>
              <a:gd name="connsiteX2675" fmla="*/ 2714560 w 4772243"/>
              <a:gd name="connsiteY2675" fmla="*/ 5952239 h 8861755"/>
              <a:gd name="connsiteX2676" fmla="*/ 2738421 w 4772243"/>
              <a:gd name="connsiteY2676" fmla="*/ 5965691 h 8861755"/>
              <a:gd name="connsiteX2677" fmla="*/ 2766511 w 4772243"/>
              <a:gd name="connsiteY2677" fmla="*/ 5977259 h 8861755"/>
              <a:gd name="connsiteX2678" fmla="*/ 2782218 w 4772243"/>
              <a:gd name="connsiteY2678" fmla="*/ 5982371 h 8861755"/>
              <a:gd name="connsiteX2679" fmla="*/ 2814536 w 4772243"/>
              <a:gd name="connsiteY2679" fmla="*/ 5992593 h 8861755"/>
              <a:gd name="connsiteX2680" fmla="*/ 2874039 w 4772243"/>
              <a:gd name="connsiteY2680" fmla="*/ 6016537 h 8861755"/>
              <a:gd name="connsiteX2681" fmla="*/ 2927502 w 4772243"/>
              <a:gd name="connsiteY2681" fmla="*/ 6045322 h 8861755"/>
              <a:gd name="connsiteX2682" fmla="*/ 2975829 w 4772243"/>
              <a:gd name="connsiteY2682" fmla="*/ 6078144 h 8861755"/>
              <a:gd name="connsiteX2683" fmla="*/ 3018418 w 4772243"/>
              <a:gd name="connsiteY2683" fmla="*/ 6115000 h 8861755"/>
              <a:gd name="connsiteX2684" fmla="*/ 3029070 w 4772243"/>
              <a:gd name="connsiteY2684" fmla="*/ 6126977 h 8861755"/>
              <a:gd name="connsiteX2685" fmla="*/ 3045077 w 4772243"/>
              <a:gd name="connsiteY2685" fmla="*/ 6127919 h 8861755"/>
              <a:gd name="connsiteX2686" fmla="*/ 3121429 w 4772243"/>
              <a:gd name="connsiteY2686" fmla="*/ 6135997 h 8861755"/>
              <a:gd name="connsiteX2687" fmla="*/ 3194160 w 4772243"/>
              <a:gd name="connsiteY2687" fmla="*/ 6147576 h 8861755"/>
              <a:gd name="connsiteX2688" fmla="*/ 3265080 w 4772243"/>
              <a:gd name="connsiteY2688" fmla="*/ 6161576 h 8861755"/>
              <a:gd name="connsiteX2689" fmla="*/ 3336604 w 4772243"/>
              <a:gd name="connsiteY2689" fmla="*/ 6178540 h 8861755"/>
              <a:gd name="connsiteX2690" fmla="*/ 3447963 w 4772243"/>
              <a:gd name="connsiteY2690" fmla="*/ 6208160 h 8861755"/>
              <a:gd name="connsiteX2691" fmla="*/ 3530653 w 4772243"/>
              <a:gd name="connsiteY2691" fmla="*/ 6231316 h 8861755"/>
              <a:gd name="connsiteX2692" fmla="*/ 3552382 w 4772243"/>
              <a:gd name="connsiteY2692" fmla="*/ 6237779 h 8861755"/>
              <a:gd name="connsiteX2693" fmla="*/ 3602478 w 4772243"/>
              <a:gd name="connsiteY2693" fmla="*/ 6258780 h 8861755"/>
              <a:gd name="connsiteX2694" fmla="*/ 3686375 w 4772243"/>
              <a:gd name="connsiteY2694" fmla="*/ 6301055 h 8861755"/>
              <a:gd name="connsiteX2695" fmla="*/ 3775704 w 4772243"/>
              <a:gd name="connsiteY2695" fmla="*/ 6347906 h 8861755"/>
              <a:gd name="connsiteX2696" fmla="*/ 3834854 w 4772243"/>
              <a:gd name="connsiteY2696" fmla="*/ 6375640 h 8861755"/>
              <a:gd name="connsiteX2697" fmla="*/ 3877104 w 4772243"/>
              <a:gd name="connsiteY2697" fmla="*/ 6392065 h 8861755"/>
              <a:gd name="connsiteX2698" fmla="*/ 3904266 w 4772243"/>
              <a:gd name="connsiteY2698" fmla="*/ 6400951 h 8861755"/>
              <a:gd name="connsiteX2699" fmla="*/ 3929918 w 4772243"/>
              <a:gd name="connsiteY2699" fmla="*/ 6406875 h 8861755"/>
              <a:gd name="connsiteX2700" fmla="*/ 3954060 w 4772243"/>
              <a:gd name="connsiteY2700" fmla="*/ 6409567 h 8861755"/>
              <a:gd name="connsiteX2701" fmla="*/ 3965226 w 4772243"/>
              <a:gd name="connsiteY2701" fmla="*/ 6409567 h 8861755"/>
              <a:gd name="connsiteX2702" fmla="*/ 3950740 w 4772243"/>
              <a:gd name="connsiteY2702" fmla="*/ 6416568 h 8861755"/>
              <a:gd name="connsiteX2703" fmla="*/ 3922071 w 4772243"/>
              <a:gd name="connsiteY2703" fmla="*/ 6425724 h 8861755"/>
              <a:gd name="connsiteX2704" fmla="*/ 3892797 w 4772243"/>
              <a:gd name="connsiteY2704" fmla="*/ 6428685 h 8861755"/>
              <a:gd name="connsiteX2705" fmla="*/ 3863826 w 4772243"/>
              <a:gd name="connsiteY2705" fmla="*/ 6427070 h 8861755"/>
              <a:gd name="connsiteX2706" fmla="*/ 3834251 w 4772243"/>
              <a:gd name="connsiteY2706" fmla="*/ 6420338 h 8861755"/>
              <a:gd name="connsiteX2707" fmla="*/ 3804374 w 4772243"/>
              <a:gd name="connsiteY2707" fmla="*/ 6410376 h 8861755"/>
              <a:gd name="connsiteX2708" fmla="*/ 3758502 w 4772243"/>
              <a:gd name="connsiteY2708" fmla="*/ 6389642 h 8861755"/>
              <a:gd name="connsiteX2709" fmla="*/ 3664646 w 4772243"/>
              <a:gd name="connsiteY2709" fmla="*/ 6336059 h 8861755"/>
              <a:gd name="connsiteX2710" fmla="*/ 3581051 w 4772243"/>
              <a:gd name="connsiteY2710" fmla="*/ 6289207 h 8861755"/>
              <a:gd name="connsiteX2711" fmla="*/ 3546346 w 4772243"/>
              <a:gd name="connsiteY2711" fmla="*/ 6272782 h 8861755"/>
              <a:gd name="connsiteX2712" fmla="*/ 3510735 w 4772243"/>
              <a:gd name="connsiteY2712" fmla="*/ 6258511 h 8861755"/>
              <a:gd name="connsiteX2713" fmla="*/ 3473917 w 4772243"/>
              <a:gd name="connsiteY2713" fmla="*/ 6246934 h 8861755"/>
              <a:gd name="connsiteX2714" fmla="*/ 3455206 w 4772243"/>
              <a:gd name="connsiteY2714" fmla="*/ 6242894 h 8861755"/>
              <a:gd name="connsiteX2715" fmla="*/ 3403902 w 4772243"/>
              <a:gd name="connsiteY2715" fmla="*/ 6232393 h 8861755"/>
              <a:gd name="connsiteX2716" fmla="*/ 3297372 w 4772243"/>
              <a:gd name="connsiteY2716" fmla="*/ 6210044 h 8861755"/>
              <a:gd name="connsiteX2717" fmla="*/ 3208646 w 4772243"/>
              <a:gd name="connsiteY2717" fmla="*/ 6194965 h 8861755"/>
              <a:gd name="connsiteX2718" fmla="*/ 3143460 w 4772243"/>
              <a:gd name="connsiteY2718" fmla="*/ 6186887 h 8861755"/>
              <a:gd name="connsiteX2719" fmla="*/ 3071751 w 4772243"/>
              <a:gd name="connsiteY2719" fmla="*/ 6180756 h 8861755"/>
              <a:gd name="connsiteX2720" fmla="*/ 3086076 w 4772243"/>
              <a:gd name="connsiteY2720" fmla="*/ 6201895 h 8861755"/>
              <a:gd name="connsiteX2721" fmla="*/ 3111447 w 4772243"/>
              <a:gd name="connsiteY2721" fmla="*/ 6251665 h 8861755"/>
              <a:gd name="connsiteX2722" fmla="*/ 3121717 w 4772243"/>
              <a:gd name="connsiteY2722" fmla="*/ 6278030 h 8861755"/>
              <a:gd name="connsiteX2723" fmla="*/ 3128664 w 4772243"/>
              <a:gd name="connsiteY2723" fmla="*/ 6295517 h 8861755"/>
              <a:gd name="connsiteX2724" fmla="*/ 3146787 w 4772243"/>
              <a:gd name="connsiteY2724" fmla="*/ 6329682 h 8861755"/>
              <a:gd name="connsiteX2725" fmla="*/ 3155848 w 4772243"/>
              <a:gd name="connsiteY2725" fmla="*/ 6346900 h 8861755"/>
              <a:gd name="connsiteX2726" fmla="*/ 3162795 w 4772243"/>
              <a:gd name="connsiteY2726" fmla="*/ 6360083 h 8861755"/>
              <a:gd name="connsiteX2727" fmla="*/ 3178501 w 4772243"/>
              <a:gd name="connsiteY2727" fmla="*/ 6385103 h 8861755"/>
              <a:gd name="connsiteX2728" fmla="*/ 3196624 w 4772243"/>
              <a:gd name="connsiteY2728" fmla="*/ 6409314 h 8861755"/>
              <a:gd name="connsiteX2729" fmla="*/ 3215956 w 4772243"/>
              <a:gd name="connsiteY2729" fmla="*/ 6431644 h 8861755"/>
              <a:gd name="connsiteX2730" fmla="*/ 3238005 w 4772243"/>
              <a:gd name="connsiteY2730" fmla="*/ 6452897 h 8861755"/>
              <a:gd name="connsiteX2731" fmla="*/ 3261866 w 4772243"/>
              <a:gd name="connsiteY2731" fmla="*/ 6472267 h 8861755"/>
              <a:gd name="connsiteX2732" fmla="*/ 3288446 w 4772243"/>
              <a:gd name="connsiteY2732" fmla="*/ 6490561 h 8861755"/>
              <a:gd name="connsiteX2733" fmla="*/ 3317141 w 4772243"/>
              <a:gd name="connsiteY2733" fmla="*/ 6506971 h 8861755"/>
              <a:gd name="connsiteX2734" fmla="*/ 3332243 w 4772243"/>
              <a:gd name="connsiteY2734" fmla="*/ 6514235 h 8861755"/>
              <a:gd name="connsiteX2735" fmla="*/ 3376039 w 4772243"/>
              <a:gd name="connsiteY2735" fmla="*/ 6534412 h 8861755"/>
              <a:gd name="connsiteX2736" fmla="*/ 3465445 w 4772243"/>
              <a:gd name="connsiteY2736" fmla="*/ 6571537 h 8861755"/>
              <a:gd name="connsiteX2737" fmla="*/ 3510450 w 4772243"/>
              <a:gd name="connsiteY2737" fmla="*/ 6589293 h 8861755"/>
              <a:gd name="connsiteX2738" fmla="*/ 3564213 w 4772243"/>
              <a:gd name="connsiteY2738" fmla="*/ 6609470 h 8861755"/>
              <a:gd name="connsiteX2739" fmla="*/ 3672648 w 4772243"/>
              <a:gd name="connsiteY2739" fmla="*/ 6648478 h 8861755"/>
              <a:gd name="connsiteX2740" fmla="*/ 3727621 w 4772243"/>
              <a:gd name="connsiteY2740" fmla="*/ 6666234 h 8861755"/>
              <a:gd name="connsiteX2741" fmla="*/ 3741514 w 4772243"/>
              <a:gd name="connsiteY2741" fmla="*/ 6670000 h 8861755"/>
              <a:gd name="connsiteX2742" fmla="*/ 3770511 w 4772243"/>
              <a:gd name="connsiteY2742" fmla="*/ 6676457 h 8861755"/>
              <a:gd name="connsiteX2743" fmla="*/ 3814912 w 4772243"/>
              <a:gd name="connsiteY2743" fmla="*/ 6682645 h 8861755"/>
              <a:gd name="connsiteX2744" fmla="*/ 3844814 w 4772243"/>
              <a:gd name="connsiteY2744" fmla="*/ 6684798 h 8861755"/>
              <a:gd name="connsiteX2745" fmla="*/ 3883476 w 4772243"/>
              <a:gd name="connsiteY2745" fmla="*/ 6685335 h 8861755"/>
              <a:gd name="connsiteX2746" fmla="*/ 3941771 w 4772243"/>
              <a:gd name="connsiteY2746" fmla="*/ 6683721 h 8861755"/>
              <a:gd name="connsiteX2747" fmla="*/ 3980130 w 4772243"/>
              <a:gd name="connsiteY2747" fmla="*/ 6683991 h 8861755"/>
              <a:gd name="connsiteX2748" fmla="*/ 3999159 w 4772243"/>
              <a:gd name="connsiteY2748" fmla="*/ 6685873 h 8861755"/>
              <a:gd name="connsiteX2749" fmla="*/ 4036311 w 4772243"/>
              <a:gd name="connsiteY2749" fmla="*/ 6690447 h 8861755"/>
              <a:gd name="connsiteX2750" fmla="*/ 4118769 w 4772243"/>
              <a:gd name="connsiteY2750" fmla="*/ 6698786 h 8861755"/>
              <a:gd name="connsiteX2751" fmla="*/ 4183709 w 4772243"/>
              <a:gd name="connsiteY2751" fmla="*/ 6701745 h 8861755"/>
              <a:gd name="connsiteX2752" fmla="*/ 4227203 w 4772243"/>
              <a:gd name="connsiteY2752" fmla="*/ 6701208 h 8861755"/>
              <a:gd name="connsiteX2753" fmla="*/ 4269188 w 4772243"/>
              <a:gd name="connsiteY2753" fmla="*/ 6697710 h 8861755"/>
              <a:gd name="connsiteX2754" fmla="*/ 4309360 w 4772243"/>
              <a:gd name="connsiteY2754" fmla="*/ 6690716 h 8861755"/>
              <a:gd name="connsiteX2755" fmla="*/ 4328389 w 4772243"/>
              <a:gd name="connsiteY2755" fmla="*/ 6685335 h 8861755"/>
              <a:gd name="connsiteX2756" fmla="*/ 4307849 w 4772243"/>
              <a:gd name="connsiteY2756" fmla="*/ 6694751 h 8861755"/>
              <a:gd name="connsiteX2757" fmla="*/ 4261335 w 4772243"/>
              <a:gd name="connsiteY2757" fmla="*/ 6711700 h 8861755"/>
              <a:gd name="connsiteX2758" fmla="*/ 4233848 w 4772243"/>
              <a:gd name="connsiteY2758" fmla="*/ 6718695 h 8861755"/>
              <a:gd name="connsiteX2759" fmla="*/ 4224787 w 4772243"/>
              <a:gd name="connsiteY2759" fmla="*/ 6718964 h 8861755"/>
              <a:gd name="connsiteX2760" fmla="*/ 4169815 w 4772243"/>
              <a:gd name="connsiteY2760" fmla="*/ 6717618 h 8861755"/>
              <a:gd name="connsiteX2761" fmla="*/ 4058964 w 4772243"/>
              <a:gd name="connsiteY2761" fmla="*/ 6711700 h 8861755"/>
              <a:gd name="connsiteX2762" fmla="*/ 4003690 w 4772243"/>
              <a:gd name="connsiteY2762" fmla="*/ 6709548 h 8861755"/>
              <a:gd name="connsiteX2763" fmla="*/ 3916097 w 4772243"/>
              <a:gd name="connsiteY2763" fmla="*/ 6708202 h 8861755"/>
              <a:gd name="connsiteX2764" fmla="*/ 3828202 w 4772243"/>
              <a:gd name="connsiteY2764" fmla="*/ 6709279 h 8861755"/>
              <a:gd name="connsiteX2765" fmla="*/ 3826389 w 4772243"/>
              <a:gd name="connsiteY2765" fmla="*/ 6715735 h 8861755"/>
              <a:gd name="connsiteX2766" fmla="*/ 3823973 w 4772243"/>
              <a:gd name="connsiteY2766" fmla="*/ 6722461 h 8861755"/>
              <a:gd name="connsiteX2767" fmla="*/ 3907337 w 4772243"/>
              <a:gd name="connsiteY2767" fmla="*/ 6756627 h 8861755"/>
              <a:gd name="connsiteX2768" fmla="*/ 4074670 w 4772243"/>
              <a:gd name="connsiteY2768" fmla="*/ 6824959 h 8861755"/>
              <a:gd name="connsiteX2769" fmla="*/ 4156827 w 4772243"/>
              <a:gd name="connsiteY2769" fmla="*/ 6861278 h 8861755"/>
              <a:gd name="connsiteX2770" fmla="*/ 4177668 w 4772243"/>
              <a:gd name="connsiteY2770" fmla="*/ 6870155 h 8861755"/>
              <a:gd name="connsiteX2771" fmla="*/ 4219955 w 4772243"/>
              <a:gd name="connsiteY2771" fmla="*/ 6885490 h 8861755"/>
              <a:gd name="connsiteX2772" fmla="*/ 4262241 w 4772243"/>
              <a:gd name="connsiteY2772" fmla="*/ 6897059 h 8861755"/>
              <a:gd name="connsiteX2773" fmla="*/ 4305131 w 4772243"/>
              <a:gd name="connsiteY2773" fmla="*/ 6905399 h 8861755"/>
              <a:gd name="connsiteX2774" fmla="*/ 4348626 w 4772243"/>
              <a:gd name="connsiteY2774" fmla="*/ 6910241 h 8861755"/>
              <a:gd name="connsiteX2775" fmla="*/ 4393026 w 4772243"/>
              <a:gd name="connsiteY2775" fmla="*/ 6911316 h 8861755"/>
              <a:gd name="connsiteX2776" fmla="*/ 4437427 w 4772243"/>
              <a:gd name="connsiteY2776" fmla="*/ 6909165 h 8861755"/>
              <a:gd name="connsiteX2777" fmla="*/ 4483036 w 4772243"/>
              <a:gd name="connsiteY2777" fmla="*/ 6903246 h 8861755"/>
              <a:gd name="connsiteX2778" fmla="*/ 4505689 w 4772243"/>
              <a:gd name="connsiteY2778" fmla="*/ 6899210 h 8861755"/>
              <a:gd name="connsiteX2779" fmla="*/ 4518073 w 4772243"/>
              <a:gd name="connsiteY2779" fmla="*/ 6897327 h 8861755"/>
              <a:gd name="connsiteX2780" fmla="*/ 4530759 w 4772243"/>
              <a:gd name="connsiteY2780" fmla="*/ 6896521 h 8861755"/>
              <a:gd name="connsiteX2781" fmla="*/ 4532571 w 4772243"/>
              <a:gd name="connsiteY2781" fmla="*/ 6902977 h 8861755"/>
              <a:gd name="connsiteX2782" fmla="*/ 4534685 w 4772243"/>
              <a:gd name="connsiteY2782" fmla="*/ 6909703 h 8861755"/>
              <a:gd name="connsiteX2783" fmla="*/ 4496930 w 4772243"/>
              <a:gd name="connsiteY2783" fmla="*/ 6916697 h 8861755"/>
              <a:gd name="connsiteX2784" fmla="*/ 4441051 w 4772243"/>
              <a:gd name="connsiteY2784" fmla="*/ 6927727 h 8861755"/>
              <a:gd name="connsiteX2785" fmla="*/ 4403598 w 4772243"/>
              <a:gd name="connsiteY2785" fmla="*/ 6933109 h 8861755"/>
              <a:gd name="connsiteX2786" fmla="*/ 4384568 w 4772243"/>
              <a:gd name="connsiteY2786" fmla="*/ 6934453 h 8861755"/>
              <a:gd name="connsiteX2787" fmla="*/ 4352854 w 4772243"/>
              <a:gd name="connsiteY2787" fmla="*/ 6934991 h 8861755"/>
              <a:gd name="connsiteX2788" fmla="*/ 4290633 w 4772243"/>
              <a:gd name="connsiteY2788" fmla="*/ 6933109 h 8861755"/>
              <a:gd name="connsiteX2789" fmla="*/ 4230526 w 4772243"/>
              <a:gd name="connsiteY2789" fmla="*/ 6926382 h 8861755"/>
              <a:gd name="connsiteX2790" fmla="*/ 4171325 w 4772243"/>
              <a:gd name="connsiteY2790" fmla="*/ 6915890 h 8861755"/>
              <a:gd name="connsiteX2791" fmla="*/ 4113031 w 4772243"/>
              <a:gd name="connsiteY2791" fmla="*/ 6901632 h 8861755"/>
              <a:gd name="connsiteX2792" fmla="*/ 4056246 w 4772243"/>
              <a:gd name="connsiteY2792" fmla="*/ 6884145 h 8861755"/>
              <a:gd name="connsiteX2793" fmla="*/ 4000065 w 4772243"/>
              <a:gd name="connsiteY2793" fmla="*/ 6864237 h 8861755"/>
              <a:gd name="connsiteX2794" fmla="*/ 3945395 w 4772243"/>
              <a:gd name="connsiteY2794" fmla="*/ 6841907 h 8861755"/>
              <a:gd name="connsiteX2795" fmla="*/ 3917909 w 4772243"/>
              <a:gd name="connsiteY2795" fmla="*/ 6830071 h 8861755"/>
              <a:gd name="connsiteX2796" fmla="*/ 3824879 w 4772243"/>
              <a:gd name="connsiteY2796" fmla="*/ 6787835 h 8861755"/>
              <a:gd name="connsiteX2797" fmla="*/ 3732652 w 4772243"/>
              <a:gd name="connsiteY2797" fmla="*/ 6745151 h 8861755"/>
              <a:gd name="connsiteX2798" fmla="*/ 3733661 w 4772243"/>
              <a:gd name="connsiteY2798" fmla="*/ 6744252 h 8861755"/>
              <a:gd name="connsiteX2799" fmla="*/ 3732453 w 4772243"/>
              <a:gd name="connsiteY2799" fmla="*/ 6745058 h 8861755"/>
              <a:gd name="connsiteX2800" fmla="*/ 3731547 w 4772243"/>
              <a:gd name="connsiteY2800" fmla="*/ 6746135 h 8861755"/>
              <a:gd name="connsiteX2801" fmla="*/ 3732615 w 4772243"/>
              <a:gd name="connsiteY2801" fmla="*/ 6745184 h 8861755"/>
              <a:gd name="connsiteX2802" fmla="*/ 3752690 w 4772243"/>
              <a:gd name="connsiteY2802" fmla="*/ 6760662 h 8861755"/>
              <a:gd name="connsiteX2803" fmla="*/ 3791050 w 4772243"/>
              <a:gd name="connsiteY2803" fmla="*/ 6793215 h 8861755"/>
              <a:gd name="connsiteX2804" fmla="*/ 3829108 w 4772243"/>
              <a:gd name="connsiteY2804" fmla="*/ 6826573 h 8861755"/>
              <a:gd name="connsiteX2805" fmla="*/ 3867769 w 4772243"/>
              <a:gd name="connsiteY2805" fmla="*/ 6859125 h 8861755"/>
              <a:gd name="connsiteX2806" fmla="*/ 3888006 w 4772243"/>
              <a:gd name="connsiteY2806" fmla="*/ 6874460 h 8861755"/>
              <a:gd name="connsiteX2807" fmla="*/ 3865655 w 4772243"/>
              <a:gd name="connsiteY2807" fmla="*/ 6864776 h 8861755"/>
              <a:gd name="connsiteX2808" fmla="*/ 3822764 w 4772243"/>
              <a:gd name="connsiteY2808" fmla="*/ 6842983 h 8861755"/>
              <a:gd name="connsiteX2809" fmla="*/ 3782290 w 4772243"/>
              <a:gd name="connsiteY2809" fmla="*/ 6820117 h 8861755"/>
              <a:gd name="connsiteX2810" fmla="*/ 3743025 w 4772243"/>
              <a:gd name="connsiteY2810" fmla="*/ 6794828 h 8861755"/>
              <a:gd name="connsiteX2811" fmla="*/ 3724600 w 4772243"/>
              <a:gd name="connsiteY2811" fmla="*/ 6781646 h 8861755"/>
              <a:gd name="connsiteX2812" fmla="*/ 3706175 w 4772243"/>
              <a:gd name="connsiteY2812" fmla="*/ 6768733 h 8861755"/>
              <a:gd name="connsiteX2813" fmla="*/ 3669023 w 4772243"/>
              <a:gd name="connsiteY2813" fmla="*/ 6743983 h 8861755"/>
              <a:gd name="connsiteX2814" fmla="*/ 3611031 w 4772243"/>
              <a:gd name="connsiteY2814" fmla="*/ 6709279 h 8861755"/>
              <a:gd name="connsiteX2815" fmla="*/ 3530083 w 4772243"/>
              <a:gd name="connsiteY2815" fmla="*/ 6667580 h 8861755"/>
              <a:gd name="connsiteX2816" fmla="*/ 3445208 w 4772243"/>
              <a:gd name="connsiteY2816" fmla="*/ 6630723 h 8861755"/>
              <a:gd name="connsiteX2817" fmla="*/ 3400807 w 4772243"/>
              <a:gd name="connsiteY2817" fmla="*/ 6614043 h 8861755"/>
              <a:gd name="connsiteX2818" fmla="*/ 3374227 w 4772243"/>
              <a:gd name="connsiteY2818" fmla="*/ 6603551 h 8861755"/>
              <a:gd name="connsiteX2819" fmla="*/ 3322276 w 4772243"/>
              <a:gd name="connsiteY2819" fmla="*/ 6579070 h 8861755"/>
              <a:gd name="connsiteX2820" fmla="*/ 3246462 w 4772243"/>
              <a:gd name="connsiteY2820" fmla="*/ 6538985 h 8861755"/>
              <a:gd name="connsiteX2821" fmla="*/ 3196021 w 4772243"/>
              <a:gd name="connsiteY2821" fmla="*/ 6512889 h 8861755"/>
              <a:gd name="connsiteX2822" fmla="*/ 3188167 w 4772243"/>
              <a:gd name="connsiteY2822" fmla="*/ 6509931 h 8861755"/>
              <a:gd name="connsiteX2823" fmla="*/ 3177293 w 4772243"/>
              <a:gd name="connsiteY2823" fmla="*/ 6507240 h 8861755"/>
              <a:gd name="connsiteX2824" fmla="*/ 3188167 w 4772243"/>
              <a:gd name="connsiteY2824" fmla="*/ 6545979 h 8861755"/>
              <a:gd name="connsiteX2825" fmla="*/ 3212029 w 4772243"/>
              <a:gd name="connsiteY2825" fmla="*/ 6622384 h 8861755"/>
              <a:gd name="connsiteX2826" fmla="*/ 3249784 w 4772243"/>
              <a:gd name="connsiteY2826" fmla="*/ 6735912 h 8861755"/>
              <a:gd name="connsiteX2827" fmla="*/ 3284519 w 4772243"/>
              <a:gd name="connsiteY2827" fmla="*/ 6848903 h 8861755"/>
              <a:gd name="connsiteX2828" fmla="*/ 3303246 w 4772243"/>
              <a:gd name="connsiteY2828" fmla="*/ 6923961 h 8861755"/>
              <a:gd name="connsiteX2829" fmla="*/ 3317141 w 4772243"/>
              <a:gd name="connsiteY2829" fmla="*/ 6999019 h 8861755"/>
              <a:gd name="connsiteX2830" fmla="*/ 3322880 w 4772243"/>
              <a:gd name="connsiteY2830" fmla="*/ 7055515 h 8861755"/>
              <a:gd name="connsiteX2831" fmla="*/ 3324389 w 4772243"/>
              <a:gd name="connsiteY2831" fmla="*/ 7093178 h 8861755"/>
              <a:gd name="connsiteX2832" fmla="*/ 3324389 w 4772243"/>
              <a:gd name="connsiteY2832" fmla="*/ 7112279 h 8861755"/>
              <a:gd name="connsiteX2833" fmla="*/ 3369394 w 4772243"/>
              <a:gd name="connsiteY2833" fmla="*/ 7121964 h 8861755"/>
              <a:gd name="connsiteX2834" fmla="*/ 3432522 w 4772243"/>
              <a:gd name="connsiteY2834" fmla="*/ 7134071 h 8861755"/>
              <a:gd name="connsiteX2835" fmla="*/ 3460612 w 4772243"/>
              <a:gd name="connsiteY2835" fmla="*/ 7142949 h 8861755"/>
              <a:gd name="connsiteX2836" fmla="*/ 3477526 w 4772243"/>
              <a:gd name="connsiteY2836" fmla="*/ 7150211 h 8861755"/>
              <a:gd name="connsiteX2837" fmla="*/ 3485380 w 4772243"/>
              <a:gd name="connsiteY2837" fmla="*/ 7154785 h 8861755"/>
              <a:gd name="connsiteX2838" fmla="*/ 3498972 w 4772243"/>
              <a:gd name="connsiteY2838" fmla="*/ 7162319 h 8861755"/>
              <a:gd name="connsiteX2839" fmla="*/ 3527968 w 4772243"/>
              <a:gd name="connsiteY2839" fmla="*/ 7175769 h 8861755"/>
              <a:gd name="connsiteX2840" fmla="*/ 3558475 w 4772243"/>
              <a:gd name="connsiteY2840" fmla="*/ 7186799 h 8861755"/>
              <a:gd name="connsiteX2841" fmla="*/ 3590794 w 4772243"/>
              <a:gd name="connsiteY2841" fmla="*/ 7195947 h 8861755"/>
              <a:gd name="connsiteX2842" fmla="*/ 3623113 w 4772243"/>
              <a:gd name="connsiteY2842" fmla="*/ 7202941 h 8861755"/>
              <a:gd name="connsiteX2843" fmla="*/ 3656338 w 4772243"/>
              <a:gd name="connsiteY2843" fmla="*/ 7207783 h 8861755"/>
              <a:gd name="connsiteX2844" fmla="*/ 3706477 w 4772243"/>
              <a:gd name="connsiteY2844" fmla="*/ 7212357 h 8861755"/>
              <a:gd name="connsiteX2845" fmla="*/ 3772021 w 4772243"/>
              <a:gd name="connsiteY2845" fmla="*/ 7212087 h 8861755"/>
              <a:gd name="connsiteX2846" fmla="*/ 3832732 w 4772243"/>
              <a:gd name="connsiteY2846" fmla="*/ 7206438 h 8861755"/>
              <a:gd name="connsiteX2847" fmla="*/ 3885590 w 4772243"/>
              <a:gd name="connsiteY2847" fmla="*/ 7196215 h 8861755"/>
              <a:gd name="connsiteX2848" fmla="*/ 3918513 w 4772243"/>
              <a:gd name="connsiteY2848" fmla="*/ 7186261 h 8861755"/>
              <a:gd name="connsiteX2849" fmla="*/ 3936334 w 4772243"/>
              <a:gd name="connsiteY2849" fmla="*/ 7178729 h 8861755"/>
              <a:gd name="connsiteX2850" fmla="*/ 3943885 w 4772243"/>
              <a:gd name="connsiteY2850" fmla="*/ 7174693 h 8861755"/>
              <a:gd name="connsiteX2851" fmla="*/ 3947811 w 4772243"/>
              <a:gd name="connsiteY2851" fmla="*/ 7175769 h 8861755"/>
              <a:gd name="connsiteX2852" fmla="*/ 3951134 w 4772243"/>
              <a:gd name="connsiteY2852" fmla="*/ 7179805 h 8861755"/>
              <a:gd name="connsiteX2853" fmla="*/ 3951738 w 4772243"/>
              <a:gd name="connsiteY2853" fmla="*/ 7183303 h 8861755"/>
              <a:gd name="connsiteX2854" fmla="*/ 3950530 w 4772243"/>
              <a:gd name="connsiteY2854" fmla="*/ 7185454 h 8861755"/>
              <a:gd name="connsiteX2855" fmla="*/ 3945395 w 4772243"/>
              <a:gd name="connsiteY2855" fmla="*/ 7188682 h 8861755"/>
              <a:gd name="connsiteX2856" fmla="*/ 3926366 w 4772243"/>
              <a:gd name="connsiteY2856" fmla="*/ 7196215 h 8861755"/>
              <a:gd name="connsiteX2857" fmla="*/ 3915795 w 4772243"/>
              <a:gd name="connsiteY2857" fmla="*/ 7201058 h 8861755"/>
              <a:gd name="connsiteX2858" fmla="*/ 3913680 w 4772243"/>
              <a:gd name="connsiteY2858" fmla="*/ 7203479 h 8861755"/>
              <a:gd name="connsiteX2859" fmla="*/ 3981339 w 4772243"/>
              <a:gd name="connsiteY2859" fmla="*/ 7195677 h 8861755"/>
              <a:gd name="connsiteX2860" fmla="*/ 4129039 w 4772243"/>
              <a:gd name="connsiteY2860" fmla="*/ 7175769 h 8861755"/>
              <a:gd name="connsiteX2861" fmla="*/ 4192166 w 4772243"/>
              <a:gd name="connsiteY2861" fmla="*/ 7168506 h 8861755"/>
              <a:gd name="connsiteX2862" fmla="*/ 4192166 w 4772243"/>
              <a:gd name="connsiteY2862" fmla="*/ 7170119 h 8861755"/>
              <a:gd name="connsiteX2863" fmla="*/ 4187031 w 4772243"/>
              <a:gd name="connsiteY2863" fmla="*/ 7176038 h 8861755"/>
              <a:gd name="connsiteX2864" fmla="*/ 4177970 w 4772243"/>
              <a:gd name="connsiteY2864" fmla="*/ 7183033 h 8861755"/>
              <a:gd name="connsiteX2865" fmla="*/ 4165284 w 4772243"/>
              <a:gd name="connsiteY2865" fmla="*/ 7188682 h 8861755"/>
              <a:gd name="connsiteX2866" fmla="*/ 4158338 w 4772243"/>
              <a:gd name="connsiteY2866" fmla="*/ 7190027 h 8861755"/>
              <a:gd name="connsiteX2867" fmla="*/ 4044768 w 4772243"/>
              <a:gd name="connsiteY2867" fmla="*/ 7211011 h 8861755"/>
              <a:gd name="connsiteX2868" fmla="*/ 3933917 w 4772243"/>
              <a:gd name="connsiteY2868" fmla="*/ 7231457 h 8861755"/>
              <a:gd name="connsiteX2869" fmla="*/ 3945093 w 4772243"/>
              <a:gd name="connsiteY2869" fmla="*/ 7234955 h 8861755"/>
              <a:gd name="connsiteX2870" fmla="*/ 3957175 w 4772243"/>
              <a:gd name="connsiteY2870" fmla="*/ 7238721 h 8861755"/>
              <a:gd name="connsiteX2871" fmla="*/ 3634590 w 4772243"/>
              <a:gd name="connsiteY2871" fmla="*/ 7238721 h 8861755"/>
              <a:gd name="connsiteX2872" fmla="*/ 3775041 w 4772243"/>
              <a:gd name="connsiteY2872" fmla="*/ 7360052 h 8861755"/>
              <a:gd name="connsiteX2873" fmla="*/ 3919419 w 4772243"/>
              <a:gd name="connsiteY2873" fmla="*/ 7484881 h 8861755"/>
              <a:gd name="connsiteX2874" fmla="*/ 3927876 w 4772243"/>
              <a:gd name="connsiteY2874" fmla="*/ 7491606 h 8861755"/>
              <a:gd name="connsiteX2875" fmla="*/ 3945093 w 4772243"/>
              <a:gd name="connsiteY2875" fmla="*/ 7504250 h 8861755"/>
              <a:gd name="connsiteX2876" fmla="*/ 3962914 w 4772243"/>
              <a:gd name="connsiteY2876" fmla="*/ 7514743 h 8861755"/>
              <a:gd name="connsiteX2877" fmla="*/ 3982245 w 4772243"/>
              <a:gd name="connsiteY2877" fmla="*/ 7523619 h 8861755"/>
              <a:gd name="connsiteX2878" fmla="*/ 4012449 w 4772243"/>
              <a:gd name="connsiteY2878" fmla="*/ 7534112 h 8861755"/>
              <a:gd name="connsiteX2879" fmla="*/ 4056246 w 4772243"/>
              <a:gd name="connsiteY2879" fmla="*/ 7542990 h 8861755"/>
              <a:gd name="connsiteX2880" fmla="*/ 4079805 w 4772243"/>
              <a:gd name="connsiteY2880" fmla="*/ 7544603 h 8861755"/>
              <a:gd name="connsiteX2881" fmla="*/ 4303620 w 4772243"/>
              <a:gd name="connsiteY2881" fmla="*/ 7556173 h 8861755"/>
              <a:gd name="connsiteX2882" fmla="*/ 4528041 w 4772243"/>
              <a:gd name="connsiteY2882" fmla="*/ 7567202 h 8861755"/>
              <a:gd name="connsiteX2883" fmla="*/ 4528343 w 4772243"/>
              <a:gd name="connsiteY2883" fmla="*/ 7569623 h 8861755"/>
              <a:gd name="connsiteX2884" fmla="*/ 4528343 w 4772243"/>
              <a:gd name="connsiteY2884" fmla="*/ 7572045 h 8861755"/>
              <a:gd name="connsiteX2885" fmla="*/ 4175252 w 4772243"/>
              <a:gd name="connsiteY2885" fmla="*/ 7572045 h 8861755"/>
              <a:gd name="connsiteX2886" fmla="*/ 4266167 w 4772243"/>
              <a:gd name="connsiteY2886" fmla="*/ 7621545 h 8861755"/>
              <a:gd name="connsiteX2887" fmla="*/ 4351646 w 4772243"/>
              <a:gd name="connsiteY2887" fmla="*/ 7668087 h 8861755"/>
              <a:gd name="connsiteX2888" fmla="*/ 4363426 w 4772243"/>
              <a:gd name="connsiteY2888" fmla="*/ 7674275 h 8861755"/>
              <a:gd name="connsiteX2889" fmla="*/ 4388193 w 4772243"/>
              <a:gd name="connsiteY2889" fmla="*/ 7685573 h 8861755"/>
              <a:gd name="connsiteX2890" fmla="*/ 4413263 w 4772243"/>
              <a:gd name="connsiteY2890" fmla="*/ 7694451 h 8861755"/>
              <a:gd name="connsiteX2891" fmla="*/ 4438937 w 4772243"/>
              <a:gd name="connsiteY2891" fmla="*/ 7701445 h 8861755"/>
              <a:gd name="connsiteX2892" fmla="*/ 4465215 w 4772243"/>
              <a:gd name="connsiteY2892" fmla="*/ 7706827 h 8861755"/>
              <a:gd name="connsiteX2893" fmla="*/ 4492399 w 4772243"/>
              <a:gd name="connsiteY2893" fmla="*/ 7709517 h 8861755"/>
              <a:gd name="connsiteX2894" fmla="*/ 4520188 w 4772243"/>
              <a:gd name="connsiteY2894" fmla="*/ 7709785 h 8861755"/>
              <a:gd name="connsiteX2895" fmla="*/ 4548278 w 4772243"/>
              <a:gd name="connsiteY2895" fmla="*/ 7708172 h 8861755"/>
              <a:gd name="connsiteX2896" fmla="*/ 4562776 w 4772243"/>
              <a:gd name="connsiteY2896" fmla="*/ 7706289 h 8861755"/>
              <a:gd name="connsiteX2897" fmla="*/ 4585429 w 4772243"/>
              <a:gd name="connsiteY2897" fmla="*/ 7702791 h 8861755"/>
              <a:gd name="connsiteX2898" fmla="*/ 4631642 w 4772243"/>
              <a:gd name="connsiteY2898" fmla="*/ 7697411 h 8861755"/>
              <a:gd name="connsiteX2899" fmla="*/ 4654900 w 4772243"/>
              <a:gd name="connsiteY2899" fmla="*/ 7696873 h 8861755"/>
              <a:gd name="connsiteX2900" fmla="*/ 4663659 w 4772243"/>
              <a:gd name="connsiteY2900" fmla="*/ 7697411 h 8861755"/>
              <a:gd name="connsiteX2901" fmla="*/ 4673928 w 4772243"/>
              <a:gd name="connsiteY2901" fmla="*/ 7699025 h 8861755"/>
              <a:gd name="connsiteX2902" fmla="*/ 4772243 w 4772243"/>
              <a:gd name="connsiteY2902" fmla="*/ 2114774 h 8861755"/>
              <a:gd name="connsiteX2903" fmla="*/ 4702728 w 4772243"/>
              <a:gd name="connsiteY2903" fmla="*/ 2107469 h 8861755"/>
              <a:gd name="connsiteX2904" fmla="*/ 4615657 w 4772243"/>
              <a:gd name="connsiteY2904" fmla="*/ 2101223 h 8861755"/>
              <a:gd name="connsiteX2905" fmla="*/ 4580236 w 4772243"/>
              <a:gd name="connsiteY2905" fmla="*/ 2100640 h 8861755"/>
              <a:gd name="connsiteX2906" fmla="*/ 4544285 w 4772243"/>
              <a:gd name="connsiteY2906" fmla="*/ 2102370 h 8861755"/>
              <a:gd name="connsiteX2907" fmla="*/ 4508174 w 4772243"/>
              <a:gd name="connsiteY2907" fmla="*/ 2106507 h 8861755"/>
              <a:gd name="connsiteX2908" fmla="*/ 4489715 w 4772243"/>
              <a:gd name="connsiteY2908" fmla="*/ 2109785 h 8861755"/>
              <a:gd name="connsiteX2909" fmla="*/ 4542932 w 4772243"/>
              <a:gd name="connsiteY2909" fmla="*/ 2163186 h 8861755"/>
              <a:gd name="connsiteX2910" fmla="*/ 4647302 w 4772243"/>
              <a:gd name="connsiteY2910" fmla="*/ 2260213 h 8861755"/>
              <a:gd name="connsiteX2911" fmla="*/ 4724873 w 4772243"/>
              <a:gd name="connsiteY2911" fmla="*/ 2330144 h 8861755"/>
              <a:gd name="connsiteX2912" fmla="*/ 4744342 w 4772243"/>
              <a:gd name="connsiteY2912" fmla="*/ 2350179 h 8861755"/>
              <a:gd name="connsiteX2913" fmla="*/ 4745674 w 4772243"/>
              <a:gd name="connsiteY2913" fmla="*/ 2352956 h 8861755"/>
              <a:gd name="connsiteX2914" fmla="*/ 4738400 w 4772243"/>
              <a:gd name="connsiteY2914" fmla="*/ 2350800 h 8861755"/>
              <a:gd name="connsiteX2915" fmla="*/ 4725580 w 4772243"/>
              <a:gd name="connsiteY2915" fmla="*/ 2343249 h 8861755"/>
              <a:gd name="connsiteX2916" fmla="*/ 4698996 w 4772243"/>
              <a:gd name="connsiteY2916" fmla="*/ 2326863 h 8861755"/>
              <a:gd name="connsiteX2917" fmla="*/ 4647114 w 4772243"/>
              <a:gd name="connsiteY2917" fmla="*/ 2292663 h 8861755"/>
              <a:gd name="connsiteX2918" fmla="*/ 4596881 w 4772243"/>
              <a:gd name="connsiteY2918" fmla="*/ 2256429 h 8861755"/>
              <a:gd name="connsiteX2919" fmla="*/ 4549043 w 4772243"/>
              <a:gd name="connsiteY2919" fmla="*/ 2218342 h 8861755"/>
              <a:gd name="connsiteX2920" fmla="*/ 4525768 w 4772243"/>
              <a:gd name="connsiteY2920" fmla="*/ 2198584 h 8861755"/>
              <a:gd name="connsiteX2921" fmla="*/ 4502404 w 4772243"/>
              <a:gd name="connsiteY2921" fmla="*/ 2179329 h 8861755"/>
              <a:gd name="connsiteX2922" fmla="*/ 4453781 w 4772243"/>
              <a:gd name="connsiteY2922" fmla="*/ 2145764 h 8861755"/>
              <a:gd name="connsiteX2923" fmla="*/ 4415060 w 4772243"/>
              <a:gd name="connsiteY2923" fmla="*/ 2124618 h 8861755"/>
              <a:gd name="connsiteX2924" fmla="*/ 4388802 w 4772243"/>
              <a:gd name="connsiteY2924" fmla="*/ 2112332 h 8861755"/>
              <a:gd name="connsiteX2925" fmla="*/ 4361354 w 4772243"/>
              <a:gd name="connsiteY2925" fmla="*/ 2101673 h 8861755"/>
              <a:gd name="connsiteX2926" fmla="*/ 4333548 w 4772243"/>
              <a:gd name="connsiteY2926" fmla="*/ 2092322 h 8861755"/>
              <a:gd name="connsiteX2927" fmla="*/ 4304554 w 4772243"/>
              <a:gd name="connsiteY2927" fmla="*/ 2084598 h 8861755"/>
              <a:gd name="connsiteX2928" fmla="*/ 4275575 w 4772243"/>
              <a:gd name="connsiteY2928" fmla="*/ 2078275 h 8861755"/>
              <a:gd name="connsiteX2929" fmla="*/ 4245588 w 4772243"/>
              <a:gd name="connsiteY2929" fmla="*/ 2073276 h 8861755"/>
              <a:gd name="connsiteX2930" fmla="*/ 4214690 w 4772243"/>
              <a:gd name="connsiteY2930" fmla="*/ 2069796 h 8861755"/>
              <a:gd name="connsiteX2931" fmla="*/ 4167442 w 4772243"/>
              <a:gd name="connsiteY2931" fmla="*/ 2067148 h 8861755"/>
              <a:gd name="connsiteX2932" fmla="*/ 4102115 w 4772243"/>
              <a:gd name="connsiteY2932" fmla="*/ 2068573 h 8861755"/>
              <a:gd name="connsiteX2933" fmla="*/ 4067949 w 4772243"/>
              <a:gd name="connsiteY2933" fmla="*/ 2071970 h 8861755"/>
              <a:gd name="connsiteX2934" fmla="*/ 4033878 w 4772243"/>
              <a:gd name="connsiteY2934" fmla="*/ 2075565 h 8861755"/>
              <a:gd name="connsiteX2935" fmla="*/ 3999997 w 4772243"/>
              <a:gd name="connsiteY2935" fmla="*/ 2079557 h 8861755"/>
              <a:gd name="connsiteX2936" fmla="*/ 3944213 w 4772243"/>
              <a:gd name="connsiteY2936" fmla="*/ 2086495 h 8861755"/>
              <a:gd name="connsiteX2937" fmla="*/ 3860841 w 4772243"/>
              <a:gd name="connsiteY2937" fmla="*/ 2094796 h 8861755"/>
              <a:gd name="connsiteX2938" fmla="*/ 3805303 w 4772243"/>
              <a:gd name="connsiteY2938" fmla="*/ 2098826 h 8861755"/>
              <a:gd name="connsiteX2939" fmla="*/ 3750289 w 4772243"/>
              <a:gd name="connsiteY2939" fmla="*/ 2099842 h 8861755"/>
              <a:gd name="connsiteX2940" fmla="*/ 3695242 w 4772243"/>
              <a:gd name="connsiteY2940" fmla="*/ 2098053 h 8861755"/>
              <a:gd name="connsiteX2941" fmla="*/ 3640895 w 4772243"/>
              <a:gd name="connsiteY2941" fmla="*/ 2092245 h 8861755"/>
              <a:gd name="connsiteX2942" fmla="*/ 3586777 w 4772243"/>
              <a:gd name="connsiteY2942" fmla="*/ 2082126 h 8861755"/>
              <a:gd name="connsiteX2943" fmla="*/ 3559837 w 4772243"/>
              <a:gd name="connsiteY2943" fmla="*/ 2075262 h 8861755"/>
              <a:gd name="connsiteX2944" fmla="*/ 3558027 w 4772243"/>
              <a:gd name="connsiteY2944" fmla="*/ 2079705 h 8861755"/>
              <a:gd name="connsiteX2945" fmla="*/ 3555942 w 4772243"/>
              <a:gd name="connsiteY2945" fmla="*/ 2084253 h 8861755"/>
              <a:gd name="connsiteX2946" fmla="*/ 3564263 w 4772243"/>
              <a:gd name="connsiteY2946" fmla="*/ 2088592 h 8861755"/>
              <a:gd name="connsiteX2947" fmla="*/ 3581193 w 4772243"/>
              <a:gd name="connsiteY2947" fmla="*/ 2097862 h 8861755"/>
              <a:gd name="connsiteX2948" fmla="*/ 3590141 w 4772243"/>
              <a:gd name="connsiteY2948" fmla="*/ 2100084 h 8861755"/>
              <a:gd name="connsiteX2949" fmla="*/ 3608029 w 4772243"/>
              <a:gd name="connsiteY2949" fmla="*/ 2103828 h 8861755"/>
              <a:gd name="connsiteX2950" fmla="*/ 3642713 w 4772243"/>
              <a:gd name="connsiteY2950" fmla="*/ 2113139 h 8861755"/>
              <a:gd name="connsiteX2951" fmla="*/ 3675659 w 4772243"/>
              <a:gd name="connsiteY2951" fmla="*/ 2124989 h 8861755"/>
              <a:gd name="connsiteX2952" fmla="*/ 3707232 w 4772243"/>
              <a:gd name="connsiteY2952" fmla="*/ 2138770 h 8861755"/>
              <a:gd name="connsiteX2953" fmla="*/ 3751744 w 4772243"/>
              <a:gd name="connsiteY2953" fmla="*/ 2162403 h 8861755"/>
              <a:gd name="connsiteX2954" fmla="*/ 3807094 w 4772243"/>
              <a:gd name="connsiteY2954" fmla="*/ 2199036 h 8861755"/>
              <a:gd name="connsiteX2955" fmla="*/ 3833805 w 4772243"/>
              <a:gd name="connsiteY2955" fmla="*/ 2218424 h 8861755"/>
              <a:gd name="connsiteX2956" fmla="*/ 3858643 w 4772243"/>
              <a:gd name="connsiteY2956" fmla="*/ 2236646 h 8861755"/>
              <a:gd name="connsiteX2957" fmla="*/ 3911248 w 4772243"/>
              <a:gd name="connsiteY2957" fmla="*/ 2268928 h 8861755"/>
              <a:gd name="connsiteX2958" fmla="*/ 3953032 w 4772243"/>
              <a:gd name="connsiteY2958" fmla="*/ 2289613 h 8861755"/>
              <a:gd name="connsiteX2959" fmla="*/ 3982542 w 4772243"/>
              <a:gd name="connsiteY2959" fmla="*/ 2301832 h 8861755"/>
              <a:gd name="connsiteX2960" fmla="*/ 4012505 w 4772243"/>
              <a:gd name="connsiteY2960" fmla="*/ 2312942 h 8861755"/>
              <a:gd name="connsiteX2961" fmla="*/ 4043936 w 4772243"/>
              <a:gd name="connsiteY2961" fmla="*/ 2322319 h 8861755"/>
              <a:gd name="connsiteX2962" fmla="*/ 4059785 w 4772243"/>
              <a:gd name="connsiteY2962" fmla="*/ 2326605 h 8861755"/>
              <a:gd name="connsiteX2963" fmla="*/ 4079642 w 4772243"/>
              <a:gd name="connsiteY2963" fmla="*/ 2331709 h 8861755"/>
              <a:gd name="connsiteX2964" fmla="*/ 4116594 w 4772243"/>
              <a:gd name="connsiteY2964" fmla="*/ 2344380 h 8861755"/>
              <a:gd name="connsiteX2965" fmla="*/ 4149770 w 4772243"/>
              <a:gd name="connsiteY2965" fmla="*/ 2360131 h 8861755"/>
              <a:gd name="connsiteX2966" fmla="*/ 4178146 w 4772243"/>
              <a:gd name="connsiteY2966" fmla="*/ 2378884 h 8861755"/>
              <a:gd name="connsiteX2967" fmla="*/ 4202652 w 4772243"/>
              <a:gd name="connsiteY2967" fmla="*/ 2400519 h 8861755"/>
              <a:gd name="connsiteX2968" fmla="*/ 4222185 w 4772243"/>
              <a:gd name="connsiteY2968" fmla="*/ 2426161 h 8861755"/>
              <a:gd name="connsiteX2969" fmla="*/ 4237107 w 4772243"/>
              <a:gd name="connsiteY2969" fmla="*/ 2455201 h 8861755"/>
              <a:gd name="connsiteX2970" fmla="*/ 4246312 w 4772243"/>
              <a:gd name="connsiteY2970" fmla="*/ 2488062 h 8861755"/>
              <a:gd name="connsiteX2971" fmla="*/ 4248748 w 4772243"/>
              <a:gd name="connsiteY2971" fmla="*/ 2506140 h 8861755"/>
              <a:gd name="connsiteX2972" fmla="*/ 4251288 w 4772243"/>
              <a:gd name="connsiteY2972" fmla="*/ 2525116 h 8861755"/>
              <a:gd name="connsiteX2973" fmla="*/ 4256169 w 4772243"/>
              <a:gd name="connsiteY2973" fmla="*/ 2553757 h 8861755"/>
              <a:gd name="connsiteX2974" fmla="*/ 4256946 w 4772243"/>
              <a:gd name="connsiteY2974" fmla="*/ 2573171 h 8861755"/>
              <a:gd name="connsiteX2975" fmla="*/ 4255948 w 4772243"/>
              <a:gd name="connsiteY2975" fmla="*/ 2583406 h 8861755"/>
              <a:gd name="connsiteX2976" fmla="*/ 4242159 w 4772243"/>
              <a:gd name="connsiteY2976" fmla="*/ 2539621 h 8861755"/>
              <a:gd name="connsiteX2977" fmla="*/ 4229765 w 4772243"/>
              <a:gd name="connsiteY2977" fmla="*/ 2496009 h 8861755"/>
              <a:gd name="connsiteX2978" fmla="*/ 4226654 w 4772243"/>
              <a:gd name="connsiteY2978" fmla="*/ 2484054 h 8861755"/>
              <a:gd name="connsiteX2979" fmla="*/ 4218133 w 4772243"/>
              <a:gd name="connsiteY2979" fmla="*/ 2462195 h 8861755"/>
              <a:gd name="connsiteX2980" fmla="*/ 4207121 w 4772243"/>
              <a:gd name="connsiteY2980" fmla="*/ 2441989 h 8861755"/>
              <a:gd name="connsiteX2981" fmla="*/ 4193713 w 4772243"/>
              <a:gd name="connsiteY2981" fmla="*/ 2423634 h 8861755"/>
              <a:gd name="connsiteX2982" fmla="*/ 4177259 w 4772243"/>
              <a:gd name="connsiteY2982" fmla="*/ 2407144 h 8861755"/>
              <a:gd name="connsiteX2983" fmla="*/ 4158323 w 4772243"/>
              <a:gd name="connsiteY2983" fmla="*/ 2393006 h 8861755"/>
              <a:gd name="connsiteX2984" fmla="*/ 4136063 w 4772243"/>
              <a:gd name="connsiteY2984" fmla="*/ 2380839 h 8861755"/>
              <a:gd name="connsiteX2985" fmla="*/ 4111130 w 4772243"/>
              <a:gd name="connsiteY2985" fmla="*/ 2370629 h 8861755"/>
              <a:gd name="connsiteX2986" fmla="*/ 4097326 w 4772243"/>
              <a:gd name="connsiteY2986" fmla="*/ 2366502 h 8861755"/>
              <a:gd name="connsiteX2987" fmla="*/ 4066927 w 4772243"/>
              <a:gd name="connsiteY2987" fmla="*/ 2357905 h 8861755"/>
              <a:gd name="connsiteX2988" fmla="*/ 4006129 w 4772243"/>
              <a:gd name="connsiteY2988" fmla="*/ 2340711 h 8861755"/>
              <a:gd name="connsiteX2989" fmla="*/ 3976364 w 4772243"/>
              <a:gd name="connsiteY2989" fmla="*/ 2330700 h 8861755"/>
              <a:gd name="connsiteX2990" fmla="*/ 3953780 w 4772243"/>
              <a:gd name="connsiteY2990" fmla="*/ 2322644 h 8861755"/>
              <a:gd name="connsiteX2991" fmla="*/ 3909505 w 4772243"/>
              <a:gd name="connsiteY2991" fmla="*/ 2303614 h 8861755"/>
              <a:gd name="connsiteX2992" fmla="*/ 3887364 w 4772243"/>
              <a:gd name="connsiteY2992" fmla="*/ 2293748 h 8861755"/>
              <a:gd name="connsiteX2993" fmla="*/ 3899598 w 4772243"/>
              <a:gd name="connsiteY2993" fmla="*/ 2323343 h 8861755"/>
              <a:gd name="connsiteX2994" fmla="*/ 3912230 w 4772243"/>
              <a:gd name="connsiteY2994" fmla="*/ 2355133 h 8861755"/>
              <a:gd name="connsiteX2995" fmla="*/ 3899631 w 4772243"/>
              <a:gd name="connsiteY2995" fmla="*/ 2334358 h 8861755"/>
              <a:gd name="connsiteX2996" fmla="*/ 3871871 w 4772243"/>
              <a:gd name="connsiteY2996" fmla="*/ 2296365 h 8861755"/>
              <a:gd name="connsiteX2997" fmla="*/ 3839876 w 4772243"/>
              <a:gd name="connsiteY2997" fmla="*/ 2261863 h 8861755"/>
              <a:gd name="connsiteX2998" fmla="*/ 3803740 w 4772243"/>
              <a:gd name="connsiteY2998" fmla="*/ 2231051 h 8861755"/>
              <a:gd name="connsiteX2999" fmla="*/ 3764669 w 4772243"/>
              <a:gd name="connsiteY2999" fmla="*/ 2203701 h 8861755"/>
              <a:gd name="connsiteX3000" fmla="*/ 3721450 w 4772243"/>
              <a:gd name="connsiteY3000" fmla="*/ 2179341 h 8861755"/>
              <a:gd name="connsiteX3001" fmla="*/ 3675478 w 4772243"/>
              <a:gd name="connsiteY3001" fmla="*/ 2158141 h 8861755"/>
              <a:gd name="connsiteX3002" fmla="*/ 3626190 w 4772243"/>
              <a:gd name="connsiteY3002" fmla="*/ 2139612 h 8861755"/>
              <a:gd name="connsiteX3003" fmla="*/ 3600257 w 4772243"/>
              <a:gd name="connsiteY3003" fmla="*/ 2131426 h 8861755"/>
              <a:gd name="connsiteX3004" fmla="*/ 3578053 w 4772243"/>
              <a:gd name="connsiteY3004" fmla="*/ 2124165 h 8861755"/>
              <a:gd name="connsiteX3005" fmla="*/ 3534898 w 4772243"/>
              <a:gd name="connsiteY3005" fmla="*/ 2105411 h 8861755"/>
              <a:gd name="connsiteX3006" fmla="*/ 3514882 w 4772243"/>
              <a:gd name="connsiteY3006" fmla="*/ 2094499 h 8861755"/>
              <a:gd name="connsiteX3007" fmla="*/ 3488322 w 4772243"/>
              <a:gd name="connsiteY3007" fmla="*/ 2080217 h 8861755"/>
              <a:gd name="connsiteX3008" fmla="*/ 3448340 w 4772243"/>
              <a:gd name="connsiteY3008" fmla="*/ 2062601 h 8861755"/>
              <a:gd name="connsiteX3009" fmla="*/ 3420899 w 4772243"/>
              <a:gd name="connsiteY3009" fmla="*/ 2052642 h 8861755"/>
              <a:gd name="connsiteX3010" fmla="*/ 3393388 w 4772243"/>
              <a:gd name="connsiteY3010" fmla="*/ 2044587 h 8861755"/>
              <a:gd name="connsiteX3011" fmla="*/ 3365519 w 4772243"/>
              <a:gd name="connsiteY3011" fmla="*/ 2037842 h 8861755"/>
              <a:gd name="connsiteX3012" fmla="*/ 3337484 w 4772243"/>
              <a:gd name="connsiteY3012" fmla="*/ 2032802 h 8861755"/>
              <a:gd name="connsiteX3013" fmla="*/ 3309005 w 4772243"/>
              <a:gd name="connsiteY3013" fmla="*/ 2029574 h 8861755"/>
              <a:gd name="connsiteX3014" fmla="*/ 3280074 w 4772243"/>
              <a:gd name="connsiteY3014" fmla="*/ 2027457 h 8861755"/>
              <a:gd name="connsiteX3015" fmla="*/ 3250794 w 4772243"/>
              <a:gd name="connsiteY3015" fmla="*/ 2027349 h 8861755"/>
              <a:gd name="connsiteX3016" fmla="*/ 3221807 w 4772243"/>
              <a:gd name="connsiteY3016" fmla="*/ 2028537 h 8861755"/>
              <a:gd name="connsiteX3017" fmla="*/ 3191908 w 4772243"/>
              <a:gd name="connsiteY3017" fmla="*/ 2031247 h 8861755"/>
              <a:gd name="connsiteX3018" fmla="*/ 3147089 w 4772243"/>
              <a:gd name="connsiteY3018" fmla="*/ 2037764 h 8861755"/>
              <a:gd name="connsiteX3019" fmla="*/ 3086181 w 4772243"/>
              <a:gd name="connsiteY3019" fmla="*/ 2051818 h 8861755"/>
              <a:gd name="connsiteX3020" fmla="*/ 3054967 w 4772243"/>
              <a:gd name="connsiteY3020" fmla="*/ 2061363 h 8861755"/>
              <a:gd name="connsiteX3021" fmla="*/ 2994496 w 4772243"/>
              <a:gd name="connsiteY3021" fmla="*/ 2081116 h 8861755"/>
              <a:gd name="connsiteX3022" fmla="*/ 2921341 w 4772243"/>
              <a:gd name="connsiteY3022" fmla="*/ 2105233 h 8861755"/>
              <a:gd name="connsiteX3023" fmla="*/ 2943531 w 4772243"/>
              <a:gd name="connsiteY3023" fmla="*/ 2127515 h 8861755"/>
              <a:gd name="connsiteX3024" fmla="*/ 2973344 w 4772243"/>
              <a:gd name="connsiteY3024" fmla="*/ 2158156 h 8861755"/>
              <a:gd name="connsiteX3025" fmla="*/ 2993716 w 4772243"/>
              <a:gd name="connsiteY3025" fmla="*/ 2175970 h 8861755"/>
              <a:gd name="connsiteX3026" fmla="*/ 3004767 w 4772243"/>
              <a:gd name="connsiteY3026" fmla="*/ 2183257 h 8861755"/>
              <a:gd name="connsiteX3027" fmla="*/ 3044545 w 4772243"/>
              <a:gd name="connsiteY3027" fmla="*/ 2207287 h 8861755"/>
              <a:gd name="connsiteX3028" fmla="*/ 3105708 w 4772243"/>
              <a:gd name="connsiteY3028" fmla="*/ 2240296 h 8861755"/>
              <a:gd name="connsiteX3029" fmla="*/ 3147856 w 4772243"/>
              <a:gd name="connsiteY3029" fmla="*/ 2260372 h 8861755"/>
              <a:gd name="connsiteX3030" fmla="*/ 3191099 w 4772243"/>
              <a:gd name="connsiteY3030" fmla="*/ 2278623 h 8861755"/>
              <a:gd name="connsiteX3031" fmla="*/ 3235992 w 4772243"/>
              <a:gd name="connsiteY3031" fmla="*/ 2294836 h 8861755"/>
              <a:gd name="connsiteX3032" fmla="*/ 3282067 w 4772243"/>
              <a:gd name="connsiteY3032" fmla="*/ 2308724 h 8861755"/>
              <a:gd name="connsiteX3033" fmla="*/ 3329966 w 4772243"/>
              <a:gd name="connsiteY3033" fmla="*/ 2319570 h 8861755"/>
              <a:gd name="connsiteX3034" fmla="*/ 3354740 w 4772243"/>
              <a:gd name="connsiteY3034" fmla="*/ 2323975 h 8861755"/>
              <a:gd name="connsiteX3035" fmla="*/ 3371320 w 4772243"/>
              <a:gd name="connsiteY3035" fmla="*/ 2327044 h 8861755"/>
              <a:gd name="connsiteX3036" fmla="*/ 3403194 w 4772243"/>
              <a:gd name="connsiteY3036" fmla="*/ 2334610 h 8861755"/>
              <a:gd name="connsiteX3037" fmla="*/ 3433420 w 4772243"/>
              <a:gd name="connsiteY3037" fmla="*/ 2344212 h 8861755"/>
              <a:gd name="connsiteX3038" fmla="*/ 3461526 w 4772243"/>
              <a:gd name="connsiteY3038" fmla="*/ 2355559 h 8861755"/>
              <a:gd name="connsiteX3039" fmla="*/ 3488538 w 4772243"/>
              <a:gd name="connsiteY3039" fmla="*/ 2368731 h 8861755"/>
              <a:gd name="connsiteX3040" fmla="*/ 3513805 w 4772243"/>
              <a:gd name="connsiteY3040" fmla="*/ 2383740 h 8861755"/>
              <a:gd name="connsiteX3041" fmla="*/ 3538533 w 4772243"/>
              <a:gd name="connsiteY3041" fmla="*/ 2400364 h 8861755"/>
              <a:gd name="connsiteX3042" fmla="*/ 3561984 w 4772243"/>
              <a:gd name="connsiteY3042" fmla="*/ 2419117 h 8861755"/>
              <a:gd name="connsiteX3043" fmla="*/ 3573621 w 4772243"/>
              <a:gd name="connsiteY3043" fmla="*/ 2428995 h 8861755"/>
              <a:gd name="connsiteX3044" fmla="*/ 3594367 w 4772243"/>
              <a:gd name="connsiteY3044" fmla="*/ 2446902 h 8861755"/>
              <a:gd name="connsiteX3045" fmla="*/ 3640284 w 4772243"/>
              <a:gd name="connsiteY3045" fmla="*/ 2479620 h 8861755"/>
              <a:gd name="connsiteX3046" fmla="*/ 3689065 w 4772243"/>
              <a:gd name="connsiteY3046" fmla="*/ 2510777 h 8861755"/>
              <a:gd name="connsiteX3047" fmla="*/ 3736822 w 4772243"/>
              <a:gd name="connsiteY3047" fmla="*/ 2541856 h 8861755"/>
              <a:gd name="connsiteX3048" fmla="*/ 3759503 w 4772243"/>
              <a:gd name="connsiteY3048" fmla="*/ 2558320 h 8861755"/>
              <a:gd name="connsiteX3049" fmla="*/ 3777408 w 4772243"/>
              <a:gd name="connsiteY3049" fmla="*/ 2571677 h 8861755"/>
              <a:gd name="connsiteX3050" fmla="*/ 3810997 w 4772243"/>
              <a:gd name="connsiteY3050" fmla="*/ 2599237 h 8861755"/>
              <a:gd name="connsiteX3051" fmla="*/ 3859358 w 4772243"/>
              <a:gd name="connsiteY3051" fmla="*/ 2642521 h 8861755"/>
              <a:gd name="connsiteX3052" fmla="*/ 3890552 w 4772243"/>
              <a:gd name="connsiteY3052" fmla="*/ 2671931 h 8861755"/>
              <a:gd name="connsiteX3053" fmla="*/ 3892909 w 4772243"/>
              <a:gd name="connsiteY3053" fmla="*/ 2674787 h 8861755"/>
              <a:gd name="connsiteX3054" fmla="*/ 3892727 w 4772243"/>
              <a:gd name="connsiteY3054" fmla="*/ 2683304 h 8861755"/>
              <a:gd name="connsiteX3055" fmla="*/ 3890244 w 4772243"/>
              <a:gd name="connsiteY3055" fmla="*/ 2693869 h 8861755"/>
              <a:gd name="connsiteX3056" fmla="*/ 3888595 w 4772243"/>
              <a:gd name="connsiteY3056" fmla="*/ 2704119 h 8861755"/>
              <a:gd name="connsiteX3057" fmla="*/ 3889484 w 4772243"/>
              <a:gd name="connsiteY3057" fmla="*/ 2708707 h 8861755"/>
              <a:gd name="connsiteX3058" fmla="*/ 3895569 w 4772243"/>
              <a:gd name="connsiteY3058" fmla="*/ 2728913 h 8861755"/>
              <a:gd name="connsiteX3059" fmla="*/ 3901346 w 4772243"/>
              <a:gd name="connsiteY3059" fmla="*/ 2762844 h 8861755"/>
              <a:gd name="connsiteX3060" fmla="*/ 3901252 w 4772243"/>
              <a:gd name="connsiteY3060" fmla="*/ 2779071 h 8861755"/>
              <a:gd name="connsiteX3061" fmla="*/ 3899269 w 4772243"/>
              <a:gd name="connsiteY3061" fmla="*/ 2784519 h 8861755"/>
              <a:gd name="connsiteX3062" fmla="*/ 3895739 w 4772243"/>
              <a:gd name="connsiteY3062" fmla="*/ 2784690 h 8861755"/>
              <a:gd name="connsiteX3063" fmla="*/ 3890837 w 4772243"/>
              <a:gd name="connsiteY3063" fmla="*/ 2778582 h 8861755"/>
              <a:gd name="connsiteX3064" fmla="*/ 3887520 w 4772243"/>
              <a:gd name="connsiteY3064" fmla="*/ 2773040 h 8861755"/>
              <a:gd name="connsiteX3065" fmla="*/ 3880744 w 4772243"/>
              <a:gd name="connsiteY3065" fmla="*/ 2757555 h 8861755"/>
              <a:gd name="connsiteX3066" fmla="*/ 3871731 w 4772243"/>
              <a:gd name="connsiteY3066" fmla="*/ 2725089 h 8861755"/>
              <a:gd name="connsiteX3067" fmla="*/ 3868200 w 4772243"/>
              <a:gd name="connsiteY3067" fmla="*/ 2708838 h 8861755"/>
              <a:gd name="connsiteX3068" fmla="*/ 3865574 w 4772243"/>
              <a:gd name="connsiteY3068" fmla="*/ 2698576 h 8861755"/>
              <a:gd name="connsiteX3069" fmla="*/ 3858385 w 4772243"/>
              <a:gd name="connsiteY3069" fmla="*/ 2679494 h 8861755"/>
              <a:gd name="connsiteX3070" fmla="*/ 3849348 w 4772243"/>
              <a:gd name="connsiteY3070" fmla="*/ 2661350 h 8861755"/>
              <a:gd name="connsiteX3071" fmla="*/ 3838004 w 4772243"/>
              <a:gd name="connsiteY3071" fmla="*/ 2644556 h 8861755"/>
              <a:gd name="connsiteX3072" fmla="*/ 3824168 w 4772243"/>
              <a:gd name="connsiteY3072" fmla="*/ 2629414 h 8861755"/>
              <a:gd name="connsiteX3073" fmla="*/ 3808856 w 4772243"/>
              <a:gd name="connsiteY3073" fmla="*/ 2615304 h 8861755"/>
              <a:gd name="connsiteX3074" fmla="*/ 3791792 w 4772243"/>
              <a:gd name="connsiteY3074" fmla="*/ 2602330 h 8861755"/>
              <a:gd name="connsiteX3075" fmla="*/ 3772324 w 4772243"/>
              <a:gd name="connsiteY3075" fmla="*/ 2590507 h 8861755"/>
              <a:gd name="connsiteX3076" fmla="*/ 3762226 w 4772243"/>
              <a:gd name="connsiteY3076" fmla="*/ 2585204 h 8861755"/>
              <a:gd name="connsiteX3077" fmla="*/ 3687250 w 4772243"/>
              <a:gd name="connsiteY3077" fmla="*/ 2547367 h 8861755"/>
              <a:gd name="connsiteX3078" fmla="*/ 3607507 w 4772243"/>
              <a:gd name="connsiteY3078" fmla="*/ 2507124 h 8861755"/>
              <a:gd name="connsiteX3079" fmla="*/ 3718803 w 4772243"/>
              <a:gd name="connsiteY3079" fmla="*/ 2739006 h 8861755"/>
              <a:gd name="connsiteX3080" fmla="*/ 3716304 w 4772243"/>
              <a:gd name="connsiteY3080" fmla="*/ 2739959 h 8861755"/>
              <a:gd name="connsiteX3081" fmla="*/ 3713710 w 4772243"/>
              <a:gd name="connsiteY3081" fmla="*/ 2740712 h 8861755"/>
              <a:gd name="connsiteX3082" fmla="*/ 3631589 w 4772243"/>
              <a:gd name="connsiteY3082" fmla="*/ 2597667 h 8861755"/>
              <a:gd name="connsiteX3083" fmla="*/ 3549103 w 4772243"/>
              <a:gd name="connsiteY3083" fmla="*/ 2455230 h 8861755"/>
              <a:gd name="connsiteX3084" fmla="*/ 3540010 w 4772243"/>
              <a:gd name="connsiteY3084" fmla="*/ 2440393 h 8861755"/>
              <a:gd name="connsiteX3085" fmla="*/ 3517043 w 4772243"/>
              <a:gd name="connsiteY3085" fmla="*/ 2415121 h 8861755"/>
              <a:gd name="connsiteX3086" fmla="*/ 3496695 w 4772243"/>
              <a:gd name="connsiteY3086" fmla="*/ 2399410 h 8861755"/>
              <a:gd name="connsiteX3087" fmla="*/ 3481440 w 4772243"/>
              <a:gd name="connsiteY3087" fmla="*/ 2390206 h 8861755"/>
              <a:gd name="connsiteX3088" fmla="*/ 3464995 w 4772243"/>
              <a:gd name="connsiteY3088" fmla="*/ 2382628 h 8861755"/>
              <a:gd name="connsiteX3089" fmla="*/ 3446518 w 4772243"/>
              <a:gd name="connsiteY3089" fmla="*/ 2376292 h 8861755"/>
              <a:gd name="connsiteX3090" fmla="*/ 3436912 w 4772243"/>
              <a:gd name="connsiteY3090" fmla="*/ 2373384 h 8861755"/>
              <a:gd name="connsiteX3091" fmla="*/ 3262577 w 4772243"/>
              <a:gd name="connsiteY3091" fmla="*/ 2327646 h 8861755"/>
              <a:gd name="connsiteX3092" fmla="*/ 3093090 w 4772243"/>
              <a:gd name="connsiteY3092" fmla="*/ 2283113 h 8861755"/>
              <a:gd name="connsiteX3093" fmla="*/ 3194769 w 4772243"/>
              <a:gd name="connsiteY3093" fmla="*/ 2494962 h 8861755"/>
              <a:gd name="connsiteX3094" fmla="*/ 3187075 w 4772243"/>
              <a:gd name="connsiteY3094" fmla="*/ 2488509 h 8861755"/>
              <a:gd name="connsiteX3095" fmla="*/ 3179942 w 4772243"/>
              <a:gd name="connsiteY3095" fmla="*/ 2482545 h 8861755"/>
              <a:gd name="connsiteX3096" fmla="*/ 3193782 w 4772243"/>
              <a:gd name="connsiteY3096" fmla="*/ 2563381 h 8861755"/>
              <a:gd name="connsiteX3097" fmla="*/ 3207924 w 4772243"/>
              <a:gd name="connsiteY3097" fmla="*/ 2646215 h 8861755"/>
              <a:gd name="connsiteX3098" fmla="*/ 3208725 w 4772243"/>
              <a:gd name="connsiteY3098" fmla="*/ 2651306 h 8861755"/>
              <a:gd name="connsiteX3099" fmla="*/ 3206893 w 4772243"/>
              <a:gd name="connsiteY3099" fmla="*/ 2661859 h 8861755"/>
              <a:gd name="connsiteX3100" fmla="*/ 3202531 w 4772243"/>
              <a:gd name="connsiteY3100" fmla="*/ 2670559 h 8861755"/>
              <a:gd name="connsiteX3101" fmla="*/ 3198041 w 4772243"/>
              <a:gd name="connsiteY3101" fmla="*/ 2676258 h 8861755"/>
              <a:gd name="connsiteX3102" fmla="*/ 3196375 w 4772243"/>
              <a:gd name="connsiteY3102" fmla="*/ 2676894 h 8861755"/>
              <a:gd name="connsiteX3103" fmla="*/ 3183974 w 4772243"/>
              <a:gd name="connsiteY3103" fmla="*/ 2632581 h 8861755"/>
              <a:gd name="connsiteX3104" fmla="*/ 3157963 w 4772243"/>
              <a:gd name="connsiteY3104" fmla="*/ 2527755 h 8861755"/>
              <a:gd name="connsiteX3105" fmla="*/ 3144689 w 4772243"/>
              <a:gd name="connsiteY3105" fmla="*/ 2480255 h 8861755"/>
              <a:gd name="connsiteX3106" fmla="*/ 3142857 w 4772243"/>
              <a:gd name="connsiteY3106" fmla="*/ 2482595 h 8861755"/>
              <a:gd name="connsiteX3107" fmla="*/ 3141191 w 4772243"/>
              <a:gd name="connsiteY3107" fmla="*/ 2491441 h 8861755"/>
              <a:gd name="connsiteX3108" fmla="*/ 3139415 w 4772243"/>
              <a:gd name="connsiteY3108" fmla="*/ 2506900 h 8861755"/>
              <a:gd name="connsiteX3109" fmla="*/ 3137702 w 4772243"/>
              <a:gd name="connsiteY3109" fmla="*/ 2511542 h 8861755"/>
              <a:gd name="connsiteX3110" fmla="*/ 3135861 w 4772243"/>
              <a:gd name="connsiteY3110" fmla="*/ 2513181 h 8861755"/>
              <a:gd name="connsiteX3111" fmla="*/ 3132062 w 4772243"/>
              <a:gd name="connsiteY3111" fmla="*/ 2514159 h 8861755"/>
              <a:gd name="connsiteX3112" fmla="*/ 3126850 w 4772243"/>
              <a:gd name="connsiteY3112" fmla="*/ 2513564 h 8861755"/>
              <a:gd name="connsiteX3113" fmla="*/ 3124502 w 4772243"/>
              <a:gd name="connsiteY3113" fmla="*/ 2511409 h 8861755"/>
              <a:gd name="connsiteX3114" fmla="*/ 3126286 w 4772243"/>
              <a:gd name="connsiteY3114" fmla="*/ 2504863 h 8861755"/>
              <a:gd name="connsiteX3115" fmla="*/ 3128442 w 4772243"/>
              <a:gd name="connsiteY3115" fmla="*/ 2490199 h 8861755"/>
              <a:gd name="connsiteX3116" fmla="*/ 3128338 w 4772243"/>
              <a:gd name="connsiteY3116" fmla="*/ 2464663 h 8861755"/>
              <a:gd name="connsiteX3117" fmla="*/ 3122228 w 4772243"/>
              <a:gd name="connsiteY3117" fmla="*/ 2425930 h 8861755"/>
              <a:gd name="connsiteX3118" fmla="*/ 3108921 w 4772243"/>
              <a:gd name="connsiteY3118" fmla="*/ 2383840 h 8861755"/>
              <a:gd name="connsiteX3119" fmla="*/ 3088540 w 4772243"/>
              <a:gd name="connsiteY3119" fmla="*/ 2340689 h 8861755"/>
              <a:gd name="connsiteX3120" fmla="*/ 3068015 w 4772243"/>
              <a:gd name="connsiteY3120" fmla="*/ 2309559 h 8861755"/>
              <a:gd name="connsiteX3121" fmla="*/ 3052546 w 4772243"/>
              <a:gd name="connsiteY3121" fmla="*/ 2289644 h 8861755"/>
              <a:gd name="connsiteX3122" fmla="*/ 3035140 w 4772243"/>
              <a:gd name="connsiteY3122" fmla="*/ 2271169 h 8861755"/>
              <a:gd name="connsiteX3123" fmla="*/ 3015513 w 4772243"/>
              <a:gd name="connsiteY3123" fmla="*/ 2253541 h 8861755"/>
              <a:gd name="connsiteX3124" fmla="*/ 2994514 w 4772243"/>
              <a:gd name="connsiteY3124" fmla="*/ 2237844 h 8861755"/>
              <a:gd name="connsiteX3125" fmla="*/ 2971492 w 4772243"/>
              <a:gd name="connsiteY3125" fmla="*/ 2224089 h 8861755"/>
              <a:gd name="connsiteX3126" fmla="*/ 2959433 w 4772243"/>
              <a:gd name="connsiteY3126" fmla="*/ 2218125 h 8861755"/>
              <a:gd name="connsiteX3127" fmla="*/ 2952238 w 4772243"/>
              <a:gd name="connsiteY3127" fmla="*/ 2214766 h 8861755"/>
              <a:gd name="connsiteX3128" fmla="*/ 2939411 w 4772243"/>
              <a:gd name="connsiteY3128" fmla="*/ 2206513 h 8861755"/>
              <a:gd name="connsiteX3129" fmla="*/ 2921394 w 4772243"/>
              <a:gd name="connsiteY3129" fmla="*/ 2191556 h 8861755"/>
              <a:gd name="connsiteX3130" fmla="*/ 2889002 w 4772243"/>
              <a:gd name="connsiteY3130" fmla="*/ 2154859 h 8861755"/>
              <a:gd name="connsiteX3131" fmla="*/ 2864821 w 4772243"/>
              <a:gd name="connsiteY3131" fmla="*/ 2129111 h 8861755"/>
              <a:gd name="connsiteX3132" fmla="*/ 2845108 w 4772243"/>
              <a:gd name="connsiteY3132" fmla="*/ 2136621 h 8861755"/>
              <a:gd name="connsiteX3133" fmla="*/ 2807489 w 4772243"/>
              <a:gd name="connsiteY3133" fmla="*/ 2149832 h 8861755"/>
              <a:gd name="connsiteX3134" fmla="*/ 2807662 w 4772243"/>
              <a:gd name="connsiteY3134" fmla="*/ 2170502 h 8861755"/>
              <a:gd name="connsiteX3135" fmla="*/ 2810985 w 4772243"/>
              <a:gd name="connsiteY3135" fmla="*/ 2242332 h 8861755"/>
              <a:gd name="connsiteX3136" fmla="*/ 2812495 w 4772243"/>
              <a:gd name="connsiteY3136" fmla="*/ 2261971 h 8861755"/>
              <a:gd name="connsiteX3137" fmla="*/ 2818234 w 4772243"/>
              <a:gd name="connsiteY3137" fmla="*/ 2301518 h 8861755"/>
              <a:gd name="connsiteX3138" fmla="*/ 2830618 w 4772243"/>
              <a:gd name="connsiteY3138" fmla="*/ 2360434 h 8861755"/>
              <a:gd name="connsiteX3139" fmla="*/ 2837404 w 4772243"/>
              <a:gd name="connsiteY3139" fmla="*/ 2396215 h 8861755"/>
              <a:gd name="connsiteX3140" fmla="*/ 2837404 w 4772243"/>
              <a:gd name="connsiteY3140" fmla="*/ 2805544 h 8861755"/>
              <a:gd name="connsiteX3141" fmla="*/ 2812495 w 4772243"/>
              <a:gd name="connsiteY3141" fmla="*/ 2861091 h 8861755"/>
              <a:gd name="connsiteX3142" fmla="*/ 2760543 w 4772243"/>
              <a:gd name="connsiteY3142" fmla="*/ 2967625 h 8861755"/>
              <a:gd name="connsiteX3143" fmla="*/ 2718257 w 4772243"/>
              <a:gd name="connsiteY3143" fmla="*/ 3043490 h 8861755"/>
              <a:gd name="connsiteX3144" fmla="*/ 2706982 w 4772243"/>
              <a:gd name="connsiteY3144" fmla="*/ 3061919 h 8861755"/>
              <a:gd name="connsiteX3145" fmla="*/ 2697247 w 4772243"/>
              <a:gd name="connsiteY3145" fmla="*/ 3058464 h 8861755"/>
              <a:gd name="connsiteX3146" fmla="*/ 2578473 w 4772243"/>
              <a:gd name="connsiteY3146" fmla="*/ 3037743 h 8861755"/>
              <a:gd name="connsiteX3147" fmla="*/ 2573886 w 4772243"/>
              <a:gd name="connsiteY3147" fmla="*/ 3037478 h 8861755"/>
              <a:gd name="connsiteX3148" fmla="*/ 2575087 w 4772243"/>
              <a:gd name="connsiteY3148" fmla="*/ 3036765 h 8861755"/>
              <a:gd name="connsiteX3149" fmla="*/ 2590492 w 4772243"/>
              <a:gd name="connsiteY3149" fmla="*/ 3024928 h 8861755"/>
              <a:gd name="connsiteX3150" fmla="*/ 2602272 w 4772243"/>
              <a:gd name="connsiteY3150" fmla="*/ 3012015 h 8861755"/>
              <a:gd name="connsiteX3151" fmla="*/ 2606500 w 4772243"/>
              <a:gd name="connsiteY3151" fmla="*/ 3005289 h 8861755"/>
              <a:gd name="connsiteX3152" fmla="*/ 2625831 w 4772243"/>
              <a:gd name="connsiteY3152" fmla="*/ 2970585 h 8861755"/>
              <a:gd name="connsiteX3153" fmla="*/ 2660868 w 4772243"/>
              <a:gd name="connsiteY3153" fmla="*/ 2901176 h 8861755"/>
              <a:gd name="connsiteX3154" fmla="*/ 2692281 w 4772243"/>
              <a:gd name="connsiteY3154" fmla="*/ 2831498 h 8861755"/>
              <a:gd name="connsiteX3155" fmla="*/ 2718559 w 4772243"/>
              <a:gd name="connsiteY3155" fmla="*/ 2760744 h 8861755"/>
              <a:gd name="connsiteX3156" fmla="*/ 2738796 w 4772243"/>
              <a:gd name="connsiteY3156" fmla="*/ 2688915 h 8861755"/>
              <a:gd name="connsiteX3157" fmla="*/ 2752086 w 4772243"/>
              <a:gd name="connsiteY3157" fmla="*/ 2616009 h 8861755"/>
              <a:gd name="connsiteX3158" fmla="*/ 2757221 w 4772243"/>
              <a:gd name="connsiteY3158" fmla="*/ 2560320 h 8861755"/>
              <a:gd name="connsiteX3159" fmla="*/ 2758127 w 4772243"/>
              <a:gd name="connsiteY3159" fmla="*/ 2522926 h 8861755"/>
              <a:gd name="connsiteX3160" fmla="*/ 2756616 w 4772243"/>
              <a:gd name="connsiteY3160" fmla="*/ 2484994 h 8861755"/>
              <a:gd name="connsiteX3161" fmla="*/ 2752993 w 4772243"/>
              <a:gd name="connsiteY3161" fmla="*/ 2446523 h 8861755"/>
              <a:gd name="connsiteX3162" fmla="*/ 2750274 w 4772243"/>
              <a:gd name="connsiteY3162" fmla="*/ 2427422 h 8861755"/>
              <a:gd name="connsiteX3163" fmla="*/ 2742723 w 4772243"/>
              <a:gd name="connsiteY3163" fmla="*/ 2377921 h 8861755"/>
              <a:gd name="connsiteX3164" fmla="*/ 2731547 w 4772243"/>
              <a:gd name="connsiteY3164" fmla="*/ 2278382 h 8861755"/>
              <a:gd name="connsiteX3165" fmla="*/ 2723090 w 4772243"/>
              <a:gd name="connsiteY3165" fmla="*/ 2178842 h 8861755"/>
              <a:gd name="connsiteX3166" fmla="*/ 2717653 w 4772243"/>
              <a:gd name="connsiteY3166" fmla="*/ 2079033 h 8861755"/>
              <a:gd name="connsiteX3167" fmla="*/ 2715840 w 4772243"/>
              <a:gd name="connsiteY3167" fmla="*/ 2029263 h 8861755"/>
              <a:gd name="connsiteX3168" fmla="*/ 2715236 w 4772243"/>
              <a:gd name="connsiteY3168" fmla="*/ 2009355 h 8861755"/>
              <a:gd name="connsiteX3169" fmla="*/ 2718559 w 4772243"/>
              <a:gd name="connsiteY3169" fmla="*/ 1970616 h 8861755"/>
              <a:gd name="connsiteX3170" fmla="*/ 2727016 w 4772243"/>
              <a:gd name="connsiteY3170" fmla="*/ 1933760 h 8861755"/>
              <a:gd name="connsiteX3171" fmla="*/ 2740910 w 4772243"/>
              <a:gd name="connsiteY3171" fmla="*/ 1898517 h 8861755"/>
              <a:gd name="connsiteX3172" fmla="*/ 2759939 w 4772243"/>
              <a:gd name="connsiteY3172" fmla="*/ 1864889 h 8861755"/>
              <a:gd name="connsiteX3173" fmla="*/ 2784707 w 4772243"/>
              <a:gd name="connsiteY3173" fmla="*/ 1833681 h 8861755"/>
              <a:gd name="connsiteX3174" fmla="*/ 2815214 w 4772243"/>
              <a:gd name="connsiteY3174" fmla="*/ 1804358 h 8861755"/>
              <a:gd name="connsiteX3175" fmla="*/ 2851761 w 4772243"/>
              <a:gd name="connsiteY3175" fmla="*/ 1776648 h 8861755"/>
              <a:gd name="connsiteX3176" fmla="*/ 2872300 w 4772243"/>
              <a:gd name="connsiteY3176" fmla="*/ 1764272 h 8861755"/>
              <a:gd name="connsiteX3177" fmla="*/ 2885288 w 4772243"/>
              <a:gd name="connsiteY3177" fmla="*/ 1756202 h 8861755"/>
              <a:gd name="connsiteX3178" fmla="*/ 2909150 w 4772243"/>
              <a:gd name="connsiteY3178" fmla="*/ 1737640 h 8861755"/>
              <a:gd name="connsiteX3179" fmla="*/ 2942375 w 4772243"/>
              <a:gd name="connsiteY3179" fmla="*/ 1707239 h 8861755"/>
              <a:gd name="connsiteX3180" fmla="*/ 2964726 w 4772243"/>
              <a:gd name="connsiteY3180" fmla="*/ 1687062 h 8861755"/>
              <a:gd name="connsiteX3181" fmla="*/ 2971371 w 4772243"/>
              <a:gd name="connsiteY3181" fmla="*/ 1680875 h 8861755"/>
              <a:gd name="connsiteX3182" fmla="*/ 2978318 w 4772243"/>
              <a:gd name="connsiteY3182" fmla="*/ 1668230 h 8861755"/>
              <a:gd name="connsiteX3183" fmla="*/ 2979224 w 4772243"/>
              <a:gd name="connsiteY3183" fmla="*/ 1655048 h 8861755"/>
              <a:gd name="connsiteX3184" fmla="*/ 2974996 w 4772243"/>
              <a:gd name="connsiteY3184" fmla="*/ 1639983 h 8861755"/>
              <a:gd name="connsiteX3185" fmla="*/ 2971069 w 4772243"/>
              <a:gd name="connsiteY3185" fmla="*/ 1631912 h 8861755"/>
              <a:gd name="connsiteX3186" fmla="*/ 2930293 w 4772243"/>
              <a:gd name="connsiteY3186" fmla="*/ 1546900 h 8861755"/>
              <a:gd name="connsiteX3187" fmla="*/ 2852365 w 4772243"/>
              <a:gd name="connsiteY3187" fmla="*/ 1375799 h 8861755"/>
              <a:gd name="connsiteX3188" fmla="*/ 2813704 w 4772243"/>
              <a:gd name="connsiteY3188" fmla="*/ 1290249 h 8861755"/>
              <a:gd name="connsiteX3189" fmla="*/ 2818838 w 4772243"/>
              <a:gd name="connsiteY3189" fmla="*/ 1288634 h 8861755"/>
              <a:gd name="connsiteX3190" fmla="*/ 2823973 w 4772243"/>
              <a:gd name="connsiteY3190" fmla="*/ 1286751 h 8861755"/>
              <a:gd name="connsiteX3191" fmla="*/ 2851157 w 4772243"/>
              <a:gd name="connsiteY3191" fmla="*/ 1331679 h 8861755"/>
              <a:gd name="connsiteX3192" fmla="*/ 2878945 w 4772243"/>
              <a:gd name="connsiteY3192" fmla="*/ 1376338 h 8861755"/>
              <a:gd name="connsiteX3193" fmla="*/ 2882570 w 4772243"/>
              <a:gd name="connsiteY3193" fmla="*/ 1347821 h 8861755"/>
              <a:gd name="connsiteX3194" fmla="*/ 2887100 w 4772243"/>
              <a:gd name="connsiteY3194" fmla="*/ 1291056 h 8861755"/>
              <a:gd name="connsiteX3195" fmla="*/ 2889215 w 4772243"/>
              <a:gd name="connsiteY3195" fmla="*/ 1234830 h 8861755"/>
              <a:gd name="connsiteX3196" fmla="*/ 2889215 w 4772243"/>
              <a:gd name="connsiteY3196" fmla="*/ 1179410 h 8861755"/>
              <a:gd name="connsiteX3197" fmla="*/ 2888006 w 4772243"/>
              <a:gd name="connsiteY3197" fmla="*/ 1151432 h 8861755"/>
              <a:gd name="connsiteX3198" fmla="*/ 2885288 w 4772243"/>
              <a:gd name="connsiteY3198" fmla="*/ 1096820 h 8861755"/>
              <a:gd name="connsiteX3199" fmla="*/ 2875019 w 4772243"/>
              <a:gd name="connsiteY3199" fmla="*/ 987057 h 8861755"/>
              <a:gd name="connsiteX3200" fmla="*/ 2870488 w 4772243"/>
              <a:gd name="connsiteY3200" fmla="*/ 932175 h 8861755"/>
              <a:gd name="connsiteX3201" fmla="*/ 2875925 w 4772243"/>
              <a:gd name="connsiteY3201" fmla="*/ 945089 h 8861755"/>
              <a:gd name="connsiteX3202" fmla="*/ 2885288 w 4772243"/>
              <a:gd name="connsiteY3202" fmla="*/ 971991 h 8861755"/>
              <a:gd name="connsiteX3203" fmla="*/ 2892839 w 4772243"/>
              <a:gd name="connsiteY3203" fmla="*/ 998894 h 8861755"/>
              <a:gd name="connsiteX3204" fmla="*/ 2897672 w 4772243"/>
              <a:gd name="connsiteY3204" fmla="*/ 1026065 h 8861755"/>
              <a:gd name="connsiteX3205" fmla="*/ 2899485 w 4772243"/>
              <a:gd name="connsiteY3205" fmla="*/ 1039517 h 8861755"/>
              <a:gd name="connsiteX3206" fmla="*/ 2907639 w 4772243"/>
              <a:gd name="connsiteY3206" fmla="*/ 1126681 h 8861755"/>
              <a:gd name="connsiteX3207" fmla="*/ 2922440 w 4772243"/>
              <a:gd name="connsiteY3207" fmla="*/ 1301548 h 8861755"/>
              <a:gd name="connsiteX3208" fmla="*/ 2931501 w 4772243"/>
              <a:gd name="connsiteY3208" fmla="*/ 1388713 h 8861755"/>
              <a:gd name="connsiteX3209" fmla="*/ 2935428 w 4772243"/>
              <a:gd name="connsiteY3209" fmla="*/ 1418036 h 8861755"/>
              <a:gd name="connsiteX3210" fmla="*/ 2944489 w 4772243"/>
              <a:gd name="connsiteY3210" fmla="*/ 1460811 h 8861755"/>
              <a:gd name="connsiteX3211" fmla="*/ 2952644 w 4772243"/>
              <a:gd name="connsiteY3211" fmla="*/ 1489328 h 8861755"/>
              <a:gd name="connsiteX3212" fmla="*/ 2962914 w 4772243"/>
              <a:gd name="connsiteY3212" fmla="*/ 1518114 h 8861755"/>
              <a:gd name="connsiteX3213" fmla="*/ 2975600 w 4772243"/>
              <a:gd name="connsiteY3213" fmla="*/ 1545824 h 8861755"/>
              <a:gd name="connsiteX3214" fmla="*/ 2990702 w 4772243"/>
              <a:gd name="connsiteY3214" fmla="*/ 1573802 h 8861755"/>
              <a:gd name="connsiteX3215" fmla="*/ 3009127 w 4772243"/>
              <a:gd name="connsiteY3215" fmla="*/ 1601243 h 8861755"/>
              <a:gd name="connsiteX3216" fmla="*/ 3019094 w 4772243"/>
              <a:gd name="connsiteY3216" fmla="*/ 1614963 h 8861755"/>
              <a:gd name="connsiteX3217" fmla="*/ 3043560 w 4772243"/>
              <a:gd name="connsiteY3217" fmla="*/ 1567077 h 8861755"/>
              <a:gd name="connsiteX3218" fmla="*/ 3066516 w 4772243"/>
              <a:gd name="connsiteY3218" fmla="*/ 1524571 h 8861755"/>
              <a:gd name="connsiteX3219" fmla="*/ 3080711 w 4772243"/>
              <a:gd name="connsiteY3219" fmla="*/ 1500089 h 8861755"/>
              <a:gd name="connsiteX3220" fmla="*/ 3105177 w 4772243"/>
              <a:gd name="connsiteY3220" fmla="*/ 1450320 h 8861755"/>
              <a:gd name="connsiteX3221" fmla="*/ 3125414 w 4772243"/>
              <a:gd name="connsiteY3221" fmla="*/ 1400012 h 8861755"/>
              <a:gd name="connsiteX3222" fmla="*/ 3140818 w 4772243"/>
              <a:gd name="connsiteY3222" fmla="*/ 1348896 h 8861755"/>
              <a:gd name="connsiteX3223" fmla="*/ 3152599 w 4772243"/>
              <a:gd name="connsiteY3223" fmla="*/ 1297244 h 8861755"/>
              <a:gd name="connsiteX3224" fmla="*/ 3159848 w 4772243"/>
              <a:gd name="connsiteY3224" fmla="*/ 1245321 h 8861755"/>
              <a:gd name="connsiteX3225" fmla="*/ 3162868 w 4772243"/>
              <a:gd name="connsiteY3225" fmla="*/ 1192323 h 8861755"/>
              <a:gd name="connsiteX3226" fmla="*/ 3161659 w 4772243"/>
              <a:gd name="connsiteY3226" fmla="*/ 1139057 h 8861755"/>
              <a:gd name="connsiteX3227" fmla="*/ 3159244 w 4772243"/>
              <a:gd name="connsiteY3227" fmla="*/ 1111885 h 8861755"/>
              <a:gd name="connsiteX3228" fmla="*/ 3156223 w 4772243"/>
              <a:gd name="connsiteY3228" fmla="*/ 1082830 h 8861755"/>
              <a:gd name="connsiteX3229" fmla="*/ 3144745 w 4772243"/>
              <a:gd name="connsiteY3229" fmla="*/ 1026334 h 8861755"/>
              <a:gd name="connsiteX3230" fmla="*/ 3128133 w 4772243"/>
              <a:gd name="connsiteY3230" fmla="*/ 972260 h 8861755"/>
              <a:gd name="connsiteX3231" fmla="*/ 3104875 w 4772243"/>
              <a:gd name="connsiteY3231" fmla="*/ 921145 h 8861755"/>
              <a:gd name="connsiteX3232" fmla="*/ 3082524 w 4772243"/>
              <a:gd name="connsiteY3232" fmla="*/ 884288 h 8861755"/>
              <a:gd name="connsiteX3233" fmla="*/ 3065911 w 4772243"/>
              <a:gd name="connsiteY3233" fmla="*/ 861153 h 8861755"/>
              <a:gd name="connsiteX3234" fmla="*/ 3046883 w 4772243"/>
              <a:gd name="connsiteY3234" fmla="*/ 838285 h 8861755"/>
              <a:gd name="connsiteX3235" fmla="*/ 3026344 w 4772243"/>
              <a:gd name="connsiteY3235" fmla="*/ 816494 h 8861755"/>
              <a:gd name="connsiteX3236" fmla="*/ 3003388 w 4772243"/>
              <a:gd name="connsiteY3236" fmla="*/ 795510 h 8861755"/>
              <a:gd name="connsiteX3237" fmla="*/ 2978318 w 4772243"/>
              <a:gd name="connsiteY3237" fmla="*/ 775333 h 8861755"/>
              <a:gd name="connsiteX3238" fmla="*/ 2951738 w 4772243"/>
              <a:gd name="connsiteY3238" fmla="*/ 755694 h 8861755"/>
              <a:gd name="connsiteX3239" fmla="*/ 2922440 w 4772243"/>
              <a:gd name="connsiteY3239" fmla="*/ 737131 h 8861755"/>
              <a:gd name="connsiteX3240" fmla="*/ 2906733 w 4772243"/>
              <a:gd name="connsiteY3240" fmla="*/ 728253 h 8861755"/>
              <a:gd name="connsiteX3241" fmla="*/ 2888308 w 4772243"/>
              <a:gd name="connsiteY3241" fmla="*/ 716955 h 8861755"/>
              <a:gd name="connsiteX3242" fmla="*/ 2844210 w 4772243"/>
              <a:gd name="connsiteY3242" fmla="*/ 685747 h 8861755"/>
              <a:gd name="connsiteX3243" fmla="*/ 2774438 w 4772243"/>
              <a:gd name="connsiteY3243" fmla="*/ 631942 h 8861755"/>
              <a:gd name="connsiteX3244" fmla="*/ 2736984 w 4772243"/>
              <a:gd name="connsiteY3244" fmla="*/ 605577 h 8861755"/>
              <a:gd name="connsiteX3245" fmla="*/ 2705873 w 4772243"/>
              <a:gd name="connsiteY3245" fmla="*/ 585132 h 8861755"/>
              <a:gd name="connsiteX3246" fmla="*/ 2649088 w 4772243"/>
              <a:gd name="connsiteY3246" fmla="*/ 550966 h 8861755"/>
              <a:gd name="connsiteX3247" fmla="*/ 2576900 w 4772243"/>
              <a:gd name="connsiteY3247" fmla="*/ 510612 h 8861755"/>
              <a:gd name="connsiteX3248" fmla="*/ 2511960 w 4772243"/>
              <a:gd name="connsiteY3248" fmla="*/ 477790 h 8861755"/>
              <a:gd name="connsiteX3249" fmla="*/ 2489911 w 4772243"/>
              <a:gd name="connsiteY3249" fmla="*/ 467030 h 8861755"/>
              <a:gd name="connsiteX3250" fmla="*/ 2487796 w 4772243"/>
              <a:gd name="connsiteY3250" fmla="*/ 464877 h 8861755"/>
              <a:gd name="connsiteX3251" fmla="*/ 2491723 w 4772243"/>
              <a:gd name="connsiteY3251" fmla="*/ 465684 h 8861755"/>
              <a:gd name="connsiteX3252" fmla="*/ 2509846 w 4772243"/>
              <a:gd name="connsiteY3252" fmla="*/ 469720 h 8861755"/>
              <a:gd name="connsiteX3253" fmla="*/ 2553642 w 4772243"/>
              <a:gd name="connsiteY3253" fmla="*/ 486130 h 8861755"/>
              <a:gd name="connsiteX3254" fmla="*/ 2604989 w 4772243"/>
              <a:gd name="connsiteY3254" fmla="*/ 509535 h 8861755"/>
              <a:gd name="connsiteX3255" fmla="*/ 2659660 w 4772243"/>
              <a:gd name="connsiteY3255" fmla="*/ 537514 h 8861755"/>
              <a:gd name="connsiteX3256" fmla="*/ 2742421 w 4772243"/>
              <a:gd name="connsiteY3256" fmla="*/ 583518 h 8861755"/>
              <a:gd name="connsiteX3257" fmla="*/ 2835149 w 4772243"/>
              <a:gd name="connsiteY3257" fmla="*/ 638668 h 8861755"/>
              <a:gd name="connsiteX3258" fmla="*/ 2864145 w 4772243"/>
              <a:gd name="connsiteY3258" fmla="*/ 656424 h 8861755"/>
              <a:gd name="connsiteX3259" fmla="*/ 2875019 w 4772243"/>
              <a:gd name="connsiteY3259" fmla="*/ 616339 h 8861755"/>
              <a:gd name="connsiteX3260" fmla="*/ 2883778 w 4772243"/>
              <a:gd name="connsiteY3260" fmla="*/ 583249 h 8861755"/>
              <a:gd name="connsiteX3261" fmla="*/ 2897672 w 4772243"/>
              <a:gd name="connsiteY3261" fmla="*/ 587284 h 8861755"/>
              <a:gd name="connsiteX3262" fmla="*/ 2910650 w 4772243"/>
              <a:gd name="connsiteY3262" fmla="*/ 590802 h 8861755"/>
              <a:gd name="connsiteX3263" fmla="*/ 2905223 w 4772243"/>
              <a:gd name="connsiteY3263" fmla="*/ 602080 h 8861755"/>
              <a:gd name="connsiteX3264" fmla="*/ 2898880 w 4772243"/>
              <a:gd name="connsiteY3264" fmla="*/ 623872 h 8861755"/>
              <a:gd name="connsiteX3265" fmla="*/ 2897370 w 4772243"/>
              <a:gd name="connsiteY3265" fmla="*/ 644587 h 8861755"/>
              <a:gd name="connsiteX3266" fmla="*/ 2900995 w 4772243"/>
              <a:gd name="connsiteY3266" fmla="*/ 663687 h 8861755"/>
              <a:gd name="connsiteX3267" fmla="*/ 2909150 w 4772243"/>
              <a:gd name="connsiteY3267" fmla="*/ 681711 h 8861755"/>
              <a:gd name="connsiteX3268" fmla="*/ 2921836 w 4772243"/>
              <a:gd name="connsiteY3268" fmla="*/ 698661 h 8861755"/>
              <a:gd name="connsiteX3269" fmla="*/ 2938146 w 4772243"/>
              <a:gd name="connsiteY3269" fmla="*/ 714533 h 8861755"/>
              <a:gd name="connsiteX3270" fmla="*/ 2958987 w 4772243"/>
              <a:gd name="connsiteY3270" fmla="*/ 729330 h 8861755"/>
              <a:gd name="connsiteX3271" fmla="*/ 2970767 w 4772243"/>
              <a:gd name="connsiteY3271" fmla="*/ 736594 h 8861755"/>
              <a:gd name="connsiteX3272" fmla="*/ 2996139 w 4772243"/>
              <a:gd name="connsiteY3272" fmla="*/ 753542 h 8861755"/>
              <a:gd name="connsiteX3273" fmla="*/ 3020000 w 4772243"/>
              <a:gd name="connsiteY3273" fmla="*/ 772912 h 8861755"/>
              <a:gd name="connsiteX3274" fmla="*/ 3036009 w 4772243"/>
              <a:gd name="connsiteY3274" fmla="*/ 785287 h 8861755"/>
              <a:gd name="connsiteX3275" fmla="*/ 3066213 w 4772243"/>
              <a:gd name="connsiteY3275" fmla="*/ 811652 h 8861755"/>
              <a:gd name="connsiteX3276" fmla="*/ 3092794 w 4772243"/>
              <a:gd name="connsiteY3276" fmla="*/ 839092 h 8861755"/>
              <a:gd name="connsiteX3277" fmla="*/ 3116353 w 4772243"/>
              <a:gd name="connsiteY3277" fmla="*/ 868146 h 8861755"/>
              <a:gd name="connsiteX3278" fmla="*/ 3136590 w 4772243"/>
              <a:gd name="connsiteY3278" fmla="*/ 898278 h 8861755"/>
              <a:gd name="connsiteX3279" fmla="*/ 3153505 w 4772243"/>
              <a:gd name="connsiteY3279" fmla="*/ 930023 h 8861755"/>
              <a:gd name="connsiteX3280" fmla="*/ 3167096 w 4772243"/>
              <a:gd name="connsiteY3280" fmla="*/ 963113 h 8861755"/>
              <a:gd name="connsiteX3281" fmla="*/ 3177366 w 4772243"/>
              <a:gd name="connsiteY3281" fmla="*/ 997818 h 8861755"/>
              <a:gd name="connsiteX3282" fmla="*/ 3181293 w 4772243"/>
              <a:gd name="connsiteY3282" fmla="*/ 1015574 h 8861755"/>
              <a:gd name="connsiteX3283" fmla="*/ 3185219 w 4772243"/>
              <a:gd name="connsiteY3283" fmla="*/ 1028756 h 8861755"/>
              <a:gd name="connsiteX3284" fmla="*/ 3190958 w 4772243"/>
              <a:gd name="connsiteY3284" fmla="*/ 1041400 h 8861755"/>
              <a:gd name="connsiteX3285" fmla="*/ 3190354 w 4772243"/>
              <a:gd name="connsiteY3285" fmla="*/ 992975 h 8861755"/>
              <a:gd name="connsiteX3286" fmla="*/ 3193677 w 4772243"/>
              <a:gd name="connsiteY3286" fmla="*/ 899623 h 8861755"/>
              <a:gd name="connsiteX3287" fmla="*/ 3202738 w 4772243"/>
              <a:gd name="connsiteY3287" fmla="*/ 811921 h 8861755"/>
              <a:gd name="connsiteX3288" fmla="*/ 3217236 w 4772243"/>
              <a:gd name="connsiteY3288" fmla="*/ 730674 h 8861755"/>
              <a:gd name="connsiteX3289" fmla="*/ 3237171 w 4772243"/>
              <a:gd name="connsiteY3289" fmla="*/ 655885 h 8861755"/>
              <a:gd name="connsiteX3290" fmla="*/ 3255898 w 4772243"/>
              <a:gd name="connsiteY3290" fmla="*/ 605040 h 8861755"/>
              <a:gd name="connsiteX3291" fmla="*/ 3270094 w 4772243"/>
              <a:gd name="connsiteY3291" fmla="*/ 573294 h 8861755"/>
              <a:gd name="connsiteX3292" fmla="*/ 3285499 w 4772243"/>
              <a:gd name="connsiteY3292" fmla="*/ 543970 h 8861755"/>
              <a:gd name="connsiteX3293" fmla="*/ 3302111 w 4772243"/>
              <a:gd name="connsiteY3293" fmla="*/ 516531 h 8861755"/>
              <a:gd name="connsiteX3294" fmla="*/ 3320234 w 4772243"/>
              <a:gd name="connsiteY3294" fmla="*/ 491780 h 8861755"/>
              <a:gd name="connsiteX3295" fmla="*/ 3339564 w 4772243"/>
              <a:gd name="connsiteY3295" fmla="*/ 468643 h 8861755"/>
              <a:gd name="connsiteX3296" fmla="*/ 3349532 w 4772243"/>
              <a:gd name="connsiteY3296" fmla="*/ 458690 h 8861755"/>
              <a:gd name="connsiteX3297" fmla="*/ 3300601 w 4772243"/>
              <a:gd name="connsiteY3297" fmla="*/ 564685 h 8861755"/>
              <a:gd name="connsiteX3298" fmla="*/ 3255294 w 4772243"/>
              <a:gd name="connsiteY3298" fmla="*/ 662880 h 8861755"/>
              <a:gd name="connsiteX3299" fmla="*/ 3261033 w 4772243"/>
              <a:gd name="connsiteY3299" fmla="*/ 665032 h 8861755"/>
              <a:gd name="connsiteX3300" fmla="*/ 3267073 w 4772243"/>
              <a:gd name="connsiteY3300" fmla="*/ 667185 h 8861755"/>
              <a:gd name="connsiteX3301" fmla="*/ 3283686 w 4772243"/>
              <a:gd name="connsiteY3301" fmla="*/ 647276 h 8861755"/>
              <a:gd name="connsiteX3302" fmla="*/ 3301205 w 4772243"/>
              <a:gd name="connsiteY3302" fmla="*/ 627906 h 8861755"/>
              <a:gd name="connsiteX3303" fmla="*/ 3319932 w 4772243"/>
              <a:gd name="connsiteY3303" fmla="*/ 609075 h 8861755"/>
              <a:gd name="connsiteX3304" fmla="*/ 3343793 w 4772243"/>
              <a:gd name="connsiteY3304" fmla="*/ 585670 h 8861755"/>
              <a:gd name="connsiteX3305" fmla="*/ 3344095 w 4772243"/>
              <a:gd name="connsiteY3305" fmla="*/ 596968 h 8861755"/>
              <a:gd name="connsiteX3306" fmla="*/ 3343793 w 4772243"/>
              <a:gd name="connsiteY3306" fmla="*/ 598852 h 8861755"/>
              <a:gd name="connsiteX3307" fmla="*/ 3335034 w 4772243"/>
              <a:gd name="connsiteY3307" fmla="*/ 611497 h 8861755"/>
              <a:gd name="connsiteX3308" fmla="*/ 3325067 w 4772243"/>
              <a:gd name="connsiteY3308" fmla="*/ 623334 h 8861755"/>
              <a:gd name="connsiteX3309" fmla="*/ 3311474 w 4772243"/>
              <a:gd name="connsiteY3309" fmla="*/ 637592 h 8861755"/>
              <a:gd name="connsiteX3310" fmla="*/ 3288216 w 4772243"/>
              <a:gd name="connsiteY3310" fmla="*/ 666378 h 8861755"/>
              <a:gd name="connsiteX3311" fmla="*/ 3268886 w 4772243"/>
              <a:gd name="connsiteY3311" fmla="*/ 696777 h 8861755"/>
              <a:gd name="connsiteX3312" fmla="*/ 3253179 w 4772243"/>
              <a:gd name="connsiteY3312" fmla="*/ 727446 h 8861755"/>
              <a:gd name="connsiteX3313" fmla="*/ 3242004 w 4772243"/>
              <a:gd name="connsiteY3313" fmla="*/ 759460 h 8861755"/>
              <a:gd name="connsiteX3314" fmla="*/ 3234151 w 4772243"/>
              <a:gd name="connsiteY3314" fmla="*/ 792282 h 8861755"/>
              <a:gd name="connsiteX3315" fmla="*/ 3230224 w 4772243"/>
              <a:gd name="connsiteY3315" fmla="*/ 825910 h 8861755"/>
              <a:gd name="connsiteX3316" fmla="*/ 3230224 w 4772243"/>
              <a:gd name="connsiteY3316" fmla="*/ 860345 h 8861755"/>
              <a:gd name="connsiteX3317" fmla="*/ 3231432 w 4772243"/>
              <a:gd name="connsiteY3317" fmla="*/ 878101 h 8861755"/>
              <a:gd name="connsiteX3318" fmla="*/ 3233849 w 4772243"/>
              <a:gd name="connsiteY3318" fmla="*/ 902851 h 8861755"/>
              <a:gd name="connsiteX3319" fmla="*/ 3234097 w 4772243"/>
              <a:gd name="connsiteY3319" fmla="*/ 906534 h 8861755"/>
              <a:gd name="connsiteX3320" fmla="*/ 3250789 w 4772243"/>
              <a:gd name="connsiteY3320" fmla="*/ 904764 h 8861755"/>
              <a:gd name="connsiteX3321" fmla="*/ 3276153 w 4772243"/>
              <a:gd name="connsiteY3321" fmla="*/ 898850 h 8861755"/>
              <a:gd name="connsiteX3322" fmla="*/ 3301216 w 4772243"/>
              <a:gd name="connsiteY3322" fmla="*/ 889979 h 8861755"/>
              <a:gd name="connsiteX3323" fmla="*/ 3325071 w 4772243"/>
              <a:gd name="connsiteY3323" fmla="*/ 879226 h 8861755"/>
              <a:gd name="connsiteX3324" fmla="*/ 3347114 w 4772243"/>
              <a:gd name="connsiteY3324" fmla="*/ 867128 h 8861755"/>
              <a:gd name="connsiteX3325" fmla="*/ 3365836 w 4772243"/>
              <a:gd name="connsiteY3325" fmla="*/ 854493 h 8861755"/>
              <a:gd name="connsiteX3326" fmla="*/ 3380632 w 4772243"/>
              <a:gd name="connsiteY3326" fmla="*/ 842396 h 8861755"/>
              <a:gd name="connsiteX3327" fmla="*/ 3386067 w 4772243"/>
              <a:gd name="connsiteY3327" fmla="*/ 836482 h 8861755"/>
              <a:gd name="connsiteX3328" fmla="*/ 3402675 w 4772243"/>
              <a:gd name="connsiteY3328" fmla="*/ 817395 h 8861755"/>
              <a:gd name="connsiteX3329" fmla="*/ 3432267 w 4772243"/>
              <a:gd name="connsiteY3329" fmla="*/ 776801 h 8861755"/>
              <a:gd name="connsiteX3330" fmla="*/ 3472730 w 4772243"/>
              <a:gd name="connsiteY3330" fmla="*/ 713894 h 8861755"/>
              <a:gd name="connsiteX3331" fmla="*/ 3499605 w 4772243"/>
              <a:gd name="connsiteY3331" fmla="*/ 671956 h 8861755"/>
              <a:gd name="connsiteX3332" fmla="*/ 3505644 w 4772243"/>
              <a:gd name="connsiteY3332" fmla="*/ 664698 h 8861755"/>
              <a:gd name="connsiteX3333" fmla="*/ 3511683 w 4772243"/>
              <a:gd name="connsiteY3333" fmla="*/ 657439 h 8861755"/>
              <a:gd name="connsiteX3334" fmla="*/ 3518326 w 4772243"/>
              <a:gd name="connsiteY3334" fmla="*/ 660128 h 8861755"/>
              <a:gd name="connsiteX3335" fmla="*/ 3524969 w 4772243"/>
              <a:gd name="connsiteY3335" fmla="*/ 662547 h 8861755"/>
              <a:gd name="connsiteX3336" fmla="*/ 3492961 w 4772243"/>
              <a:gd name="connsiteY3336" fmla="*/ 722227 h 8861755"/>
              <a:gd name="connsiteX3337" fmla="*/ 3463671 w 4772243"/>
              <a:gd name="connsiteY3337" fmla="*/ 776801 h 8861755"/>
              <a:gd name="connsiteX3338" fmla="*/ 3554562 w 4772243"/>
              <a:gd name="connsiteY3338" fmla="*/ 735670 h 8861755"/>
              <a:gd name="connsiteX3339" fmla="*/ 3650283 w 4772243"/>
              <a:gd name="connsiteY3339" fmla="*/ 694000 h 8861755"/>
              <a:gd name="connsiteX3340" fmla="*/ 3665079 w 4772243"/>
              <a:gd name="connsiteY3340" fmla="*/ 687280 h 8861755"/>
              <a:gd name="connsiteX3341" fmla="*/ 3692256 w 4772243"/>
              <a:gd name="connsiteY3341" fmla="*/ 673031 h 8861755"/>
              <a:gd name="connsiteX3342" fmla="*/ 3716111 w 4772243"/>
              <a:gd name="connsiteY3342" fmla="*/ 656633 h 8861755"/>
              <a:gd name="connsiteX3343" fmla="*/ 3736946 w 4772243"/>
              <a:gd name="connsiteY3343" fmla="*/ 638890 h 8861755"/>
              <a:gd name="connsiteX3344" fmla="*/ 3754460 w 4772243"/>
              <a:gd name="connsiteY3344" fmla="*/ 618996 h 8861755"/>
              <a:gd name="connsiteX3345" fmla="*/ 3769256 w 4772243"/>
              <a:gd name="connsiteY3345" fmla="*/ 597759 h 8861755"/>
              <a:gd name="connsiteX3346" fmla="*/ 3781334 w 4772243"/>
              <a:gd name="connsiteY3346" fmla="*/ 574908 h 8861755"/>
              <a:gd name="connsiteX3347" fmla="*/ 3790393 w 4772243"/>
              <a:gd name="connsiteY3347" fmla="*/ 549638 h 8861755"/>
              <a:gd name="connsiteX3348" fmla="*/ 3794017 w 4772243"/>
              <a:gd name="connsiteY3348" fmla="*/ 536734 h 8861755"/>
              <a:gd name="connsiteX3349" fmla="*/ 3808511 w 4772243"/>
              <a:gd name="connsiteY3349" fmla="*/ 490226 h 8861755"/>
              <a:gd name="connsiteX3350" fmla="*/ 3833875 w 4772243"/>
              <a:gd name="connsiteY3350" fmla="*/ 412802 h 8861755"/>
              <a:gd name="connsiteX3351" fmla="*/ 3856523 w 4772243"/>
              <a:gd name="connsiteY3351" fmla="*/ 351508 h 8861755"/>
              <a:gd name="connsiteX3352" fmla="*/ 3876452 w 4772243"/>
              <a:gd name="connsiteY3352" fmla="*/ 304462 h 8861755"/>
              <a:gd name="connsiteX3353" fmla="*/ 3894872 w 4772243"/>
              <a:gd name="connsiteY3353" fmla="*/ 268708 h 8861755"/>
              <a:gd name="connsiteX3354" fmla="*/ 3912688 w 4772243"/>
              <a:gd name="connsiteY3354" fmla="*/ 242362 h 8861755"/>
              <a:gd name="connsiteX3355" fmla="*/ 3930503 w 4772243"/>
              <a:gd name="connsiteY3355" fmla="*/ 222469 h 8861755"/>
              <a:gd name="connsiteX3356" fmla="*/ 3949828 w 4772243"/>
              <a:gd name="connsiteY3356" fmla="*/ 207145 h 8861755"/>
              <a:gd name="connsiteX3357" fmla="*/ 3959793 w 4772243"/>
              <a:gd name="connsiteY3357" fmla="*/ 200155 h 8861755"/>
              <a:gd name="connsiteX3358" fmla="*/ 3949828 w 4772243"/>
              <a:gd name="connsiteY3358" fmla="*/ 212791 h 8861755"/>
              <a:gd name="connsiteX3359" fmla="*/ 3926578 w 4772243"/>
              <a:gd name="connsiteY3359" fmla="*/ 251502 h 8861755"/>
              <a:gd name="connsiteX3360" fmla="*/ 3901213 w 4772243"/>
              <a:gd name="connsiteY3360" fmla="*/ 302312 h 8861755"/>
              <a:gd name="connsiteX3361" fmla="*/ 3875546 w 4772243"/>
              <a:gd name="connsiteY3361" fmla="*/ 360917 h 8861755"/>
              <a:gd name="connsiteX3362" fmla="*/ 3851087 w 4772243"/>
              <a:gd name="connsiteY3362" fmla="*/ 422480 h 8861755"/>
              <a:gd name="connsiteX3363" fmla="*/ 3829346 w 4772243"/>
              <a:gd name="connsiteY3363" fmla="*/ 482699 h 8861755"/>
              <a:gd name="connsiteX3364" fmla="*/ 3812738 w 4772243"/>
              <a:gd name="connsiteY3364" fmla="*/ 536734 h 8861755"/>
              <a:gd name="connsiteX3365" fmla="*/ 3802169 w 4772243"/>
              <a:gd name="connsiteY3365" fmla="*/ 580284 h 8861755"/>
              <a:gd name="connsiteX3366" fmla="*/ 3800660 w 4772243"/>
              <a:gd name="connsiteY3366" fmla="*/ 596146 h 8861755"/>
              <a:gd name="connsiteX3367" fmla="*/ 3811229 w 4772243"/>
              <a:gd name="connsiteY3367" fmla="*/ 591038 h 8861755"/>
              <a:gd name="connsiteX3368" fmla="*/ 3869507 w 4772243"/>
              <a:gd name="connsiteY3368" fmla="*/ 559853 h 8861755"/>
              <a:gd name="connsiteX3369" fmla="*/ 3979119 w 4772243"/>
              <a:gd name="connsiteY3369" fmla="*/ 498828 h 8861755"/>
              <a:gd name="connsiteX3370" fmla="*/ 4008107 w 4772243"/>
              <a:gd name="connsiteY3370" fmla="*/ 483773 h 8861755"/>
              <a:gd name="connsiteX3371" fmla="*/ 4012032 w 4772243"/>
              <a:gd name="connsiteY3371" fmla="*/ 486194 h 8861755"/>
              <a:gd name="connsiteX3372" fmla="*/ 4015052 w 4772243"/>
              <a:gd name="connsiteY3372" fmla="*/ 491570 h 8861755"/>
              <a:gd name="connsiteX3373" fmla="*/ 4015052 w 4772243"/>
              <a:gd name="connsiteY3373" fmla="*/ 494527 h 8861755"/>
              <a:gd name="connsiteX3374" fmla="*/ 4013845 w 4772243"/>
              <a:gd name="connsiteY3374" fmla="*/ 496140 h 8861755"/>
              <a:gd name="connsiteX3375" fmla="*/ 4007201 w 4772243"/>
              <a:gd name="connsiteY3375" fmla="*/ 501517 h 8861755"/>
              <a:gd name="connsiteX3376" fmla="*/ 3975496 w 4772243"/>
              <a:gd name="connsiteY3376" fmla="*/ 526787 h 8861755"/>
              <a:gd name="connsiteX3377" fmla="*/ 3935636 w 4772243"/>
              <a:gd name="connsiteY3377" fmla="*/ 553939 h 8861755"/>
              <a:gd name="connsiteX3378" fmla="*/ 3901515 w 4772243"/>
              <a:gd name="connsiteY3378" fmla="*/ 574101 h 8861755"/>
              <a:gd name="connsiteX3379" fmla="*/ 3861052 w 4772243"/>
              <a:gd name="connsiteY3379" fmla="*/ 595608 h 8861755"/>
              <a:gd name="connsiteX3380" fmla="*/ 3812738 w 4772243"/>
              <a:gd name="connsiteY3380" fmla="*/ 617652 h 8861755"/>
              <a:gd name="connsiteX3381" fmla="*/ 3785864 w 4772243"/>
              <a:gd name="connsiteY3381" fmla="*/ 628674 h 8861755"/>
              <a:gd name="connsiteX3382" fmla="*/ 3778617 w 4772243"/>
              <a:gd name="connsiteY3382" fmla="*/ 637547 h 8861755"/>
              <a:gd name="connsiteX3383" fmla="*/ 3763216 w 4772243"/>
              <a:gd name="connsiteY3383" fmla="*/ 653407 h 8861755"/>
              <a:gd name="connsiteX3384" fmla="*/ 3737248 w 4772243"/>
              <a:gd name="connsiteY3384" fmla="*/ 674645 h 8861755"/>
              <a:gd name="connsiteX3385" fmla="*/ 3698597 w 4772243"/>
              <a:gd name="connsiteY3385" fmla="*/ 699108 h 8861755"/>
              <a:gd name="connsiteX3386" fmla="*/ 3656625 w 4772243"/>
              <a:gd name="connsiteY3386" fmla="*/ 720884 h 8861755"/>
              <a:gd name="connsiteX3387" fmla="*/ 3634581 w 4772243"/>
              <a:gd name="connsiteY3387" fmla="*/ 731638 h 8861755"/>
              <a:gd name="connsiteX3388" fmla="*/ 3606801 w 4772243"/>
              <a:gd name="connsiteY3388" fmla="*/ 745885 h 8861755"/>
              <a:gd name="connsiteX3389" fmla="*/ 3551240 w 4772243"/>
              <a:gd name="connsiteY3389" fmla="*/ 775725 h 8861755"/>
              <a:gd name="connsiteX3390" fmla="*/ 3497793 w 4772243"/>
              <a:gd name="connsiteY3390" fmla="*/ 807448 h 8861755"/>
              <a:gd name="connsiteX3391" fmla="*/ 3446460 w 4772243"/>
              <a:gd name="connsiteY3391" fmla="*/ 841320 h 8861755"/>
              <a:gd name="connsiteX3392" fmla="*/ 3421699 w 4772243"/>
              <a:gd name="connsiteY3392" fmla="*/ 859333 h 8861755"/>
              <a:gd name="connsiteX3393" fmla="*/ 3399957 w 4772243"/>
              <a:gd name="connsiteY3393" fmla="*/ 875462 h 8861755"/>
              <a:gd name="connsiteX3394" fmla="*/ 3354965 w 4772243"/>
              <a:gd name="connsiteY3394" fmla="*/ 904496 h 8861755"/>
              <a:gd name="connsiteX3395" fmla="*/ 3319334 w 4772243"/>
              <a:gd name="connsiteY3395" fmla="*/ 922239 h 8861755"/>
              <a:gd name="connsiteX3396" fmla="*/ 3293667 w 4772243"/>
              <a:gd name="connsiteY3396" fmla="*/ 932186 h 8861755"/>
              <a:gd name="connsiteX3397" fmla="*/ 3266793 w 4772243"/>
              <a:gd name="connsiteY3397" fmla="*/ 939982 h 8861755"/>
              <a:gd name="connsiteX3398" fmla="*/ 3238106 w 4772243"/>
              <a:gd name="connsiteY3398" fmla="*/ 945090 h 8861755"/>
              <a:gd name="connsiteX3399" fmla="*/ 3236712 w 4772243"/>
              <a:gd name="connsiteY3399" fmla="*/ 945267 h 8861755"/>
              <a:gd name="connsiteX3400" fmla="*/ 3237171 w 4772243"/>
              <a:gd name="connsiteY3400" fmla="*/ 952083 h 8861755"/>
              <a:gd name="connsiteX3401" fmla="*/ 3236869 w 4772243"/>
              <a:gd name="connsiteY3401" fmla="*/ 976834 h 8861755"/>
              <a:gd name="connsiteX3402" fmla="*/ 3234755 w 4772243"/>
              <a:gd name="connsiteY3402" fmla="*/ 1050009 h 8861755"/>
              <a:gd name="connsiteX3403" fmla="*/ 3231432 w 4772243"/>
              <a:gd name="connsiteY3403" fmla="*/ 1159502 h 8861755"/>
              <a:gd name="connsiteX3404" fmla="*/ 3225995 w 4772243"/>
              <a:gd name="connsiteY3404" fmla="*/ 1232408 h 8861755"/>
              <a:gd name="connsiteX3405" fmla="*/ 3221163 w 4772243"/>
              <a:gd name="connsiteY3405" fmla="*/ 1268458 h 8861755"/>
              <a:gd name="connsiteX3406" fmla="*/ 3216028 w 4772243"/>
              <a:gd name="connsiteY3406" fmla="*/ 1299126 h 8861755"/>
              <a:gd name="connsiteX3407" fmla="*/ 3201530 w 4772243"/>
              <a:gd name="connsiteY3407" fmla="*/ 1360465 h 8861755"/>
              <a:gd name="connsiteX3408" fmla="*/ 3174346 w 4772243"/>
              <a:gd name="connsiteY3408" fmla="*/ 1451396 h 8861755"/>
              <a:gd name="connsiteX3409" fmla="*/ 3156223 w 4772243"/>
              <a:gd name="connsiteY3409" fmla="*/ 1511926 h 8861755"/>
              <a:gd name="connsiteX3410" fmla="*/ 3171325 w 4772243"/>
              <a:gd name="connsiteY3410" fmla="*/ 1503049 h 8861755"/>
              <a:gd name="connsiteX3411" fmla="*/ 3201530 w 4772243"/>
              <a:gd name="connsiteY3411" fmla="*/ 1483948 h 8861755"/>
              <a:gd name="connsiteX3412" fmla="*/ 3229318 w 4772243"/>
              <a:gd name="connsiteY3412" fmla="*/ 1462963 h 8861755"/>
              <a:gd name="connsiteX3413" fmla="*/ 3246534 w 4772243"/>
              <a:gd name="connsiteY3413" fmla="*/ 1445746 h 8861755"/>
              <a:gd name="connsiteX3414" fmla="*/ 3255898 w 4772243"/>
              <a:gd name="connsiteY3414" fmla="*/ 1433370 h 8861755"/>
              <a:gd name="connsiteX3415" fmla="*/ 3259825 w 4772243"/>
              <a:gd name="connsiteY3415" fmla="*/ 1426914 h 8861755"/>
              <a:gd name="connsiteX3416" fmla="*/ 3288519 w 4772243"/>
              <a:gd name="connsiteY3416" fmla="*/ 1376068 h 8861755"/>
              <a:gd name="connsiteX3417" fmla="*/ 3344095 w 4772243"/>
              <a:gd name="connsiteY3417" fmla="*/ 1285676 h 8861755"/>
              <a:gd name="connsiteX3418" fmla="*/ 3386684 w 4772243"/>
              <a:gd name="connsiteY3418" fmla="*/ 1221916 h 8861755"/>
              <a:gd name="connsiteX3419" fmla="*/ 3432897 w 4772243"/>
              <a:gd name="connsiteY3419" fmla="*/ 1158426 h 8861755"/>
              <a:gd name="connsiteX3420" fmla="*/ 3482432 w 4772243"/>
              <a:gd name="connsiteY3420" fmla="*/ 1097089 h 8861755"/>
              <a:gd name="connsiteX3421" fmla="*/ 3534384 w 4772243"/>
              <a:gd name="connsiteY3421" fmla="*/ 1040862 h 8861755"/>
              <a:gd name="connsiteX3422" fmla="*/ 3573952 w 4772243"/>
              <a:gd name="connsiteY3422" fmla="*/ 1004005 h 8861755"/>
              <a:gd name="connsiteX3423" fmla="*/ 3600834 w 4772243"/>
              <a:gd name="connsiteY3423" fmla="*/ 981946 h 8861755"/>
              <a:gd name="connsiteX3424" fmla="*/ 3614124 w 4772243"/>
              <a:gd name="connsiteY3424" fmla="*/ 971991 h 8861755"/>
              <a:gd name="connsiteX3425" fmla="*/ 3577576 w 4772243"/>
              <a:gd name="connsiteY3425" fmla="*/ 1016918 h 8861755"/>
              <a:gd name="connsiteX3426" fmla="*/ 3452832 w 4772243"/>
              <a:gd name="connsiteY3426" fmla="*/ 1176181 h 8861755"/>
              <a:gd name="connsiteX3427" fmla="*/ 3403900 w 4772243"/>
              <a:gd name="connsiteY3427" fmla="*/ 1243169 h 8861755"/>
              <a:gd name="connsiteX3428" fmla="*/ 3361614 w 4772243"/>
              <a:gd name="connsiteY3428" fmla="*/ 1305583 h 8861755"/>
              <a:gd name="connsiteX3429" fmla="*/ 3337450 w 4772243"/>
              <a:gd name="connsiteY3429" fmla="*/ 1345668 h 8861755"/>
              <a:gd name="connsiteX3430" fmla="*/ 3325973 w 4772243"/>
              <a:gd name="connsiteY3430" fmla="*/ 1368267 h 8861755"/>
              <a:gd name="connsiteX3431" fmla="*/ 3322046 w 4772243"/>
              <a:gd name="connsiteY3431" fmla="*/ 1378221 h 8861755"/>
              <a:gd name="connsiteX3432" fmla="*/ 3313286 w 4772243"/>
              <a:gd name="connsiteY3432" fmla="*/ 1400012 h 8861755"/>
              <a:gd name="connsiteX3433" fmla="*/ 3289727 w 4772243"/>
              <a:gd name="connsiteY3433" fmla="*/ 1440904 h 8861755"/>
              <a:gd name="connsiteX3434" fmla="*/ 3259523 w 4772243"/>
              <a:gd name="connsiteY3434" fmla="*/ 1477760 h 8861755"/>
              <a:gd name="connsiteX3435" fmla="*/ 3223277 w 4772243"/>
              <a:gd name="connsiteY3435" fmla="*/ 1512465 h 8861755"/>
              <a:gd name="connsiteX3436" fmla="*/ 3202436 w 4772243"/>
              <a:gd name="connsiteY3436" fmla="*/ 1528876 h 8861755"/>
              <a:gd name="connsiteX3437" fmla="*/ 3184011 w 4772243"/>
              <a:gd name="connsiteY3437" fmla="*/ 1542864 h 8861755"/>
              <a:gd name="connsiteX3438" fmla="*/ 3148672 w 4772243"/>
              <a:gd name="connsiteY3438" fmla="*/ 1572457 h 8861755"/>
              <a:gd name="connsiteX3439" fmla="*/ 3115447 w 4772243"/>
              <a:gd name="connsiteY3439" fmla="*/ 1603665 h 8861755"/>
              <a:gd name="connsiteX3440" fmla="*/ 3085846 w 4772243"/>
              <a:gd name="connsiteY3440" fmla="*/ 1637023 h 8861755"/>
              <a:gd name="connsiteX3441" fmla="*/ 3071953 w 4772243"/>
              <a:gd name="connsiteY3441" fmla="*/ 1653972 h 8861755"/>
              <a:gd name="connsiteX3442" fmla="*/ 3053226 w 4772243"/>
              <a:gd name="connsiteY3442" fmla="*/ 1678992 h 8861755"/>
              <a:gd name="connsiteX3443" fmla="*/ 3013053 w 4772243"/>
              <a:gd name="connsiteY3443" fmla="*/ 1726878 h 8861755"/>
              <a:gd name="connsiteX3444" fmla="*/ 2968350 w 4772243"/>
              <a:gd name="connsiteY3444" fmla="*/ 1771537 h 8861755"/>
              <a:gd name="connsiteX3445" fmla="*/ 2930595 w 4772243"/>
              <a:gd name="connsiteY3445" fmla="*/ 1802475 h 8861755"/>
              <a:gd name="connsiteX3446" fmla="*/ 2903713 w 4772243"/>
              <a:gd name="connsiteY3446" fmla="*/ 1821576 h 8861755"/>
              <a:gd name="connsiteX3447" fmla="*/ 2889215 w 4772243"/>
              <a:gd name="connsiteY3447" fmla="*/ 1830722 h 8861755"/>
              <a:gd name="connsiteX3448" fmla="*/ 2879550 w 4772243"/>
              <a:gd name="connsiteY3448" fmla="*/ 1836641 h 8861755"/>
              <a:gd name="connsiteX3449" fmla="*/ 2862634 w 4772243"/>
              <a:gd name="connsiteY3449" fmla="*/ 1849285 h 8861755"/>
              <a:gd name="connsiteX3450" fmla="*/ 2847834 w 4772243"/>
              <a:gd name="connsiteY3450" fmla="*/ 1862737 h 8861755"/>
              <a:gd name="connsiteX3451" fmla="*/ 2834847 w 4772243"/>
              <a:gd name="connsiteY3451" fmla="*/ 1877533 h 8861755"/>
              <a:gd name="connsiteX3452" fmla="*/ 2824577 w 4772243"/>
              <a:gd name="connsiteY3452" fmla="*/ 1893136 h 8861755"/>
              <a:gd name="connsiteX3453" fmla="*/ 2816724 w 4772243"/>
              <a:gd name="connsiteY3453" fmla="*/ 1909547 h 8861755"/>
              <a:gd name="connsiteX3454" fmla="*/ 2811287 w 4772243"/>
              <a:gd name="connsiteY3454" fmla="*/ 1927033 h 8861755"/>
              <a:gd name="connsiteX3455" fmla="*/ 2808267 w 4772243"/>
              <a:gd name="connsiteY3455" fmla="*/ 1944789 h 8861755"/>
              <a:gd name="connsiteX3456" fmla="*/ 2807662 w 4772243"/>
              <a:gd name="connsiteY3456" fmla="*/ 1954205 h 8861755"/>
              <a:gd name="connsiteX3457" fmla="*/ 2806454 w 4772243"/>
              <a:gd name="connsiteY3457" fmla="*/ 2026304 h 8861755"/>
              <a:gd name="connsiteX3458" fmla="*/ 2806873 w 4772243"/>
              <a:gd name="connsiteY3458" fmla="*/ 2076265 h 8861755"/>
              <a:gd name="connsiteX3459" fmla="*/ 2810391 w 4772243"/>
              <a:gd name="connsiteY3459" fmla="*/ 2075235 h 8861755"/>
              <a:gd name="connsiteX3460" fmla="*/ 2920100 w 4772243"/>
              <a:gd name="connsiteY3460" fmla="*/ 2036958 h 8861755"/>
              <a:gd name="connsiteX3461" fmla="*/ 2992850 w 4772243"/>
              <a:gd name="connsiteY3461" fmla="*/ 2009946 h 8861755"/>
              <a:gd name="connsiteX3462" fmla="*/ 3012380 w 4772243"/>
              <a:gd name="connsiteY3462" fmla="*/ 2002741 h 8861755"/>
              <a:gd name="connsiteX3463" fmla="*/ 3050536 w 4772243"/>
              <a:gd name="connsiteY3463" fmla="*/ 1990551 h 8861755"/>
              <a:gd name="connsiteX3464" fmla="*/ 3089366 w 4772243"/>
              <a:gd name="connsiteY3464" fmla="*/ 1980449 h 8861755"/>
              <a:gd name="connsiteX3465" fmla="*/ 3128038 w 4772243"/>
              <a:gd name="connsiteY3465" fmla="*/ 1972756 h 8861755"/>
              <a:gd name="connsiteX3466" fmla="*/ 3166916 w 4772243"/>
              <a:gd name="connsiteY3466" fmla="*/ 1966860 h 8861755"/>
              <a:gd name="connsiteX3467" fmla="*/ 3206018 w 4772243"/>
              <a:gd name="connsiteY3467" fmla="*/ 1964165 h 8861755"/>
              <a:gd name="connsiteX3468" fmla="*/ 3245611 w 4772243"/>
              <a:gd name="connsiteY3468" fmla="*/ 1963862 h 8861755"/>
              <a:gd name="connsiteX3469" fmla="*/ 3285330 w 4772243"/>
              <a:gd name="connsiteY3469" fmla="*/ 1966562 h 8861755"/>
              <a:gd name="connsiteX3470" fmla="*/ 3305250 w 4772243"/>
              <a:gd name="connsiteY3470" fmla="*/ 1969061 h 8861755"/>
              <a:gd name="connsiteX3471" fmla="*/ 3314182 w 4772243"/>
              <a:gd name="connsiteY3471" fmla="*/ 1969883 h 8861755"/>
              <a:gd name="connsiteX3472" fmla="*/ 3323581 w 4772243"/>
              <a:gd name="connsiteY3472" fmla="*/ 1968678 h 8861755"/>
              <a:gd name="connsiteX3473" fmla="*/ 3331972 w 4772243"/>
              <a:gd name="connsiteY3473" fmla="*/ 1957897 h 8861755"/>
              <a:gd name="connsiteX3474" fmla="*/ 3346156 w 4772243"/>
              <a:gd name="connsiteY3474" fmla="*/ 1943362 h 8861755"/>
              <a:gd name="connsiteX3475" fmla="*/ 3368789 w 4772243"/>
              <a:gd name="connsiteY3475" fmla="*/ 1923173 h 8861755"/>
              <a:gd name="connsiteX3476" fmla="*/ 3427636 w 4772243"/>
              <a:gd name="connsiteY3476" fmla="*/ 1875260 h 8861755"/>
              <a:gd name="connsiteX3477" fmla="*/ 3472300 w 4772243"/>
              <a:gd name="connsiteY3477" fmla="*/ 1835961 h 8861755"/>
              <a:gd name="connsiteX3478" fmla="*/ 3497649 w 4772243"/>
              <a:gd name="connsiteY3478" fmla="*/ 1809044 h 8861755"/>
              <a:gd name="connsiteX3479" fmla="*/ 3516964 w 4772243"/>
              <a:gd name="connsiteY3479" fmla="*/ 1782126 h 8861755"/>
              <a:gd name="connsiteX3480" fmla="*/ 3525413 w 4772243"/>
              <a:gd name="connsiteY3480" fmla="*/ 1762208 h 8861755"/>
              <a:gd name="connsiteX3481" fmla="*/ 3528431 w 4772243"/>
              <a:gd name="connsiteY3481" fmla="*/ 1749287 h 8861755"/>
              <a:gd name="connsiteX3482" fmla="*/ 3528431 w 4772243"/>
              <a:gd name="connsiteY3482" fmla="*/ 1742827 h 8861755"/>
              <a:gd name="connsiteX3483" fmla="*/ 3527526 w 4772243"/>
              <a:gd name="connsiteY3483" fmla="*/ 1666382 h 8861755"/>
              <a:gd name="connsiteX3484" fmla="*/ 3527526 w 4772243"/>
              <a:gd name="connsiteY3484" fmla="*/ 1597474 h 8861755"/>
              <a:gd name="connsiteX3485" fmla="*/ 3529336 w 4772243"/>
              <a:gd name="connsiteY3485" fmla="*/ 1599896 h 8861755"/>
              <a:gd name="connsiteX3486" fmla="*/ 3544426 w 4772243"/>
              <a:gd name="connsiteY3486" fmla="*/ 1618470 h 8861755"/>
              <a:gd name="connsiteX3487" fmla="*/ 3553479 w 4772243"/>
              <a:gd name="connsiteY3487" fmla="*/ 1591552 h 8861755"/>
              <a:gd name="connsiteX3488" fmla="*/ 3561929 w 4772243"/>
              <a:gd name="connsiteY3488" fmla="*/ 1551984 h 8861755"/>
              <a:gd name="connsiteX3489" fmla="*/ 3564946 w 4772243"/>
              <a:gd name="connsiteY3489" fmla="*/ 1526143 h 8861755"/>
              <a:gd name="connsiteX3490" fmla="*/ 3566153 w 4772243"/>
              <a:gd name="connsiteY3490" fmla="*/ 1500302 h 8861755"/>
              <a:gd name="connsiteX3491" fmla="*/ 3565550 w 4772243"/>
              <a:gd name="connsiteY3491" fmla="*/ 1474730 h 8861755"/>
              <a:gd name="connsiteX3492" fmla="*/ 3562230 w 4772243"/>
              <a:gd name="connsiteY3492" fmla="*/ 1449159 h 8861755"/>
              <a:gd name="connsiteX3493" fmla="*/ 3556798 w 4772243"/>
              <a:gd name="connsiteY3493" fmla="*/ 1423857 h 8861755"/>
              <a:gd name="connsiteX3494" fmla="*/ 3553479 w 4772243"/>
              <a:gd name="connsiteY3494" fmla="*/ 1411206 h 8861755"/>
              <a:gd name="connsiteX3495" fmla="*/ 3560419 w 4772243"/>
              <a:gd name="connsiteY3495" fmla="*/ 1424395 h 8861755"/>
              <a:gd name="connsiteX3496" fmla="*/ 3571283 w 4772243"/>
              <a:gd name="connsiteY3496" fmla="*/ 1451851 h 8861755"/>
              <a:gd name="connsiteX3497" fmla="*/ 3579431 w 4772243"/>
              <a:gd name="connsiteY3497" fmla="*/ 1478499 h 8861755"/>
              <a:gd name="connsiteX3498" fmla="*/ 3585467 w 4772243"/>
              <a:gd name="connsiteY3498" fmla="*/ 1505416 h 8861755"/>
              <a:gd name="connsiteX3499" fmla="*/ 3589692 w 4772243"/>
              <a:gd name="connsiteY3499" fmla="*/ 1546061 h 8861755"/>
              <a:gd name="connsiteX3500" fmla="*/ 3588787 w 4772243"/>
              <a:gd name="connsiteY3500" fmla="*/ 1599358 h 8861755"/>
              <a:gd name="connsiteX3501" fmla="*/ 3582148 w 4772243"/>
              <a:gd name="connsiteY3501" fmla="*/ 1652654 h 8861755"/>
              <a:gd name="connsiteX3502" fmla="*/ 3572491 w 4772243"/>
              <a:gd name="connsiteY3502" fmla="*/ 1705412 h 8861755"/>
              <a:gd name="connsiteX3503" fmla="*/ 3561627 w 4772243"/>
              <a:gd name="connsiteY3503" fmla="*/ 1757631 h 8861755"/>
              <a:gd name="connsiteX3504" fmla="*/ 3551668 w 4772243"/>
              <a:gd name="connsiteY3504" fmla="*/ 1809313 h 8861755"/>
              <a:gd name="connsiteX3505" fmla="*/ 3547745 w 4772243"/>
              <a:gd name="connsiteY3505" fmla="*/ 1835154 h 8861755"/>
              <a:gd name="connsiteX3506" fmla="*/ 3625001 w 4772243"/>
              <a:gd name="connsiteY3506" fmla="*/ 1802315 h 8861755"/>
              <a:gd name="connsiteX3507" fmla="*/ 3661012 w 4772243"/>
              <a:gd name="connsiteY3507" fmla="*/ 1786604 h 8861755"/>
              <a:gd name="connsiteX3508" fmla="*/ 3666530 w 4772243"/>
              <a:gd name="connsiteY3508" fmla="*/ 1780273 h 8861755"/>
              <a:gd name="connsiteX3509" fmla="*/ 3680895 w 4772243"/>
              <a:gd name="connsiteY3509" fmla="*/ 1760253 h 8861755"/>
              <a:gd name="connsiteX3510" fmla="*/ 3689858 w 4772243"/>
              <a:gd name="connsiteY3510" fmla="*/ 1747454 h 8861755"/>
              <a:gd name="connsiteX3511" fmla="*/ 3712988 w 4772243"/>
              <a:gd name="connsiteY3511" fmla="*/ 1713536 h 8861755"/>
              <a:gd name="connsiteX3512" fmla="*/ 3728996 w 4772243"/>
              <a:gd name="connsiteY3512" fmla="*/ 1682567 h 8861755"/>
              <a:gd name="connsiteX3513" fmla="*/ 3737839 w 4772243"/>
              <a:gd name="connsiteY3513" fmla="*/ 1659254 h 8861755"/>
              <a:gd name="connsiteX3514" fmla="*/ 3743684 w 4772243"/>
              <a:gd name="connsiteY3514" fmla="*/ 1633798 h 8861755"/>
              <a:gd name="connsiteX3515" fmla="*/ 3746443 w 4772243"/>
              <a:gd name="connsiteY3515" fmla="*/ 1606704 h 8861755"/>
              <a:gd name="connsiteX3516" fmla="*/ 3745720 w 4772243"/>
              <a:gd name="connsiteY3516" fmla="*/ 1592197 h 8861755"/>
              <a:gd name="connsiteX3517" fmla="*/ 3746037 w 4772243"/>
              <a:gd name="connsiteY3517" fmla="*/ 1587385 h 8861755"/>
              <a:gd name="connsiteX3518" fmla="*/ 3748931 w 4772243"/>
              <a:gd name="connsiteY3518" fmla="*/ 1580415 h 8861755"/>
              <a:gd name="connsiteX3519" fmla="*/ 3755873 w 4772243"/>
              <a:gd name="connsiteY3519" fmla="*/ 1577771 h 8861755"/>
              <a:gd name="connsiteX3520" fmla="*/ 3765757 w 4772243"/>
              <a:gd name="connsiteY3520" fmla="*/ 1580575 h 8861755"/>
              <a:gd name="connsiteX3521" fmla="*/ 3771842 w 4772243"/>
              <a:gd name="connsiteY3521" fmla="*/ 1584357 h 8861755"/>
              <a:gd name="connsiteX3522" fmla="*/ 3768948 w 4772243"/>
              <a:gd name="connsiteY3522" fmla="*/ 1615962 h 8861755"/>
              <a:gd name="connsiteX3523" fmla="*/ 3766349 w 4772243"/>
              <a:gd name="connsiteY3523" fmla="*/ 1665285 h 8861755"/>
              <a:gd name="connsiteX3524" fmla="*/ 3788813 w 4772243"/>
              <a:gd name="connsiteY3524" fmla="*/ 1646403 h 8861755"/>
              <a:gd name="connsiteX3525" fmla="*/ 3818601 w 4772243"/>
              <a:gd name="connsiteY3525" fmla="*/ 1617458 h 8861755"/>
              <a:gd name="connsiteX3526" fmla="*/ 3836312 w 4772243"/>
              <a:gd name="connsiteY3526" fmla="*/ 1597571 h 8861755"/>
              <a:gd name="connsiteX3527" fmla="*/ 3852438 w 4772243"/>
              <a:gd name="connsiteY3527" fmla="*/ 1577115 h 8861755"/>
              <a:gd name="connsiteX3528" fmla="*/ 3866605 w 4772243"/>
              <a:gd name="connsiteY3528" fmla="*/ 1555997 h 8861755"/>
              <a:gd name="connsiteX3529" fmla="*/ 3879280 w 4772243"/>
              <a:gd name="connsiteY3529" fmla="*/ 1534510 h 8861755"/>
              <a:gd name="connsiteX3530" fmla="*/ 3889902 w 4772243"/>
              <a:gd name="connsiteY3530" fmla="*/ 1512162 h 8861755"/>
              <a:gd name="connsiteX3531" fmla="*/ 3894510 w 4772243"/>
              <a:gd name="connsiteY3531" fmla="*/ 1500552 h 8861755"/>
              <a:gd name="connsiteX3532" fmla="*/ 3891964 w 4772243"/>
              <a:gd name="connsiteY3532" fmla="*/ 1513722 h 8861755"/>
              <a:gd name="connsiteX3533" fmla="*/ 3885287 w 4772243"/>
              <a:gd name="connsiteY3533" fmla="*/ 1539495 h 8861755"/>
              <a:gd name="connsiteX3534" fmla="*/ 3875713 w 4772243"/>
              <a:gd name="connsiteY3534" fmla="*/ 1564024 h 8861755"/>
              <a:gd name="connsiteX3535" fmla="*/ 3864181 w 4772243"/>
              <a:gd name="connsiteY3535" fmla="*/ 1587892 h 8861755"/>
              <a:gd name="connsiteX3536" fmla="*/ 3843843 w 4772243"/>
              <a:gd name="connsiteY3536" fmla="*/ 1622155 h 8861755"/>
              <a:gd name="connsiteX3537" fmla="*/ 3811892 w 4772243"/>
              <a:gd name="connsiteY3537" fmla="*/ 1665064 h 8861755"/>
              <a:gd name="connsiteX3538" fmla="*/ 3775641 w 4772243"/>
              <a:gd name="connsiteY3538" fmla="*/ 1705857 h 8861755"/>
              <a:gd name="connsiteX3539" fmla="*/ 3737051 w 4772243"/>
              <a:gd name="connsiteY3539" fmla="*/ 1745195 h 8861755"/>
              <a:gd name="connsiteX3540" fmla="*/ 3722038 w 4772243"/>
              <a:gd name="connsiteY3540" fmla="*/ 1759979 h 8861755"/>
              <a:gd name="connsiteX3541" fmla="*/ 3736056 w 4772243"/>
              <a:gd name="connsiteY3541" fmla="*/ 1753863 h 8861755"/>
              <a:gd name="connsiteX3542" fmla="*/ 3811802 w 4772243"/>
              <a:gd name="connsiteY3542" fmla="*/ 1717525 h 8861755"/>
              <a:gd name="connsiteX3543" fmla="*/ 3826288 w 4772243"/>
              <a:gd name="connsiteY3543" fmla="*/ 1710257 h 8861755"/>
              <a:gd name="connsiteX3544" fmla="*/ 3853448 w 4772243"/>
              <a:gd name="connsiteY3544" fmla="*/ 1690607 h 8861755"/>
              <a:gd name="connsiteX3545" fmla="*/ 3877591 w 4772243"/>
              <a:gd name="connsiteY3545" fmla="*/ 1667729 h 8861755"/>
              <a:gd name="connsiteX3546" fmla="*/ 3896301 w 4772243"/>
              <a:gd name="connsiteY3546" fmla="*/ 1642157 h 8861755"/>
              <a:gd name="connsiteX3547" fmla="*/ 3903544 w 4772243"/>
              <a:gd name="connsiteY3547" fmla="*/ 1629236 h 8861755"/>
              <a:gd name="connsiteX3548" fmla="*/ 3914106 w 4772243"/>
              <a:gd name="connsiteY3548" fmla="*/ 1607433 h 8861755"/>
              <a:gd name="connsiteX3549" fmla="*/ 3930402 w 4772243"/>
              <a:gd name="connsiteY3549" fmla="*/ 1562750 h 8861755"/>
              <a:gd name="connsiteX3550" fmla="*/ 3950621 w 4772243"/>
              <a:gd name="connsiteY3550" fmla="*/ 1493842 h 8861755"/>
              <a:gd name="connsiteX3551" fmla="*/ 3964503 w 4772243"/>
              <a:gd name="connsiteY3551" fmla="*/ 1447813 h 8861755"/>
              <a:gd name="connsiteX3552" fmla="*/ 3967822 w 4772243"/>
              <a:gd name="connsiteY3552" fmla="*/ 1439739 h 8861755"/>
              <a:gd name="connsiteX3553" fmla="*/ 3971746 w 4772243"/>
              <a:gd name="connsiteY3553" fmla="*/ 1431933 h 8861755"/>
              <a:gd name="connsiteX3554" fmla="*/ 3978989 w 4772243"/>
              <a:gd name="connsiteY3554" fmla="*/ 1433009 h 8861755"/>
              <a:gd name="connsiteX3555" fmla="*/ 3985628 w 4772243"/>
              <a:gd name="connsiteY3555" fmla="*/ 1434355 h 8861755"/>
              <a:gd name="connsiteX3556" fmla="*/ 3972349 w 4772243"/>
              <a:gd name="connsiteY3556" fmla="*/ 1498149 h 8861755"/>
              <a:gd name="connsiteX3557" fmla="*/ 3959977 w 4772243"/>
              <a:gd name="connsiteY3557" fmla="*/ 1557098 h 8861755"/>
              <a:gd name="connsiteX3558" fmla="*/ 4033913 w 4772243"/>
              <a:gd name="connsiteY3558" fmla="*/ 1500302 h 8861755"/>
              <a:gd name="connsiteX3559" fmla="*/ 4112677 w 4772243"/>
              <a:gd name="connsiteY3559" fmla="*/ 1441622 h 8861755"/>
              <a:gd name="connsiteX3560" fmla="*/ 4124749 w 4772243"/>
              <a:gd name="connsiteY3560" fmla="*/ 1432471 h 8861755"/>
              <a:gd name="connsiteX3561" fmla="*/ 4145873 w 4772243"/>
              <a:gd name="connsiteY3561" fmla="*/ 1413629 h 8861755"/>
              <a:gd name="connsiteX3562" fmla="*/ 4163980 w 4772243"/>
              <a:gd name="connsiteY3562" fmla="*/ 1393441 h 8861755"/>
              <a:gd name="connsiteX3563" fmla="*/ 4178465 w 4772243"/>
              <a:gd name="connsiteY3563" fmla="*/ 1372175 h 8861755"/>
              <a:gd name="connsiteX3564" fmla="*/ 4189631 w 4772243"/>
              <a:gd name="connsiteY3564" fmla="*/ 1349834 h 8861755"/>
              <a:gd name="connsiteX3565" fmla="*/ 4197477 w 4772243"/>
              <a:gd name="connsiteY3565" fmla="*/ 1326147 h 8861755"/>
              <a:gd name="connsiteX3566" fmla="*/ 4202306 w 4772243"/>
              <a:gd name="connsiteY3566" fmla="*/ 1301652 h 8861755"/>
              <a:gd name="connsiteX3567" fmla="*/ 4203815 w 4772243"/>
              <a:gd name="connsiteY3567" fmla="*/ 1275812 h 8861755"/>
              <a:gd name="connsiteX3568" fmla="*/ 4203513 w 4772243"/>
              <a:gd name="connsiteY3568" fmla="*/ 1262353 h 8861755"/>
              <a:gd name="connsiteX3569" fmla="*/ 4202909 w 4772243"/>
              <a:gd name="connsiteY3569" fmla="*/ 1242165 h 8861755"/>
              <a:gd name="connsiteX3570" fmla="*/ 4206229 w 4772243"/>
              <a:gd name="connsiteY3570" fmla="*/ 1202328 h 8861755"/>
              <a:gd name="connsiteX3571" fmla="*/ 4214075 w 4772243"/>
              <a:gd name="connsiteY3571" fmla="*/ 1173795 h 8861755"/>
              <a:gd name="connsiteX3572" fmla="*/ 4221318 w 4772243"/>
              <a:gd name="connsiteY3572" fmla="*/ 1154953 h 8861755"/>
              <a:gd name="connsiteX3573" fmla="*/ 4231578 w 4772243"/>
              <a:gd name="connsiteY3573" fmla="*/ 1136649 h 8861755"/>
              <a:gd name="connsiteX3574" fmla="*/ 4244555 w 4772243"/>
              <a:gd name="connsiteY3574" fmla="*/ 1118884 h 8861755"/>
              <a:gd name="connsiteX3575" fmla="*/ 4252401 w 4772243"/>
              <a:gd name="connsiteY3575" fmla="*/ 1110540 h 8861755"/>
              <a:gd name="connsiteX3576" fmla="*/ 4246366 w 4772243"/>
              <a:gd name="connsiteY3576" fmla="*/ 1122653 h 8861755"/>
              <a:gd name="connsiteX3577" fmla="*/ 4236709 w 4772243"/>
              <a:gd name="connsiteY3577" fmla="*/ 1147954 h 8861755"/>
              <a:gd name="connsiteX3578" fmla="*/ 4228863 w 4772243"/>
              <a:gd name="connsiteY3578" fmla="*/ 1172987 h 8861755"/>
              <a:gd name="connsiteX3579" fmla="*/ 4223430 w 4772243"/>
              <a:gd name="connsiteY3579" fmla="*/ 1198828 h 8861755"/>
              <a:gd name="connsiteX3580" fmla="*/ 4219810 w 4772243"/>
              <a:gd name="connsiteY3580" fmla="*/ 1224669 h 8861755"/>
              <a:gd name="connsiteX3581" fmla="*/ 4218602 w 4772243"/>
              <a:gd name="connsiteY3581" fmla="*/ 1250779 h 8861755"/>
              <a:gd name="connsiteX3582" fmla="*/ 4219810 w 4772243"/>
              <a:gd name="connsiteY3582" fmla="*/ 1277696 h 8861755"/>
              <a:gd name="connsiteX3583" fmla="*/ 4223430 w 4772243"/>
              <a:gd name="connsiteY3583" fmla="*/ 1304882 h 8861755"/>
              <a:gd name="connsiteX3584" fmla="*/ 4226449 w 4772243"/>
              <a:gd name="connsiteY3584" fmla="*/ 1318880 h 8861755"/>
              <a:gd name="connsiteX3585" fmla="*/ 4243046 w 4772243"/>
              <a:gd name="connsiteY3585" fmla="*/ 1309727 h 8861755"/>
              <a:gd name="connsiteX3586" fmla="*/ 4255721 w 4772243"/>
              <a:gd name="connsiteY3586" fmla="*/ 1302998 h 8861755"/>
              <a:gd name="connsiteX3587" fmla="*/ 4259644 w 4772243"/>
              <a:gd name="connsiteY3587" fmla="*/ 1304882 h 8861755"/>
              <a:gd name="connsiteX3588" fmla="*/ 4264473 w 4772243"/>
              <a:gd name="connsiteY3588" fmla="*/ 1308920 h 8861755"/>
              <a:gd name="connsiteX3589" fmla="*/ 4265076 w 4772243"/>
              <a:gd name="connsiteY3589" fmla="*/ 1312419 h 8861755"/>
              <a:gd name="connsiteX3590" fmla="*/ 4264171 w 4772243"/>
              <a:gd name="connsiteY3590" fmla="*/ 1314034 h 8861755"/>
              <a:gd name="connsiteX3591" fmla="*/ 4260248 w 4772243"/>
              <a:gd name="connsiteY3591" fmla="*/ 1318341 h 8861755"/>
              <a:gd name="connsiteX3592" fmla="*/ 4249081 w 4772243"/>
              <a:gd name="connsiteY3592" fmla="*/ 1325339 h 8861755"/>
              <a:gd name="connsiteX3593" fmla="*/ 4236709 w 4772243"/>
              <a:gd name="connsiteY3593" fmla="*/ 1333145 h 8861755"/>
              <a:gd name="connsiteX3594" fmla="*/ 4225845 w 4772243"/>
              <a:gd name="connsiteY3594" fmla="*/ 1344989 h 8861755"/>
              <a:gd name="connsiteX3595" fmla="*/ 4221922 w 4772243"/>
              <a:gd name="connsiteY3595" fmla="*/ 1353334 h 8861755"/>
              <a:gd name="connsiteX3596" fmla="*/ 4217394 w 4772243"/>
              <a:gd name="connsiteY3596" fmla="*/ 1363024 h 8861755"/>
              <a:gd name="connsiteX3597" fmla="*/ 4207436 w 4772243"/>
              <a:gd name="connsiteY3597" fmla="*/ 1381597 h 8861755"/>
              <a:gd name="connsiteX3598" fmla="*/ 4189028 w 4772243"/>
              <a:gd name="connsiteY3598" fmla="*/ 1407168 h 8861755"/>
              <a:gd name="connsiteX3599" fmla="*/ 4158850 w 4772243"/>
              <a:gd name="connsiteY3599" fmla="*/ 1438123 h 8861755"/>
              <a:gd name="connsiteX3600" fmla="*/ 4125654 w 4772243"/>
              <a:gd name="connsiteY3600" fmla="*/ 1467194 h 8861755"/>
              <a:gd name="connsiteX3601" fmla="*/ 4108452 w 4772243"/>
              <a:gd name="connsiteY3601" fmla="*/ 1481460 h 8861755"/>
              <a:gd name="connsiteX3602" fmla="*/ 4085819 w 4772243"/>
              <a:gd name="connsiteY3602" fmla="*/ 1500302 h 8861755"/>
              <a:gd name="connsiteX3603" fmla="*/ 4042363 w 4772243"/>
              <a:gd name="connsiteY3603" fmla="*/ 1539602 h 8861755"/>
              <a:gd name="connsiteX3604" fmla="*/ 4000415 w 4772243"/>
              <a:gd name="connsiteY3604" fmla="*/ 1580516 h 8861755"/>
              <a:gd name="connsiteX3605" fmla="*/ 3961787 w 4772243"/>
              <a:gd name="connsiteY3605" fmla="*/ 1623045 h 8861755"/>
              <a:gd name="connsiteX3606" fmla="*/ 3943681 w 4772243"/>
              <a:gd name="connsiteY3606" fmla="*/ 1645118 h 8861755"/>
              <a:gd name="connsiteX3607" fmla="*/ 3927686 w 4772243"/>
              <a:gd name="connsiteY3607" fmla="*/ 1664498 h 8861755"/>
              <a:gd name="connsiteX3608" fmla="*/ 3893283 w 4772243"/>
              <a:gd name="connsiteY3608" fmla="*/ 1701105 h 8861755"/>
              <a:gd name="connsiteX3609" fmla="*/ 3864614 w 4772243"/>
              <a:gd name="connsiteY3609" fmla="*/ 1724793 h 8861755"/>
              <a:gd name="connsiteX3610" fmla="*/ 3843489 w 4772243"/>
              <a:gd name="connsiteY3610" fmla="*/ 1739328 h 8861755"/>
              <a:gd name="connsiteX3611" fmla="*/ 3820554 w 4772243"/>
              <a:gd name="connsiteY3611" fmla="*/ 1751710 h 8861755"/>
              <a:gd name="connsiteX3612" fmla="*/ 3795205 w 4772243"/>
              <a:gd name="connsiteY3612" fmla="*/ 1762208 h 8861755"/>
              <a:gd name="connsiteX3613" fmla="*/ 3781021 w 4772243"/>
              <a:gd name="connsiteY3613" fmla="*/ 1766515 h 8861755"/>
              <a:gd name="connsiteX3614" fmla="*/ 3753559 w 4772243"/>
              <a:gd name="connsiteY3614" fmla="*/ 1774859 h 8861755"/>
              <a:gd name="connsiteX3615" fmla="*/ 3700748 w 4772243"/>
              <a:gd name="connsiteY3615" fmla="*/ 1794778 h 8861755"/>
              <a:gd name="connsiteX3616" fmla="*/ 3676500 w 4772243"/>
              <a:gd name="connsiteY3616" fmla="*/ 1805527 h 8861755"/>
              <a:gd name="connsiteX3617" fmla="*/ 3659853 w 4772243"/>
              <a:gd name="connsiteY3617" fmla="*/ 1822471 h 8861755"/>
              <a:gd name="connsiteX3618" fmla="*/ 3642228 w 4772243"/>
              <a:gd name="connsiteY3618" fmla="*/ 1841855 h 8861755"/>
              <a:gd name="connsiteX3619" fmla="*/ 3731837 w 4772243"/>
              <a:gd name="connsiteY3619" fmla="*/ 1842441 h 8861755"/>
              <a:gd name="connsiteX3620" fmla="*/ 3867646 w 4772243"/>
              <a:gd name="connsiteY3620" fmla="*/ 1843494 h 8861755"/>
              <a:gd name="connsiteX3621" fmla="*/ 3958264 w 4772243"/>
              <a:gd name="connsiteY3621" fmla="*/ 1842758 h 8861755"/>
              <a:gd name="connsiteX3622" fmla="*/ 4004163 w 4772243"/>
              <a:gd name="connsiteY3622" fmla="*/ 1841227 h 8861755"/>
              <a:gd name="connsiteX3623" fmla="*/ 4019671 w 4772243"/>
              <a:gd name="connsiteY3623" fmla="*/ 1840011 h 8861755"/>
              <a:gd name="connsiteX3624" fmla="*/ 4051854 w 4772243"/>
              <a:gd name="connsiteY3624" fmla="*/ 1833850 h 8861755"/>
              <a:gd name="connsiteX3625" fmla="*/ 4083989 w 4772243"/>
              <a:gd name="connsiteY3625" fmla="*/ 1823484 h 8861755"/>
              <a:gd name="connsiteX3626" fmla="*/ 4113387 w 4772243"/>
              <a:gd name="connsiteY3626" fmla="*/ 1809469 h 8861755"/>
              <a:gd name="connsiteX3627" fmla="*/ 4126588 w 4772243"/>
              <a:gd name="connsiteY3627" fmla="*/ 1801389 h 8861755"/>
              <a:gd name="connsiteX3628" fmla="*/ 4147156 w 4772243"/>
              <a:gd name="connsiteY3628" fmla="*/ 1787453 h 8861755"/>
              <a:gd name="connsiteX3629" fmla="*/ 4186033 w 4772243"/>
              <a:gd name="connsiteY3629" fmla="*/ 1756922 h 8861755"/>
              <a:gd name="connsiteX3630" fmla="*/ 4242551 w 4772243"/>
              <a:gd name="connsiteY3630" fmla="*/ 1708407 h 8861755"/>
              <a:gd name="connsiteX3631" fmla="*/ 4279643 w 4772243"/>
              <a:gd name="connsiteY3631" fmla="*/ 1676209 h 8861755"/>
              <a:gd name="connsiteX3632" fmla="*/ 4287481 w 4772243"/>
              <a:gd name="connsiteY3632" fmla="*/ 1670643 h 8861755"/>
              <a:gd name="connsiteX3633" fmla="*/ 4295136 w 4772243"/>
              <a:gd name="connsiteY3633" fmla="*/ 1665380 h 8861755"/>
              <a:gd name="connsiteX3634" fmla="*/ 4299729 w 4772243"/>
              <a:gd name="connsiteY3634" fmla="*/ 1668792 h 8861755"/>
              <a:gd name="connsiteX3635" fmla="*/ 4304227 w 4772243"/>
              <a:gd name="connsiteY3635" fmla="*/ 1672006 h 8861755"/>
              <a:gd name="connsiteX3636" fmla="*/ 4256434 w 4772243"/>
              <a:gd name="connsiteY3636" fmla="*/ 1719542 h 8861755"/>
              <a:gd name="connsiteX3637" fmla="*/ 4212402 w 4772243"/>
              <a:gd name="connsiteY3637" fmla="*/ 1762596 h 8861755"/>
              <a:gd name="connsiteX3638" fmla="*/ 4302613 w 4772243"/>
              <a:gd name="connsiteY3638" fmla="*/ 1742541 h 8861755"/>
              <a:gd name="connsiteX3639" fmla="*/ 4397749 w 4772243"/>
              <a:gd name="connsiteY3639" fmla="*/ 1722486 h 8861755"/>
              <a:gd name="connsiteX3640" fmla="*/ 4412307 w 4772243"/>
              <a:gd name="connsiteY3640" fmla="*/ 1719286 h 8861755"/>
              <a:gd name="connsiteX3641" fmla="*/ 4440008 w 4772243"/>
              <a:gd name="connsiteY3641" fmla="*/ 1711314 h 8861755"/>
              <a:gd name="connsiteX3642" fmla="*/ 4465361 w 4772243"/>
              <a:gd name="connsiteY3642" fmla="*/ 1701187 h 8861755"/>
              <a:gd name="connsiteX3643" fmla="*/ 4489387 w 4772243"/>
              <a:gd name="connsiteY3643" fmla="*/ 1688982 h 8861755"/>
              <a:gd name="connsiteX3644" fmla="*/ 4511162 w 4772243"/>
              <a:gd name="connsiteY3644" fmla="*/ 1674820 h 8861755"/>
              <a:gd name="connsiteX3645" fmla="*/ 4530962 w 4772243"/>
              <a:gd name="connsiteY3645" fmla="*/ 1658596 h 8861755"/>
              <a:gd name="connsiteX3646" fmla="*/ 4549064 w 4772243"/>
              <a:gd name="connsiteY3646" fmla="*/ 1640202 h 8861755"/>
              <a:gd name="connsiteX3647" fmla="*/ 4565563 w 4772243"/>
              <a:gd name="connsiteY3647" fmla="*/ 1619838 h 8861755"/>
              <a:gd name="connsiteX3648" fmla="*/ 4573059 w 4772243"/>
              <a:gd name="connsiteY3648" fmla="*/ 1608771 h 8861755"/>
              <a:gd name="connsiteX3649" fmla="*/ 4584306 w 4772243"/>
              <a:gd name="connsiteY3649" fmla="*/ 1592520 h 8861755"/>
              <a:gd name="connsiteX3650" fmla="*/ 4610348 w 4772243"/>
              <a:gd name="connsiteY3650" fmla="*/ 1561247 h 8861755"/>
              <a:gd name="connsiteX3651" fmla="*/ 4633256 w 4772243"/>
              <a:gd name="connsiteY3651" fmla="*/ 1540554 h 8861755"/>
              <a:gd name="connsiteX3652" fmla="*/ 4650216 w 4772243"/>
              <a:gd name="connsiteY3652" fmla="*/ 1527991 h 8861755"/>
              <a:gd name="connsiteX3653" fmla="*/ 4668492 w 4772243"/>
              <a:gd name="connsiteY3653" fmla="*/ 1516805 h 8861755"/>
              <a:gd name="connsiteX3654" fmla="*/ 4689014 w 4772243"/>
              <a:gd name="connsiteY3654" fmla="*/ 1506876 h 8861755"/>
              <a:gd name="connsiteX3655" fmla="*/ 4699842 w 4772243"/>
              <a:gd name="connsiteY3655" fmla="*/ 1502751 h 8861755"/>
              <a:gd name="connsiteX3656" fmla="*/ 4688038 w 4772243"/>
              <a:gd name="connsiteY3656" fmla="*/ 1511001 h 8861755"/>
              <a:gd name="connsiteX3657" fmla="*/ 4665828 w 4772243"/>
              <a:gd name="connsiteY3657" fmla="*/ 1527675 h 8861755"/>
              <a:gd name="connsiteX3658" fmla="*/ 4644838 w 4772243"/>
              <a:gd name="connsiteY3658" fmla="*/ 1545526 h 8861755"/>
              <a:gd name="connsiteX3659" fmla="*/ 4625809 w 4772243"/>
              <a:gd name="connsiteY3659" fmla="*/ 1564038 h 8861755"/>
              <a:gd name="connsiteX3660" fmla="*/ 4608096 w 4772243"/>
              <a:gd name="connsiteY3660" fmla="*/ 1583926 h 8861755"/>
              <a:gd name="connsiteX3661" fmla="*/ 4591510 w 4772243"/>
              <a:gd name="connsiteY3661" fmla="*/ 1604791 h 8861755"/>
              <a:gd name="connsiteX3662" fmla="*/ 4576518 w 4772243"/>
              <a:gd name="connsiteY3662" fmla="*/ 1626927 h 8861755"/>
              <a:gd name="connsiteX3663" fmla="*/ 4563677 w 4772243"/>
              <a:gd name="connsiteY3663" fmla="*/ 1650121 h 8861755"/>
              <a:gd name="connsiteX3664" fmla="*/ 4557498 w 4772243"/>
              <a:gd name="connsiteY3664" fmla="*/ 1662565 h 8861755"/>
              <a:gd name="connsiteX3665" fmla="*/ 4575512 w 4772243"/>
              <a:gd name="connsiteY3665" fmla="*/ 1661098 h 8861755"/>
              <a:gd name="connsiteX3666" fmla="*/ 4589165 w 4772243"/>
              <a:gd name="connsiteY3666" fmla="*/ 1660119 h 8861755"/>
              <a:gd name="connsiteX3667" fmla="*/ 4591704 w 4772243"/>
              <a:gd name="connsiteY3667" fmla="*/ 1662672 h 8861755"/>
              <a:gd name="connsiteX3668" fmla="*/ 4592600 w 4772243"/>
              <a:gd name="connsiteY3668" fmla="*/ 1667962 h 8861755"/>
              <a:gd name="connsiteX3669" fmla="*/ 4591427 w 4772243"/>
              <a:gd name="connsiteY3669" fmla="*/ 1670990 h 8861755"/>
              <a:gd name="connsiteX3670" fmla="*/ 4589856 w 4772243"/>
              <a:gd name="connsiteY3670" fmla="*/ 1671822 h 8861755"/>
              <a:gd name="connsiteX3671" fmla="*/ 4584026 w 4772243"/>
              <a:gd name="connsiteY3671" fmla="*/ 1674044 h 8861755"/>
              <a:gd name="connsiteX3672" fmla="*/ 4571127 w 4772243"/>
              <a:gd name="connsiteY3672" fmla="*/ 1675908 h 8861755"/>
              <a:gd name="connsiteX3673" fmla="*/ 4557300 w 4772243"/>
              <a:gd name="connsiteY3673" fmla="*/ 1677890 h 8861755"/>
              <a:gd name="connsiteX3674" fmla="*/ 4541561 w 4772243"/>
              <a:gd name="connsiteY3674" fmla="*/ 1683418 h 8861755"/>
              <a:gd name="connsiteX3675" fmla="*/ 4533724 w 4772243"/>
              <a:gd name="connsiteY3675" fmla="*/ 1688984 h 8861755"/>
              <a:gd name="connsiteX3676" fmla="*/ 4524967 w 4772243"/>
              <a:gd name="connsiteY3676" fmla="*/ 1695371 h 8861755"/>
              <a:gd name="connsiteX3677" fmla="*/ 4506135 w 4772243"/>
              <a:gd name="connsiteY3677" fmla="*/ 1706768 h 8861755"/>
              <a:gd name="connsiteX3678" fmla="*/ 4476832 w 4772243"/>
              <a:gd name="connsiteY3678" fmla="*/ 1720982 h 8861755"/>
              <a:gd name="connsiteX3679" fmla="*/ 4435637 w 4772243"/>
              <a:gd name="connsiteY3679" fmla="*/ 1735738 h 8861755"/>
              <a:gd name="connsiteX3680" fmla="*/ 4393294 w 4772243"/>
              <a:gd name="connsiteY3680" fmla="*/ 1747412 h 8861755"/>
              <a:gd name="connsiteX3681" fmla="*/ 4371050 w 4772243"/>
              <a:gd name="connsiteY3681" fmla="*/ 1753070 h 8861755"/>
              <a:gd name="connsiteX3682" fmla="*/ 4342786 w 4772243"/>
              <a:gd name="connsiteY3682" fmla="*/ 1760554 h 8861755"/>
              <a:gd name="connsiteX3683" fmla="*/ 4286091 w 4772243"/>
              <a:gd name="connsiteY3683" fmla="*/ 1777226 h 8861755"/>
              <a:gd name="connsiteX3684" fmla="*/ 4229975 w 4772243"/>
              <a:gd name="connsiteY3684" fmla="*/ 1795788 h 8861755"/>
              <a:gd name="connsiteX3685" fmla="*/ 4175279 w 4772243"/>
              <a:gd name="connsiteY3685" fmla="*/ 1816627 h 8861755"/>
              <a:gd name="connsiteX3686" fmla="*/ 4148269 w 4772243"/>
              <a:gd name="connsiteY3686" fmla="*/ 1828090 h 8861755"/>
              <a:gd name="connsiteX3687" fmla="*/ 4124409 w 4772243"/>
              <a:gd name="connsiteY3687" fmla="*/ 1838587 h 8861755"/>
              <a:gd name="connsiteX3688" fmla="*/ 4076368 w 4772243"/>
              <a:gd name="connsiteY3688" fmla="*/ 1856187 h 8861755"/>
              <a:gd name="connsiteX3689" fmla="*/ 4040409 w 4772243"/>
              <a:gd name="connsiteY3689" fmla="*/ 1865427 h 8861755"/>
              <a:gd name="connsiteX3690" fmla="*/ 4015453 w 4772243"/>
              <a:gd name="connsiteY3690" fmla="*/ 1869539 h 8861755"/>
              <a:gd name="connsiteX3691" fmla="*/ 3990473 w 4772243"/>
              <a:gd name="connsiteY3691" fmla="*/ 1871547 h 8861755"/>
              <a:gd name="connsiteX3692" fmla="*/ 3964722 w 4772243"/>
              <a:gd name="connsiteY3692" fmla="*/ 1871269 h 8861755"/>
              <a:gd name="connsiteX3693" fmla="*/ 3951323 w 4772243"/>
              <a:gd name="connsiteY3693" fmla="*/ 1870038 h 8861755"/>
              <a:gd name="connsiteX3694" fmla="*/ 3925360 w 4772243"/>
              <a:gd name="connsiteY3694" fmla="*/ 1867259 h 8861755"/>
              <a:gd name="connsiteX3695" fmla="*/ 3873280 w 4772243"/>
              <a:gd name="connsiteY3695" fmla="*/ 1864810 h 8861755"/>
              <a:gd name="connsiteX3696" fmla="*/ 3820955 w 4772243"/>
              <a:gd name="connsiteY3696" fmla="*/ 1865271 h 8861755"/>
              <a:gd name="connsiteX3697" fmla="*/ 3769035 w 4772243"/>
              <a:gd name="connsiteY3697" fmla="*/ 1868627 h 8861755"/>
              <a:gd name="connsiteX3698" fmla="*/ 3717234 w 4772243"/>
              <a:gd name="connsiteY3698" fmla="*/ 1874283 h 8861755"/>
              <a:gd name="connsiteX3699" fmla="*/ 3665275 w 4772243"/>
              <a:gd name="connsiteY3699" fmla="*/ 1882347 h 8861755"/>
              <a:gd name="connsiteX3700" fmla="*/ 3588296 w 4772243"/>
              <a:gd name="connsiteY3700" fmla="*/ 1897127 h 8861755"/>
              <a:gd name="connsiteX3701" fmla="*/ 3536845 w 4772243"/>
              <a:gd name="connsiteY3701" fmla="*/ 1908986 h 8861755"/>
              <a:gd name="connsiteX3702" fmla="*/ 3527762 w 4772243"/>
              <a:gd name="connsiteY3702" fmla="*/ 1911273 h 8861755"/>
              <a:gd name="connsiteX3703" fmla="*/ 3510444 w 4772243"/>
              <a:gd name="connsiteY3703" fmla="*/ 1916932 h 8861755"/>
              <a:gd name="connsiteX3704" fmla="*/ 3484544 w 4772243"/>
              <a:gd name="connsiteY3704" fmla="*/ 1927972 h 8861755"/>
              <a:gd name="connsiteX3705" fmla="*/ 3435315 w 4772243"/>
              <a:gd name="connsiteY3705" fmla="*/ 1955408 h 8861755"/>
              <a:gd name="connsiteX3706" fmla="*/ 3416008 w 4772243"/>
              <a:gd name="connsiteY3706" fmla="*/ 1967418 h 8861755"/>
              <a:gd name="connsiteX3707" fmla="*/ 3405229 w 4772243"/>
              <a:gd name="connsiteY3707" fmla="*/ 1975911 h 8861755"/>
              <a:gd name="connsiteX3708" fmla="*/ 3462392 w 4772243"/>
              <a:gd name="connsiteY3708" fmla="*/ 1990612 h 8861755"/>
              <a:gd name="connsiteX3709" fmla="*/ 3550376 w 4772243"/>
              <a:gd name="connsiteY3709" fmla="*/ 2011761 h 8861755"/>
              <a:gd name="connsiteX3710" fmla="*/ 3609262 w 4772243"/>
              <a:gd name="connsiteY3710" fmla="*/ 2024287 h 8861755"/>
              <a:gd name="connsiteX3711" fmla="*/ 3668584 w 4772243"/>
              <a:gd name="connsiteY3711" fmla="*/ 2034300 h 8861755"/>
              <a:gd name="connsiteX3712" fmla="*/ 3728708 w 4772243"/>
              <a:gd name="connsiteY3712" fmla="*/ 2041193 h 8861755"/>
              <a:gd name="connsiteX3713" fmla="*/ 3789989 w 4772243"/>
              <a:gd name="connsiteY3713" fmla="*/ 2043657 h 8861755"/>
              <a:gd name="connsiteX3714" fmla="*/ 3852333 w 4772243"/>
              <a:gd name="connsiteY3714" fmla="*/ 2041491 h 8861755"/>
              <a:gd name="connsiteX3715" fmla="*/ 3884825 w 4772243"/>
              <a:gd name="connsiteY3715" fmla="*/ 2038028 h 8861755"/>
              <a:gd name="connsiteX3716" fmla="*/ 3923347 w 4772243"/>
              <a:gd name="connsiteY3716" fmla="*/ 2033441 h 8861755"/>
              <a:gd name="connsiteX3717" fmla="*/ 4001810 w 4772243"/>
              <a:gd name="connsiteY3717" fmla="*/ 2026543 h 8861755"/>
              <a:gd name="connsiteX3718" fmla="*/ 4119691 w 4772243"/>
              <a:gd name="connsiteY3718" fmla="*/ 2020347 h 8861755"/>
              <a:gd name="connsiteX3719" fmla="*/ 4198297 w 4772243"/>
              <a:gd name="connsiteY3719" fmla="*/ 2017852 h 8861755"/>
              <a:gd name="connsiteX3720" fmla="*/ 4213259 w 4772243"/>
              <a:gd name="connsiteY3720" fmla="*/ 2017549 h 8861755"/>
              <a:gd name="connsiteX3721" fmla="*/ 4243292 w 4772243"/>
              <a:gd name="connsiteY3721" fmla="*/ 2018542 h 8861755"/>
              <a:gd name="connsiteX3722" fmla="*/ 4272700 w 4772243"/>
              <a:gd name="connsiteY3722" fmla="*/ 2021651 h 8861755"/>
              <a:gd name="connsiteX3723" fmla="*/ 4301012 w 4772243"/>
              <a:gd name="connsiteY3723" fmla="*/ 2026586 h 8861755"/>
              <a:gd name="connsiteX3724" fmla="*/ 4329158 w 4772243"/>
              <a:gd name="connsiteY3724" fmla="*/ 2033225 h 8861755"/>
              <a:gd name="connsiteX3725" fmla="*/ 4356028 w 4772243"/>
              <a:gd name="connsiteY3725" fmla="*/ 2041994 h 8861755"/>
              <a:gd name="connsiteX3726" fmla="*/ 4383007 w 4772243"/>
              <a:gd name="connsiteY3726" fmla="*/ 2052362 h 8861755"/>
              <a:gd name="connsiteX3727" fmla="*/ 4408703 w 4772243"/>
              <a:gd name="connsiteY3727" fmla="*/ 2064160 h 8861755"/>
              <a:gd name="connsiteX3728" fmla="*/ 4421142 w 4772243"/>
              <a:gd name="connsiteY3728" fmla="*/ 2070917 h 8861755"/>
              <a:gd name="connsiteX3729" fmla="*/ 4430582 w 4772243"/>
              <a:gd name="connsiteY3729" fmla="*/ 2075533 h 8861755"/>
              <a:gd name="connsiteX3730" fmla="*/ 4451564 w 4772243"/>
              <a:gd name="connsiteY3730" fmla="*/ 2081618 h 8861755"/>
              <a:gd name="connsiteX3731" fmla="*/ 4486017 w 4772243"/>
              <a:gd name="connsiteY3731" fmla="*/ 2087028 h 8861755"/>
              <a:gd name="connsiteX3732" fmla="*/ 4508903 w 4772243"/>
              <a:gd name="connsiteY3732" fmla="*/ 2088867 h 8861755"/>
              <a:gd name="connsiteX3733" fmla="*/ 4536994 w 4772243"/>
              <a:gd name="connsiteY3733" fmla="*/ 2090600 h 8861755"/>
              <a:gd name="connsiteX3734" fmla="*/ 4593126 w 4772243"/>
              <a:gd name="connsiteY3734" fmla="*/ 2089862 h 8861755"/>
              <a:gd name="connsiteX3735" fmla="*/ 4650354 w 4772243"/>
              <a:gd name="connsiteY3735" fmla="*/ 2087300 h 8861755"/>
              <a:gd name="connsiteX3736" fmla="*/ 4707042 w 4772243"/>
              <a:gd name="connsiteY3736" fmla="*/ 2086351 h 8861755"/>
              <a:gd name="connsiteX3737" fmla="*/ 4734942 w 4772243"/>
              <a:gd name="connsiteY3737" fmla="*/ 2087689 h 8861755"/>
              <a:gd name="connsiteX3738" fmla="*/ 4740066 w 4772243"/>
              <a:gd name="connsiteY3738" fmla="*/ 2088786 h 8861755"/>
              <a:gd name="connsiteX3739" fmla="*/ 4749340 w 4772243"/>
              <a:gd name="connsiteY3739" fmla="*/ 2095108 h 8861755"/>
              <a:gd name="connsiteX3740" fmla="*/ 4762969 w 4772243"/>
              <a:gd name="connsiteY3740" fmla="*/ 2108451 h 886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Lst>
            <a:rect l="l" t="t" r="r" b="b"/>
            <a:pathLst>
              <a:path w="4772243" h="8861755">
                <a:moveTo>
                  <a:pt x="1039790" y="2116697"/>
                </a:moveTo>
                <a:lnTo>
                  <a:pt x="1039591" y="2116605"/>
                </a:lnTo>
                <a:lnTo>
                  <a:pt x="1039628" y="2116572"/>
                </a:lnTo>
                <a:close/>
                <a:moveTo>
                  <a:pt x="1848531" y="3168136"/>
                </a:moveTo>
                <a:lnTo>
                  <a:pt x="1825713" y="3191405"/>
                </a:lnTo>
                <a:lnTo>
                  <a:pt x="1806683" y="3213830"/>
                </a:lnTo>
                <a:lnTo>
                  <a:pt x="1802138" y="3220926"/>
                </a:lnTo>
                <a:lnTo>
                  <a:pt x="1777995" y="3221778"/>
                </a:lnTo>
                <a:lnTo>
                  <a:pt x="1755388" y="3224707"/>
                </a:lnTo>
                <a:lnTo>
                  <a:pt x="1731831" y="3220510"/>
                </a:lnTo>
                <a:lnTo>
                  <a:pt x="1634882" y="3207597"/>
                </a:lnTo>
                <a:lnTo>
                  <a:pt x="1537028" y="3198181"/>
                </a:lnTo>
                <a:lnTo>
                  <a:pt x="1488100" y="3194684"/>
                </a:lnTo>
                <a:lnTo>
                  <a:pt x="1450348" y="3192530"/>
                </a:lnTo>
                <a:lnTo>
                  <a:pt x="1376655" y="3186343"/>
                </a:lnTo>
                <a:lnTo>
                  <a:pt x="1323198" y="3178542"/>
                </a:lnTo>
                <a:lnTo>
                  <a:pt x="1288768" y="3171008"/>
                </a:lnTo>
                <a:lnTo>
                  <a:pt x="1254640" y="3160786"/>
                </a:lnTo>
                <a:lnTo>
                  <a:pt x="1221719" y="3147873"/>
                </a:lnTo>
                <a:lnTo>
                  <a:pt x="1205712" y="3139802"/>
                </a:lnTo>
                <a:lnTo>
                  <a:pt x="1160410" y="3140340"/>
                </a:lnTo>
                <a:lnTo>
                  <a:pt x="1077958" y="3137381"/>
                </a:lnTo>
                <a:lnTo>
                  <a:pt x="1006379" y="3131463"/>
                </a:lnTo>
                <a:lnTo>
                  <a:pt x="944767" y="3123123"/>
                </a:lnTo>
                <a:lnTo>
                  <a:pt x="870169" y="3108864"/>
                </a:lnTo>
                <a:lnTo>
                  <a:pt x="808858" y="3092453"/>
                </a:lnTo>
                <a:lnTo>
                  <a:pt x="795569" y="3088687"/>
                </a:lnTo>
                <a:lnTo>
                  <a:pt x="792851" y="3087611"/>
                </a:lnTo>
                <a:lnTo>
                  <a:pt x="790133" y="3083037"/>
                </a:lnTo>
                <a:lnTo>
                  <a:pt x="791039" y="3073891"/>
                </a:lnTo>
                <a:lnTo>
                  <a:pt x="794362" y="3068779"/>
                </a:lnTo>
                <a:lnTo>
                  <a:pt x="810066" y="3069587"/>
                </a:lnTo>
                <a:lnTo>
                  <a:pt x="909733" y="3079540"/>
                </a:lnTo>
                <a:lnTo>
                  <a:pt x="1040508" y="3093260"/>
                </a:lnTo>
                <a:lnTo>
                  <a:pt x="1143496" y="3102946"/>
                </a:lnTo>
                <a:lnTo>
                  <a:pt x="1161617" y="3103215"/>
                </a:lnTo>
                <a:lnTo>
                  <a:pt x="1155275" y="3093529"/>
                </a:lnTo>
                <a:lnTo>
                  <a:pt x="1137456" y="3070124"/>
                </a:lnTo>
                <a:lnTo>
                  <a:pt x="1102120" y="3028963"/>
                </a:lnTo>
                <a:lnTo>
                  <a:pt x="1039602" y="2964127"/>
                </a:lnTo>
                <a:lnTo>
                  <a:pt x="966210" y="2893643"/>
                </a:lnTo>
                <a:lnTo>
                  <a:pt x="887988" y="2822889"/>
                </a:lnTo>
                <a:lnTo>
                  <a:pt x="809462" y="2757516"/>
                </a:lnTo>
                <a:lnTo>
                  <a:pt x="737884" y="2701828"/>
                </a:lnTo>
                <a:lnTo>
                  <a:pt x="691675" y="2670621"/>
                </a:lnTo>
                <a:lnTo>
                  <a:pt x="666003" y="2655554"/>
                </a:lnTo>
                <a:lnTo>
                  <a:pt x="654828" y="2650444"/>
                </a:lnTo>
                <a:lnTo>
                  <a:pt x="674158" y="2653941"/>
                </a:lnTo>
                <a:lnTo>
                  <a:pt x="711306" y="2664433"/>
                </a:lnTo>
                <a:lnTo>
                  <a:pt x="750569" y="2681113"/>
                </a:lnTo>
                <a:lnTo>
                  <a:pt x="794362" y="2707208"/>
                </a:lnTo>
                <a:lnTo>
                  <a:pt x="845101" y="2745410"/>
                </a:lnTo>
                <a:lnTo>
                  <a:pt x="907015" y="2798946"/>
                </a:lnTo>
                <a:lnTo>
                  <a:pt x="982218" y="2870507"/>
                </a:lnTo>
                <a:lnTo>
                  <a:pt x="1073729" y="2962514"/>
                </a:lnTo>
                <a:lnTo>
                  <a:pt x="1127791" y="3018202"/>
                </a:lnTo>
                <a:lnTo>
                  <a:pt x="1141986" y="3034344"/>
                </a:lnTo>
                <a:lnTo>
                  <a:pt x="1172490" y="3062861"/>
                </a:lnTo>
                <a:lnTo>
                  <a:pt x="1205712" y="3087880"/>
                </a:lnTo>
                <a:lnTo>
                  <a:pt x="1241653" y="3108864"/>
                </a:lnTo>
                <a:lnTo>
                  <a:pt x="1280009" y="3125544"/>
                </a:lnTo>
                <a:lnTo>
                  <a:pt x="1321688" y="3138457"/>
                </a:lnTo>
                <a:lnTo>
                  <a:pt x="1366085" y="3146797"/>
                </a:lnTo>
                <a:lnTo>
                  <a:pt x="1414106" y="3151370"/>
                </a:lnTo>
                <a:lnTo>
                  <a:pt x="1439173" y="3151638"/>
                </a:lnTo>
                <a:lnTo>
                  <a:pt x="1601962" y="3154598"/>
                </a:lnTo>
                <a:lnTo>
                  <a:pt x="1755992" y="3158633"/>
                </a:lnTo>
                <a:lnTo>
                  <a:pt x="1676259" y="3100255"/>
                </a:lnTo>
                <a:lnTo>
                  <a:pt x="1588975" y="3036227"/>
                </a:lnTo>
                <a:lnTo>
                  <a:pt x="1595921" y="3029501"/>
                </a:lnTo>
                <a:lnTo>
                  <a:pt x="1603170" y="3021969"/>
                </a:lnTo>
                <a:lnTo>
                  <a:pt x="1617063" y="3027887"/>
                </a:lnTo>
                <a:lnTo>
                  <a:pt x="1630352" y="3034882"/>
                </a:lnTo>
                <a:lnTo>
                  <a:pt x="1698306" y="3077119"/>
                </a:lnTo>
                <a:lnTo>
                  <a:pt x="1799483" y="3140609"/>
                </a:lnTo>
                <a:close/>
                <a:moveTo>
                  <a:pt x="1861593" y="8270953"/>
                </a:moveTo>
                <a:lnTo>
                  <a:pt x="1861583" y="8270975"/>
                </a:lnTo>
                <a:lnTo>
                  <a:pt x="1860677" y="8270705"/>
                </a:lnTo>
                <a:close/>
                <a:moveTo>
                  <a:pt x="1905576" y="5724598"/>
                </a:moveTo>
                <a:lnTo>
                  <a:pt x="1901178" y="5725632"/>
                </a:lnTo>
                <a:lnTo>
                  <a:pt x="1868278" y="5737999"/>
                </a:lnTo>
                <a:lnTo>
                  <a:pt x="1848357" y="5749829"/>
                </a:lnTo>
                <a:lnTo>
                  <a:pt x="1838095" y="5759239"/>
                </a:lnTo>
                <a:lnTo>
                  <a:pt x="1833869" y="5764348"/>
                </a:lnTo>
                <a:lnTo>
                  <a:pt x="1785575" y="5827800"/>
                </a:lnTo>
                <a:lnTo>
                  <a:pt x="1741507" y="5884261"/>
                </a:lnTo>
                <a:lnTo>
                  <a:pt x="1741507" y="5881303"/>
                </a:lnTo>
                <a:lnTo>
                  <a:pt x="1741205" y="5858181"/>
                </a:lnTo>
                <a:lnTo>
                  <a:pt x="1716757" y="5875926"/>
                </a:lnTo>
                <a:lnTo>
                  <a:pt x="1684460" y="5904156"/>
                </a:lnTo>
                <a:lnTo>
                  <a:pt x="1665142" y="5923784"/>
                </a:lnTo>
                <a:lnTo>
                  <a:pt x="1647636" y="5944217"/>
                </a:lnTo>
                <a:lnTo>
                  <a:pt x="1632243" y="5965726"/>
                </a:lnTo>
                <a:lnTo>
                  <a:pt x="1618660" y="5988041"/>
                </a:lnTo>
                <a:lnTo>
                  <a:pt x="1606587" y="6011971"/>
                </a:lnTo>
                <a:lnTo>
                  <a:pt x="1601456" y="6024070"/>
                </a:lnTo>
                <a:lnTo>
                  <a:pt x="1604172" y="6009282"/>
                </a:lnTo>
                <a:lnTo>
                  <a:pt x="1612321" y="5981589"/>
                </a:lnTo>
                <a:lnTo>
                  <a:pt x="1622886" y="5955510"/>
                </a:lnTo>
                <a:lnTo>
                  <a:pt x="1635563" y="5930236"/>
                </a:lnTo>
                <a:lnTo>
                  <a:pt x="1657295" y="5895015"/>
                </a:lnTo>
                <a:lnTo>
                  <a:pt x="1692610" y="5851459"/>
                </a:lnTo>
                <a:lnTo>
                  <a:pt x="1731546" y="5811130"/>
                </a:lnTo>
                <a:lnTo>
                  <a:pt x="1773502" y="5772682"/>
                </a:lnTo>
                <a:lnTo>
                  <a:pt x="1816061" y="5735580"/>
                </a:lnTo>
                <a:lnTo>
                  <a:pt x="1857110" y="5697939"/>
                </a:lnTo>
                <a:lnTo>
                  <a:pt x="1863149" y="5691887"/>
                </a:lnTo>
                <a:lnTo>
                  <a:pt x="1881388" y="5707458"/>
                </a:lnTo>
                <a:close/>
                <a:moveTo>
                  <a:pt x="1955779" y="5645567"/>
                </a:moveTo>
                <a:lnTo>
                  <a:pt x="1924864" y="5658310"/>
                </a:lnTo>
                <a:lnTo>
                  <a:pt x="1892470" y="5667401"/>
                </a:lnTo>
                <a:lnTo>
                  <a:pt x="1860929" y="5673367"/>
                </a:lnTo>
                <a:lnTo>
                  <a:pt x="1849018" y="5674643"/>
                </a:lnTo>
                <a:lnTo>
                  <a:pt x="1792216" y="5666482"/>
                </a:lnTo>
                <a:lnTo>
                  <a:pt x="1670274" y="5650082"/>
                </a:lnTo>
                <a:lnTo>
                  <a:pt x="1584553" y="5640940"/>
                </a:lnTo>
                <a:lnTo>
                  <a:pt x="1567650" y="5640133"/>
                </a:lnTo>
                <a:lnTo>
                  <a:pt x="1532939" y="5642015"/>
                </a:lnTo>
                <a:lnTo>
                  <a:pt x="1498530" y="5649005"/>
                </a:lnTo>
                <a:lnTo>
                  <a:pt x="1466837" y="5660298"/>
                </a:lnTo>
                <a:lnTo>
                  <a:pt x="1452651" y="5667289"/>
                </a:lnTo>
                <a:lnTo>
                  <a:pt x="1430316" y="5680194"/>
                </a:lnTo>
                <a:lnTo>
                  <a:pt x="1388058" y="5708424"/>
                </a:lnTo>
                <a:lnTo>
                  <a:pt x="1327691" y="5754669"/>
                </a:lnTo>
                <a:lnTo>
                  <a:pt x="1286944" y="5785050"/>
                </a:lnTo>
                <a:lnTo>
                  <a:pt x="1278794" y="5790159"/>
                </a:lnTo>
                <a:lnTo>
                  <a:pt x="1270343" y="5794729"/>
                </a:lnTo>
                <a:lnTo>
                  <a:pt x="1265212" y="5790159"/>
                </a:lnTo>
                <a:lnTo>
                  <a:pt x="1260684" y="5785588"/>
                </a:lnTo>
                <a:lnTo>
                  <a:pt x="1312600" y="5740150"/>
                </a:lnTo>
                <a:lnTo>
                  <a:pt x="1359988" y="5697939"/>
                </a:lnTo>
                <a:lnTo>
                  <a:pt x="1263400" y="5706812"/>
                </a:lnTo>
                <a:lnTo>
                  <a:pt x="1161381" y="5715415"/>
                </a:lnTo>
                <a:lnTo>
                  <a:pt x="1145685" y="5716759"/>
                </a:lnTo>
                <a:lnTo>
                  <a:pt x="1115804" y="5721330"/>
                </a:lnTo>
                <a:lnTo>
                  <a:pt x="1088035" y="5728858"/>
                </a:lnTo>
                <a:lnTo>
                  <a:pt x="1062681" y="5739075"/>
                </a:lnTo>
                <a:lnTo>
                  <a:pt x="1039138" y="5751443"/>
                </a:lnTo>
                <a:lnTo>
                  <a:pt x="1017707" y="5766768"/>
                </a:lnTo>
                <a:lnTo>
                  <a:pt x="997785" y="5784512"/>
                </a:lnTo>
                <a:lnTo>
                  <a:pt x="980279" y="5805216"/>
                </a:lnTo>
                <a:lnTo>
                  <a:pt x="971828" y="5816238"/>
                </a:lnTo>
                <a:lnTo>
                  <a:pt x="959452" y="5833446"/>
                </a:lnTo>
                <a:lnTo>
                  <a:pt x="931381" y="5864096"/>
                </a:lnTo>
                <a:lnTo>
                  <a:pt x="906631" y="5883992"/>
                </a:lnTo>
                <a:lnTo>
                  <a:pt x="888219" y="5895553"/>
                </a:lnTo>
                <a:lnTo>
                  <a:pt x="868298" y="5905232"/>
                </a:lnTo>
                <a:lnTo>
                  <a:pt x="846868" y="5913298"/>
                </a:lnTo>
                <a:lnTo>
                  <a:pt x="834493" y="5916256"/>
                </a:lnTo>
                <a:lnTo>
                  <a:pt x="847471" y="5908996"/>
                </a:lnTo>
                <a:lnTo>
                  <a:pt x="871316" y="5893671"/>
                </a:lnTo>
                <a:lnTo>
                  <a:pt x="893955" y="5876732"/>
                </a:lnTo>
                <a:lnTo>
                  <a:pt x="914781" y="5858449"/>
                </a:lnTo>
                <a:lnTo>
                  <a:pt x="934401" y="5839092"/>
                </a:lnTo>
                <a:lnTo>
                  <a:pt x="951907" y="5818121"/>
                </a:lnTo>
                <a:lnTo>
                  <a:pt x="967904" y="5795536"/>
                </a:lnTo>
                <a:lnTo>
                  <a:pt x="982392" y="5771338"/>
                </a:lnTo>
                <a:lnTo>
                  <a:pt x="989033" y="5758433"/>
                </a:lnTo>
                <a:lnTo>
                  <a:pt x="969716" y="5757088"/>
                </a:lnTo>
                <a:lnTo>
                  <a:pt x="955228" y="5756282"/>
                </a:lnTo>
                <a:lnTo>
                  <a:pt x="952813" y="5753056"/>
                </a:lnTo>
                <a:lnTo>
                  <a:pt x="951605" y="5746871"/>
                </a:lnTo>
                <a:lnTo>
                  <a:pt x="953115" y="5743914"/>
                </a:lnTo>
                <a:lnTo>
                  <a:pt x="955228" y="5743107"/>
                </a:lnTo>
                <a:lnTo>
                  <a:pt x="960962" y="5741764"/>
                </a:lnTo>
                <a:lnTo>
                  <a:pt x="974545" y="5741495"/>
                </a:lnTo>
                <a:lnTo>
                  <a:pt x="989636" y="5741495"/>
                </a:lnTo>
                <a:lnTo>
                  <a:pt x="1006237" y="5737192"/>
                </a:lnTo>
                <a:lnTo>
                  <a:pt x="1014991" y="5732354"/>
                </a:lnTo>
                <a:lnTo>
                  <a:pt x="1024650" y="5726438"/>
                </a:lnTo>
                <a:lnTo>
                  <a:pt x="1045174" y="5716759"/>
                </a:lnTo>
                <a:lnTo>
                  <a:pt x="1076263" y="5704929"/>
                </a:lnTo>
                <a:lnTo>
                  <a:pt x="1120633" y="5694713"/>
                </a:lnTo>
                <a:lnTo>
                  <a:pt x="1166512" y="5687723"/>
                </a:lnTo>
                <a:lnTo>
                  <a:pt x="1189753" y="5685033"/>
                </a:lnTo>
                <a:lnTo>
                  <a:pt x="1220238" y="5680731"/>
                </a:lnTo>
                <a:lnTo>
                  <a:pt x="1281511" y="5670784"/>
                </a:lnTo>
                <a:lnTo>
                  <a:pt x="1341878" y="5658147"/>
                </a:lnTo>
                <a:lnTo>
                  <a:pt x="1401038" y="5642822"/>
                </a:lnTo>
                <a:lnTo>
                  <a:pt x="1429712" y="5634219"/>
                </a:lnTo>
                <a:lnTo>
                  <a:pt x="1455367" y="5626153"/>
                </a:lnTo>
                <a:lnTo>
                  <a:pt x="1506982" y="5613516"/>
                </a:lnTo>
                <a:lnTo>
                  <a:pt x="1545918" y="5608408"/>
                </a:lnTo>
                <a:lnTo>
                  <a:pt x="1572480" y="5607601"/>
                </a:lnTo>
                <a:lnTo>
                  <a:pt x="1599343" y="5608946"/>
                </a:lnTo>
                <a:lnTo>
                  <a:pt x="1626810" y="5613247"/>
                </a:lnTo>
                <a:lnTo>
                  <a:pt x="1640997" y="5616742"/>
                </a:lnTo>
                <a:lnTo>
                  <a:pt x="1669067" y="5623732"/>
                </a:lnTo>
                <a:lnTo>
                  <a:pt x="1724907" y="5634487"/>
                </a:lnTo>
                <a:lnTo>
                  <a:pt x="1781048" y="5641746"/>
                </a:lnTo>
                <a:lnTo>
                  <a:pt x="1836585" y="5645510"/>
                </a:lnTo>
                <a:lnTo>
                  <a:pt x="1892424" y="5647124"/>
                </a:lnTo>
                <a:lnTo>
                  <a:pt x="1947963" y="5646048"/>
                </a:lnTo>
                <a:close/>
                <a:moveTo>
                  <a:pt x="2284447" y="8396878"/>
                </a:moveTo>
                <a:lnTo>
                  <a:pt x="2280520" y="8396072"/>
                </a:lnTo>
                <a:lnTo>
                  <a:pt x="2262397" y="8392036"/>
                </a:lnTo>
                <a:lnTo>
                  <a:pt x="2218601" y="8375625"/>
                </a:lnTo>
                <a:lnTo>
                  <a:pt x="2167254" y="8352220"/>
                </a:lnTo>
                <a:lnTo>
                  <a:pt x="2112583" y="8324241"/>
                </a:lnTo>
                <a:lnTo>
                  <a:pt x="2029822" y="8278237"/>
                </a:lnTo>
                <a:lnTo>
                  <a:pt x="1937094" y="8223088"/>
                </a:lnTo>
                <a:lnTo>
                  <a:pt x="1908098" y="8205332"/>
                </a:lnTo>
                <a:lnTo>
                  <a:pt x="1897224" y="8245417"/>
                </a:lnTo>
                <a:lnTo>
                  <a:pt x="1888465" y="8278507"/>
                </a:lnTo>
                <a:lnTo>
                  <a:pt x="1874571" y="8274471"/>
                </a:lnTo>
                <a:lnTo>
                  <a:pt x="1861593" y="8270953"/>
                </a:lnTo>
                <a:lnTo>
                  <a:pt x="1867020" y="8259675"/>
                </a:lnTo>
                <a:lnTo>
                  <a:pt x="1873363" y="8237883"/>
                </a:lnTo>
                <a:lnTo>
                  <a:pt x="1874873" y="8217169"/>
                </a:lnTo>
                <a:lnTo>
                  <a:pt x="1871248" y="8198068"/>
                </a:lnTo>
                <a:lnTo>
                  <a:pt x="1863093" y="8180043"/>
                </a:lnTo>
                <a:lnTo>
                  <a:pt x="1850407" y="8163095"/>
                </a:lnTo>
                <a:lnTo>
                  <a:pt x="1834097" y="8147222"/>
                </a:lnTo>
                <a:lnTo>
                  <a:pt x="1813256" y="8132425"/>
                </a:lnTo>
                <a:lnTo>
                  <a:pt x="1801476" y="8125161"/>
                </a:lnTo>
                <a:lnTo>
                  <a:pt x="1776104" y="8108213"/>
                </a:lnTo>
                <a:lnTo>
                  <a:pt x="1752243" y="8088843"/>
                </a:lnTo>
                <a:lnTo>
                  <a:pt x="1736234" y="8076468"/>
                </a:lnTo>
                <a:lnTo>
                  <a:pt x="1706030" y="8050103"/>
                </a:lnTo>
                <a:lnTo>
                  <a:pt x="1679449" y="8022663"/>
                </a:lnTo>
                <a:lnTo>
                  <a:pt x="1655890" y="7993609"/>
                </a:lnTo>
                <a:lnTo>
                  <a:pt x="1635653" y="7963477"/>
                </a:lnTo>
                <a:lnTo>
                  <a:pt x="1618738" y="7931732"/>
                </a:lnTo>
                <a:lnTo>
                  <a:pt x="1605147" y="7898642"/>
                </a:lnTo>
                <a:lnTo>
                  <a:pt x="1594877" y="7863937"/>
                </a:lnTo>
                <a:lnTo>
                  <a:pt x="1590950" y="7846183"/>
                </a:lnTo>
                <a:lnTo>
                  <a:pt x="1587024" y="7833000"/>
                </a:lnTo>
                <a:lnTo>
                  <a:pt x="1581285" y="7820356"/>
                </a:lnTo>
                <a:lnTo>
                  <a:pt x="1581889" y="7868781"/>
                </a:lnTo>
                <a:lnTo>
                  <a:pt x="1578566" y="7962133"/>
                </a:lnTo>
                <a:lnTo>
                  <a:pt x="1569505" y="8049835"/>
                </a:lnTo>
                <a:lnTo>
                  <a:pt x="1555007" y="8131081"/>
                </a:lnTo>
                <a:lnTo>
                  <a:pt x="1535072" y="8205870"/>
                </a:lnTo>
                <a:lnTo>
                  <a:pt x="1516345" y="8256715"/>
                </a:lnTo>
                <a:lnTo>
                  <a:pt x="1502149" y="8288461"/>
                </a:lnTo>
                <a:lnTo>
                  <a:pt x="1486744" y="8317785"/>
                </a:lnTo>
                <a:lnTo>
                  <a:pt x="1470132" y="8345225"/>
                </a:lnTo>
                <a:lnTo>
                  <a:pt x="1452009" y="8369975"/>
                </a:lnTo>
                <a:lnTo>
                  <a:pt x="1432679" y="8393112"/>
                </a:lnTo>
                <a:lnTo>
                  <a:pt x="1422711" y="8403066"/>
                </a:lnTo>
                <a:lnTo>
                  <a:pt x="1471642" y="8297070"/>
                </a:lnTo>
                <a:lnTo>
                  <a:pt x="1516949" y="8198875"/>
                </a:lnTo>
                <a:lnTo>
                  <a:pt x="1511210" y="8196723"/>
                </a:lnTo>
                <a:lnTo>
                  <a:pt x="1505170" y="8194571"/>
                </a:lnTo>
                <a:lnTo>
                  <a:pt x="1488557" y="8214479"/>
                </a:lnTo>
                <a:lnTo>
                  <a:pt x="1471038" y="8233849"/>
                </a:lnTo>
                <a:lnTo>
                  <a:pt x="1452311" y="8252681"/>
                </a:lnTo>
                <a:lnTo>
                  <a:pt x="1428450" y="8276086"/>
                </a:lnTo>
                <a:lnTo>
                  <a:pt x="1428148" y="8264787"/>
                </a:lnTo>
                <a:lnTo>
                  <a:pt x="1428450" y="8262903"/>
                </a:lnTo>
                <a:lnTo>
                  <a:pt x="1437209" y="8250259"/>
                </a:lnTo>
                <a:lnTo>
                  <a:pt x="1447176" y="8238422"/>
                </a:lnTo>
                <a:lnTo>
                  <a:pt x="1460769" y="8224163"/>
                </a:lnTo>
                <a:lnTo>
                  <a:pt x="1484027" y="8195379"/>
                </a:lnTo>
                <a:lnTo>
                  <a:pt x="1503357" y="8164978"/>
                </a:lnTo>
                <a:lnTo>
                  <a:pt x="1519064" y="8134309"/>
                </a:lnTo>
                <a:lnTo>
                  <a:pt x="1530239" y="8102295"/>
                </a:lnTo>
                <a:lnTo>
                  <a:pt x="1538092" y="8069473"/>
                </a:lnTo>
                <a:lnTo>
                  <a:pt x="1542019" y="8035845"/>
                </a:lnTo>
                <a:lnTo>
                  <a:pt x="1542019" y="8001411"/>
                </a:lnTo>
                <a:lnTo>
                  <a:pt x="1540811" y="7983655"/>
                </a:lnTo>
                <a:lnTo>
                  <a:pt x="1538394" y="7958905"/>
                </a:lnTo>
                <a:lnTo>
                  <a:pt x="1538146" y="7955221"/>
                </a:lnTo>
                <a:lnTo>
                  <a:pt x="1521454" y="7956991"/>
                </a:lnTo>
                <a:lnTo>
                  <a:pt x="1496090" y="7962905"/>
                </a:lnTo>
                <a:lnTo>
                  <a:pt x="1471027" y="7971777"/>
                </a:lnTo>
                <a:lnTo>
                  <a:pt x="1447172" y="7982530"/>
                </a:lnTo>
                <a:lnTo>
                  <a:pt x="1425129" y="7994627"/>
                </a:lnTo>
                <a:lnTo>
                  <a:pt x="1406407" y="8007263"/>
                </a:lnTo>
                <a:lnTo>
                  <a:pt x="1391611" y="8019359"/>
                </a:lnTo>
                <a:lnTo>
                  <a:pt x="1386176" y="8025273"/>
                </a:lnTo>
                <a:lnTo>
                  <a:pt x="1369568" y="8044361"/>
                </a:lnTo>
                <a:lnTo>
                  <a:pt x="1339976" y="8084955"/>
                </a:lnTo>
                <a:lnTo>
                  <a:pt x="1299513" y="8147861"/>
                </a:lnTo>
                <a:lnTo>
                  <a:pt x="1272638" y="8189799"/>
                </a:lnTo>
                <a:lnTo>
                  <a:pt x="1266599" y="8197058"/>
                </a:lnTo>
                <a:lnTo>
                  <a:pt x="1260560" y="8204316"/>
                </a:lnTo>
                <a:lnTo>
                  <a:pt x="1253917" y="8201627"/>
                </a:lnTo>
                <a:lnTo>
                  <a:pt x="1247274" y="8199209"/>
                </a:lnTo>
                <a:lnTo>
                  <a:pt x="1279282" y="8139528"/>
                </a:lnTo>
                <a:lnTo>
                  <a:pt x="1308572" y="8084955"/>
                </a:lnTo>
                <a:lnTo>
                  <a:pt x="1217681" y="8126085"/>
                </a:lnTo>
                <a:lnTo>
                  <a:pt x="1121960" y="8167755"/>
                </a:lnTo>
                <a:lnTo>
                  <a:pt x="1107164" y="8174475"/>
                </a:lnTo>
                <a:lnTo>
                  <a:pt x="1079987" y="8188724"/>
                </a:lnTo>
                <a:lnTo>
                  <a:pt x="1056132" y="8205123"/>
                </a:lnTo>
                <a:lnTo>
                  <a:pt x="1035297" y="8222865"/>
                </a:lnTo>
                <a:lnTo>
                  <a:pt x="1017783" y="8242759"/>
                </a:lnTo>
                <a:lnTo>
                  <a:pt x="1002987" y="8263997"/>
                </a:lnTo>
                <a:lnTo>
                  <a:pt x="990909" y="8286849"/>
                </a:lnTo>
                <a:lnTo>
                  <a:pt x="981850" y="8312117"/>
                </a:lnTo>
                <a:lnTo>
                  <a:pt x="978226" y="8325021"/>
                </a:lnTo>
                <a:lnTo>
                  <a:pt x="963732" y="8371529"/>
                </a:lnTo>
                <a:lnTo>
                  <a:pt x="938368" y="8448953"/>
                </a:lnTo>
                <a:lnTo>
                  <a:pt x="915720" y="8510247"/>
                </a:lnTo>
                <a:lnTo>
                  <a:pt x="895791" y="8557293"/>
                </a:lnTo>
                <a:lnTo>
                  <a:pt x="877371" y="8593048"/>
                </a:lnTo>
                <a:lnTo>
                  <a:pt x="859555" y="8619393"/>
                </a:lnTo>
                <a:lnTo>
                  <a:pt x="841740" y="8639286"/>
                </a:lnTo>
                <a:lnTo>
                  <a:pt x="822415" y="8654610"/>
                </a:lnTo>
                <a:lnTo>
                  <a:pt x="812450" y="8661600"/>
                </a:lnTo>
                <a:lnTo>
                  <a:pt x="822415" y="8648965"/>
                </a:lnTo>
                <a:lnTo>
                  <a:pt x="845665" y="8610254"/>
                </a:lnTo>
                <a:lnTo>
                  <a:pt x="871030" y="8559443"/>
                </a:lnTo>
                <a:lnTo>
                  <a:pt x="896697" y="8500839"/>
                </a:lnTo>
                <a:lnTo>
                  <a:pt x="921156" y="8439276"/>
                </a:lnTo>
                <a:lnTo>
                  <a:pt x="942897" y="8379057"/>
                </a:lnTo>
                <a:lnTo>
                  <a:pt x="959505" y="8325021"/>
                </a:lnTo>
                <a:lnTo>
                  <a:pt x="970074" y="8281471"/>
                </a:lnTo>
                <a:lnTo>
                  <a:pt x="971583" y="8265609"/>
                </a:lnTo>
                <a:lnTo>
                  <a:pt x="961014" y="8270717"/>
                </a:lnTo>
                <a:lnTo>
                  <a:pt x="902736" y="8301903"/>
                </a:lnTo>
                <a:lnTo>
                  <a:pt x="793124" y="8362927"/>
                </a:lnTo>
                <a:lnTo>
                  <a:pt x="764136" y="8377983"/>
                </a:lnTo>
                <a:lnTo>
                  <a:pt x="760211" y="8375561"/>
                </a:lnTo>
                <a:lnTo>
                  <a:pt x="757191" y="8370186"/>
                </a:lnTo>
                <a:lnTo>
                  <a:pt x="757191" y="8367229"/>
                </a:lnTo>
                <a:lnTo>
                  <a:pt x="758398" y="8365615"/>
                </a:lnTo>
                <a:lnTo>
                  <a:pt x="765042" y="8360239"/>
                </a:lnTo>
                <a:lnTo>
                  <a:pt x="796747" y="8334969"/>
                </a:lnTo>
                <a:lnTo>
                  <a:pt x="836607" y="8307817"/>
                </a:lnTo>
                <a:lnTo>
                  <a:pt x="870728" y="8287655"/>
                </a:lnTo>
                <a:lnTo>
                  <a:pt x="911191" y="8266147"/>
                </a:lnTo>
                <a:lnTo>
                  <a:pt x="959505" y="8244103"/>
                </a:lnTo>
                <a:lnTo>
                  <a:pt x="986379" y="8233081"/>
                </a:lnTo>
                <a:lnTo>
                  <a:pt x="993626" y="8224209"/>
                </a:lnTo>
                <a:lnTo>
                  <a:pt x="1009027" y="8208349"/>
                </a:lnTo>
                <a:lnTo>
                  <a:pt x="1034995" y="8187111"/>
                </a:lnTo>
                <a:lnTo>
                  <a:pt x="1073646" y="8162647"/>
                </a:lnTo>
                <a:lnTo>
                  <a:pt x="1115618" y="8140871"/>
                </a:lnTo>
                <a:lnTo>
                  <a:pt x="1137662" y="8130118"/>
                </a:lnTo>
                <a:lnTo>
                  <a:pt x="1165442" y="8115870"/>
                </a:lnTo>
                <a:lnTo>
                  <a:pt x="1221003" y="8086030"/>
                </a:lnTo>
                <a:lnTo>
                  <a:pt x="1274450" y="8054308"/>
                </a:lnTo>
                <a:lnTo>
                  <a:pt x="1325783" y="8020435"/>
                </a:lnTo>
                <a:lnTo>
                  <a:pt x="1350544" y="8002423"/>
                </a:lnTo>
                <a:lnTo>
                  <a:pt x="1372286" y="7986293"/>
                </a:lnTo>
                <a:lnTo>
                  <a:pt x="1417278" y="7957259"/>
                </a:lnTo>
                <a:lnTo>
                  <a:pt x="1452909" y="7939516"/>
                </a:lnTo>
                <a:lnTo>
                  <a:pt x="1478576" y="7929569"/>
                </a:lnTo>
                <a:lnTo>
                  <a:pt x="1505450" y="7921774"/>
                </a:lnTo>
                <a:lnTo>
                  <a:pt x="1534137" y="7916665"/>
                </a:lnTo>
                <a:lnTo>
                  <a:pt x="1535531" y="7916488"/>
                </a:lnTo>
                <a:lnTo>
                  <a:pt x="1535072" y="7909673"/>
                </a:lnTo>
                <a:lnTo>
                  <a:pt x="1535374" y="7884921"/>
                </a:lnTo>
                <a:lnTo>
                  <a:pt x="1537488" y="7811747"/>
                </a:lnTo>
                <a:lnTo>
                  <a:pt x="1540811" y="7702253"/>
                </a:lnTo>
                <a:lnTo>
                  <a:pt x="1546248" y="7629347"/>
                </a:lnTo>
                <a:lnTo>
                  <a:pt x="1551080" y="7593297"/>
                </a:lnTo>
                <a:lnTo>
                  <a:pt x="1556215" y="7562629"/>
                </a:lnTo>
                <a:lnTo>
                  <a:pt x="1570713" y="7501291"/>
                </a:lnTo>
                <a:lnTo>
                  <a:pt x="1597897" y="7410359"/>
                </a:lnTo>
                <a:lnTo>
                  <a:pt x="1616020" y="7349829"/>
                </a:lnTo>
                <a:lnTo>
                  <a:pt x="1600918" y="7358707"/>
                </a:lnTo>
                <a:lnTo>
                  <a:pt x="1570713" y="7377807"/>
                </a:lnTo>
                <a:lnTo>
                  <a:pt x="1542925" y="7398791"/>
                </a:lnTo>
                <a:lnTo>
                  <a:pt x="1525709" y="7416009"/>
                </a:lnTo>
                <a:lnTo>
                  <a:pt x="1516345" y="7428385"/>
                </a:lnTo>
                <a:lnTo>
                  <a:pt x="1512418" y="7434841"/>
                </a:lnTo>
                <a:lnTo>
                  <a:pt x="1483724" y="7485687"/>
                </a:lnTo>
                <a:lnTo>
                  <a:pt x="1428148" y="7576079"/>
                </a:lnTo>
                <a:lnTo>
                  <a:pt x="1385559" y="7639839"/>
                </a:lnTo>
                <a:lnTo>
                  <a:pt x="1339346" y="7703329"/>
                </a:lnTo>
                <a:lnTo>
                  <a:pt x="1289811" y="7764667"/>
                </a:lnTo>
                <a:lnTo>
                  <a:pt x="1237859" y="7820894"/>
                </a:lnTo>
                <a:lnTo>
                  <a:pt x="1198291" y="7857750"/>
                </a:lnTo>
                <a:lnTo>
                  <a:pt x="1171409" y="7879809"/>
                </a:lnTo>
                <a:lnTo>
                  <a:pt x="1158119" y="7889765"/>
                </a:lnTo>
                <a:lnTo>
                  <a:pt x="1194667" y="7844837"/>
                </a:lnTo>
                <a:lnTo>
                  <a:pt x="1319411" y="7685573"/>
                </a:lnTo>
                <a:lnTo>
                  <a:pt x="1368343" y="7618587"/>
                </a:lnTo>
                <a:lnTo>
                  <a:pt x="1410629" y="7556173"/>
                </a:lnTo>
                <a:lnTo>
                  <a:pt x="1434793" y="7516087"/>
                </a:lnTo>
                <a:lnTo>
                  <a:pt x="1446270" y="7493489"/>
                </a:lnTo>
                <a:lnTo>
                  <a:pt x="1450197" y="7483535"/>
                </a:lnTo>
                <a:lnTo>
                  <a:pt x="1458957" y="7461743"/>
                </a:lnTo>
                <a:lnTo>
                  <a:pt x="1482516" y="7420852"/>
                </a:lnTo>
                <a:lnTo>
                  <a:pt x="1512720" y="7383996"/>
                </a:lnTo>
                <a:lnTo>
                  <a:pt x="1548966" y="7349291"/>
                </a:lnTo>
                <a:lnTo>
                  <a:pt x="1569807" y="7332881"/>
                </a:lnTo>
                <a:lnTo>
                  <a:pt x="1588232" y="7318891"/>
                </a:lnTo>
                <a:lnTo>
                  <a:pt x="1623571" y="7289298"/>
                </a:lnTo>
                <a:lnTo>
                  <a:pt x="1656796" y="7258091"/>
                </a:lnTo>
                <a:lnTo>
                  <a:pt x="1686397" y="7224733"/>
                </a:lnTo>
                <a:lnTo>
                  <a:pt x="1700290" y="7207783"/>
                </a:lnTo>
                <a:lnTo>
                  <a:pt x="1719017" y="7182763"/>
                </a:lnTo>
                <a:lnTo>
                  <a:pt x="1759190" y="7134877"/>
                </a:lnTo>
                <a:lnTo>
                  <a:pt x="1803893" y="7090219"/>
                </a:lnTo>
                <a:lnTo>
                  <a:pt x="1841648" y="7059281"/>
                </a:lnTo>
                <a:lnTo>
                  <a:pt x="1868530" y="7040180"/>
                </a:lnTo>
                <a:lnTo>
                  <a:pt x="1883028" y="7031034"/>
                </a:lnTo>
                <a:lnTo>
                  <a:pt x="1892693" y="7025115"/>
                </a:lnTo>
                <a:lnTo>
                  <a:pt x="1909609" y="7012471"/>
                </a:lnTo>
                <a:lnTo>
                  <a:pt x="1924409" y="6999019"/>
                </a:lnTo>
                <a:lnTo>
                  <a:pt x="1937396" y="6984223"/>
                </a:lnTo>
                <a:lnTo>
                  <a:pt x="1947666" y="6968620"/>
                </a:lnTo>
                <a:lnTo>
                  <a:pt x="1955519" y="6952208"/>
                </a:lnTo>
                <a:lnTo>
                  <a:pt x="1960956" y="6934722"/>
                </a:lnTo>
                <a:lnTo>
                  <a:pt x="1963976" y="6916967"/>
                </a:lnTo>
                <a:lnTo>
                  <a:pt x="1964581" y="6907550"/>
                </a:lnTo>
                <a:lnTo>
                  <a:pt x="1965789" y="6835451"/>
                </a:lnTo>
                <a:lnTo>
                  <a:pt x="1965370" y="6785491"/>
                </a:lnTo>
                <a:lnTo>
                  <a:pt x="1961852" y="6786520"/>
                </a:lnTo>
                <a:lnTo>
                  <a:pt x="1852143" y="6824797"/>
                </a:lnTo>
                <a:lnTo>
                  <a:pt x="1779393" y="6851809"/>
                </a:lnTo>
                <a:lnTo>
                  <a:pt x="1759863" y="6859015"/>
                </a:lnTo>
                <a:lnTo>
                  <a:pt x="1721707" y="6871205"/>
                </a:lnTo>
                <a:lnTo>
                  <a:pt x="1682877" y="6881306"/>
                </a:lnTo>
                <a:lnTo>
                  <a:pt x="1644205" y="6889000"/>
                </a:lnTo>
                <a:lnTo>
                  <a:pt x="1605327" y="6894897"/>
                </a:lnTo>
                <a:lnTo>
                  <a:pt x="1566225" y="6897591"/>
                </a:lnTo>
                <a:lnTo>
                  <a:pt x="1526632" y="6897893"/>
                </a:lnTo>
                <a:lnTo>
                  <a:pt x="1486913" y="6895194"/>
                </a:lnTo>
                <a:lnTo>
                  <a:pt x="1466993" y="6892694"/>
                </a:lnTo>
                <a:lnTo>
                  <a:pt x="1458061" y="6891873"/>
                </a:lnTo>
                <a:lnTo>
                  <a:pt x="1448662" y="6893077"/>
                </a:lnTo>
                <a:lnTo>
                  <a:pt x="1440271" y="6903859"/>
                </a:lnTo>
                <a:lnTo>
                  <a:pt x="1426087" y="6918393"/>
                </a:lnTo>
                <a:lnTo>
                  <a:pt x="1403454" y="6938582"/>
                </a:lnTo>
                <a:lnTo>
                  <a:pt x="1344607" y="6986495"/>
                </a:lnTo>
                <a:lnTo>
                  <a:pt x="1299943" y="7025795"/>
                </a:lnTo>
                <a:lnTo>
                  <a:pt x="1274594" y="7052712"/>
                </a:lnTo>
                <a:lnTo>
                  <a:pt x="1255279" y="7079629"/>
                </a:lnTo>
                <a:lnTo>
                  <a:pt x="1246830" y="7099548"/>
                </a:lnTo>
                <a:lnTo>
                  <a:pt x="1243812" y="7112469"/>
                </a:lnTo>
                <a:lnTo>
                  <a:pt x="1243812" y="7118929"/>
                </a:lnTo>
                <a:lnTo>
                  <a:pt x="1244717" y="7195374"/>
                </a:lnTo>
                <a:lnTo>
                  <a:pt x="1244717" y="7264281"/>
                </a:lnTo>
                <a:lnTo>
                  <a:pt x="1242907" y="7261859"/>
                </a:lnTo>
                <a:lnTo>
                  <a:pt x="1227817" y="7243286"/>
                </a:lnTo>
                <a:lnTo>
                  <a:pt x="1218764" y="7270204"/>
                </a:lnTo>
                <a:lnTo>
                  <a:pt x="1210314" y="7309771"/>
                </a:lnTo>
                <a:lnTo>
                  <a:pt x="1207297" y="7335612"/>
                </a:lnTo>
                <a:lnTo>
                  <a:pt x="1206090" y="7361453"/>
                </a:lnTo>
                <a:lnTo>
                  <a:pt x="1206693" y="7387025"/>
                </a:lnTo>
                <a:lnTo>
                  <a:pt x="1210013" y="7412595"/>
                </a:lnTo>
                <a:lnTo>
                  <a:pt x="1215445" y="7437898"/>
                </a:lnTo>
                <a:lnTo>
                  <a:pt x="1218764" y="7450549"/>
                </a:lnTo>
                <a:lnTo>
                  <a:pt x="1211824" y="7437360"/>
                </a:lnTo>
                <a:lnTo>
                  <a:pt x="1200960" y="7409904"/>
                </a:lnTo>
                <a:lnTo>
                  <a:pt x="1192812" y="7383255"/>
                </a:lnTo>
                <a:lnTo>
                  <a:pt x="1186776" y="7356339"/>
                </a:lnTo>
                <a:lnTo>
                  <a:pt x="1182551" y="7315693"/>
                </a:lnTo>
                <a:lnTo>
                  <a:pt x="1183456" y="7262397"/>
                </a:lnTo>
                <a:lnTo>
                  <a:pt x="1190095" y="7209101"/>
                </a:lnTo>
                <a:lnTo>
                  <a:pt x="1199752" y="7156343"/>
                </a:lnTo>
                <a:lnTo>
                  <a:pt x="1210616" y="7104124"/>
                </a:lnTo>
                <a:lnTo>
                  <a:pt x="1220575" y="7052443"/>
                </a:lnTo>
                <a:lnTo>
                  <a:pt x="1224498" y="7026601"/>
                </a:lnTo>
                <a:lnTo>
                  <a:pt x="1147242" y="7059441"/>
                </a:lnTo>
                <a:lnTo>
                  <a:pt x="1111231" y="7075152"/>
                </a:lnTo>
                <a:lnTo>
                  <a:pt x="1105713" y="7081482"/>
                </a:lnTo>
                <a:lnTo>
                  <a:pt x="1091348" y="7101502"/>
                </a:lnTo>
                <a:lnTo>
                  <a:pt x="1082385" y="7114301"/>
                </a:lnTo>
                <a:lnTo>
                  <a:pt x="1059255" y="7148219"/>
                </a:lnTo>
                <a:lnTo>
                  <a:pt x="1043247" y="7179189"/>
                </a:lnTo>
                <a:lnTo>
                  <a:pt x="1034404" y="7202501"/>
                </a:lnTo>
                <a:lnTo>
                  <a:pt x="1028559" y="7227957"/>
                </a:lnTo>
                <a:lnTo>
                  <a:pt x="1025800" y="7255052"/>
                </a:lnTo>
                <a:lnTo>
                  <a:pt x="1026523" y="7269558"/>
                </a:lnTo>
                <a:lnTo>
                  <a:pt x="1026206" y="7274371"/>
                </a:lnTo>
                <a:lnTo>
                  <a:pt x="1023312" y="7281341"/>
                </a:lnTo>
                <a:lnTo>
                  <a:pt x="1016370" y="7283985"/>
                </a:lnTo>
                <a:lnTo>
                  <a:pt x="1006485" y="7281180"/>
                </a:lnTo>
                <a:lnTo>
                  <a:pt x="1000401" y="7277398"/>
                </a:lnTo>
                <a:lnTo>
                  <a:pt x="1003294" y="7245793"/>
                </a:lnTo>
                <a:lnTo>
                  <a:pt x="1005894" y="7196469"/>
                </a:lnTo>
                <a:lnTo>
                  <a:pt x="983430" y="7215352"/>
                </a:lnTo>
                <a:lnTo>
                  <a:pt x="953642" y="7244297"/>
                </a:lnTo>
                <a:lnTo>
                  <a:pt x="935931" y="7264185"/>
                </a:lnTo>
                <a:lnTo>
                  <a:pt x="919804" y="7284641"/>
                </a:lnTo>
                <a:lnTo>
                  <a:pt x="905637" y="7305758"/>
                </a:lnTo>
                <a:lnTo>
                  <a:pt x="892963" y="7327245"/>
                </a:lnTo>
                <a:lnTo>
                  <a:pt x="882341" y="7349593"/>
                </a:lnTo>
                <a:lnTo>
                  <a:pt x="877733" y="7361203"/>
                </a:lnTo>
                <a:lnTo>
                  <a:pt x="880278" y="7348033"/>
                </a:lnTo>
                <a:lnTo>
                  <a:pt x="886956" y="7322260"/>
                </a:lnTo>
                <a:lnTo>
                  <a:pt x="896530" y="7297731"/>
                </a:lnTo>
                <a:lnTo>
                  <a:pt x="908062" y="7273863"/>
                </a:lnTo>
                <a:lnTo>
                  <a:pt x="928400" y="7239601"/>
                </a:lnTo>
                <a:lnTo>
                  <a:pt x="960351" y="7196691"/>
                </a:lnTo>
                <a:lnTo>
                  <a:pt x="996602" y="7155899"/>
                </a:lnTo>
                <a:lnTo>
                  <a:pt x="1035192" y="7116561"/>
                </a:lnTo>
                <a:lnTo>
                  <a:pt x="1050205" y="7101777"/>
                </a:lnTo>
                <a:lnTo>
                  <a:pt x="1036187" y="7107893"/>
                </a:lnTo>
                <a:lnTo>
                  <a:pt x="960441" y="7144230"/>
                </a:lnTo>
                <a:lnTo>
                  <a:pt x="945955" y="7151498"/>
                </a:lnTo>
                <a:lnTo>
                  <a:pt x="918795" y="7171149"/>
                </a:lnTo>
                <a:lnTo>
                  <a:pt x="894652" y="7194027"/>
                </a:lnTo>
                <a:lnTo>
                  <a:pt x="875942" y="7219599"/>
                </a:lnTo>
                <a:lnTo>
                  <a:pt x="868699" y="7232519"/>
                </a:lnTo>
                <a:lnTo>
                  <a:pt x="858137" y="7254322"/>
                </a:lnTo>
                <a:lnTo>
                  <a:pt x="841841" y="7299005"/>
                </a:lnTo>
                <a:lnTo>
                  <a:pt x="821622" y="7367914"/>
                </a:lnTo>
                <a:lnTo>
                  <a:pt x="807740" y="7413942"/>
                </a:lnTo>
                <a:lnTo>
                  <a:pt x="804420" y="7422017"/>
                </a:lnTo>
                <a:lnTo>
                  <a:pt x="800497" y="7429823"/>
                </a:lnTo>
                <a:lnTo>
                  <a:pt x="793254" y="7428747"/>
                </a:lnTo>
                <a:lnTo>
                  <a:pt x="786615" y="7427400"/>
                </a:lnTo>
                <a:lnTo>
                  <a:pt x="799893" y="7363606"/>
                </a:lnTo>
                <a:lnTo>
                  <a:pt x="812266" y="7304658"/>
                </a:lnTo>
                <a:lnTo>
                  <a:pt x="738330" y="7361453"/>
                </a:lnTo>
                <a:lnTo>
                  <a:pt x="659566" y="7420133"/>
                </a:lnTo>
                <a:lnTo>
                  <a:pt x="647494" y="7429285"/>
                </a:lnTo>
                <a:lnTo>
                  <a:pt x="626370" y="7448127"/>
                </a:lnTo>
                <a:lnTo>
                  <a:pt x="608263" y="7468315"/>
                </a:lnTo>
                <a:lnTo>
                  <a:pt x="593778" y="7489580"/>
                </a:lnTo>
                <a:lnTo>
                  <a:pt x="582612" y="7511921"/>
                </a:lnTo>
                <a:lnTo>
                  <a:pt x="574766" y="7535608"/>
                </a:lnTo>
                <a:lnTo>
                  <a:pt x="569937" y="7560103"/>
                </a:lnTo>
                <a:lnTo>
                  <a:pt x="568428" y="7585943"/>
                </a:lnTo>
                <a:lnTo>
                  <a:pt x="568730" y="7599402"/>
                </a:lnTo>
                <a:lnTo>
                  <a:pt x="569333" y="7619591"/>
                </a:lnTo>
                <a:lnTo>
                  <a:pt x="566014" y="7659427"/>
                </a:lnTo>
                <a:lnTo>
                  <a:pt x="558168" y="7687961"/>
                </a:lnTo>
                <a:lnTo>
                  <a:pt x="550925" y="7706803"/>
                </a:lnTo>
                <a:lnTo>
                  <a:pt x="540665" y="7725106"/>
                </a:lnTo>
                <a:lnTo>
                  <a:pt x="527687" y="7742871"/>
                </a:lnTo>
                <a:lnTo>
                  <a:pt x="519842" y="7751215"/>
                </a:lnTo>
                <a:lnTo>
                  <a:pt x="525877" y="7739103"/>
                </a:lnTo>
                <a:lnTo>
                  <a:pt x="535534" y="7713801"/>
                </a:lnTo>
                <a:lnTo>
                  <a:pt x="543380" y="7688767"/>
                </a:lnTo>
                <a:lnTo>
                  <a:pt x="548812" y="7662927"/>
                </a:lnTo>
                <a:lnTo>
                  <a:pt x="552433" y="7637087"/>
                </a:lnTo>
                <a:lnTo>
                  <a:pt x="553641" y="7610977"/>
                </a:lnTo>
                <a:lnTo>
                  <a:pt x="552433" y="7584059"/>
                </a:lnTo>
                <a:lnTo>
                  <a:pt x="548812" y="7556873"/>
                </a:lnTo>
                <a:lnTo>
                  <a:pt x="545794" y="7542876"/>
                </a:lnTo>
                <a:lnTo>
                  <a:pt x="529196" y="7552028"/>
                </a:lnTo>
                <a:lnTo>
                  <a:pt x="516522" y="7558757"/>
                </a:lnTo>
                <a:lnTo>
                  <a:pt x="512598" y="7556873"/>
                </a:lnTo>
                <a:lnTo>
                  <a:pt x="507770" y="7552835"/>
                </a:lnTo>
                <a:lnTo>
                  <a:pt x="507167" y="7549337"/>
                </a:lnTo>
                <a:lnTo>
                  <a:pt x="508072" y="7547721"/>
                </a:lnTo>
                <a:lnTo>
                  <a:pt x="511995" y="7543415"/>
                </a:lnTo>
                <a:lnTo>
                  <a:pt x="523161" y="7536416"/>
                </a:lnTo>
                <a:lnTo>
                  <a:pt x="535534" y="7528609"/>
                </a:lnTo>
                <a:lnTo>
                  <a:pt x="546398" y="7516767"/>
                </a:lnTo>
                <a:lnTo>
                  <a:pt x="550321" y="7508422"/>
                </a:lnTo>
                <a:lnTo>
                  <a:pt x="554848" y="7498731"/>
                </a:lnTo>
                <a:lnTo>
                  <a:pt x="564807" y="7480159"/>
                </a:lnTo>
                <a:lnTo>
                  <a:pt x="583215" y="7454587"/>
                </a:lnTo>
                <a:lnTo>
                  <a:pt x="613393" y="7423633"/>
                </a:lnTo>
                <a:lnTo>
                  <a:pt x="646589" y="7394561"/>
                </a:lnTo>
                <a:lnTo>
                  <a:pt x="663791" y="7380295"/>
                </a:lnTo>
                <a:lnTo>
                  <a:pt x="686424" y="7361453"/>
                </a:lnTo>
                <a:lnTo>
                  <a:pt x="729880" y="7322154"/>
                </a:lnTo>
                <a:lnTo>
                  <a:pt x="771828" y="7281239"/>
                </a:lnTo>
                <a:lnTo>
                  <a:pt x="810456" y="7238711"/>
                </a:lnTo>
                <a:lnTo>
                  <a:pt x="828562" y="7216637"/>
                </a:lnTo>
                <a:lnTo>
                  <a:pt x="844557" y="7197258"/>
                </a:lnTo>
                <a:lnTo>
                  <a:pt x="878960" y="7160650"/>
                </a:lnTo>
                <a:lnTo>
                  <a:pt x="907629" y="7136963"/>
                </a:lnTo>
                <a:lnTo>
                  <a:pt x="928754" y="7122427"/>
                </a:lnTo>
                <a:lnTo>
                  <a:pt x="951689" y="7110046"/>
                </a:lnTo>
                <a:lnTo>
                  <a:pt x="977038" y="7099548"/>
                </a:lnTo>
                <a:lnTo>
                  <a:pt x="991222" y="7095241"/>
                </a:lnTo>
                <a:lnTo>
                  <a:pt x="1018684" y="7086897"/>
                </a:lnTo>
                <a:lnTo>
                  <a:pt x="1071495" y="7066977"/>
                </a:lnTo>
                <a:lnTo>
                  <a:pt x="1095743" y="7056229"/>
                </a:lnTo>
                <a:lnTo>
                  <a:pt x="1112390" y="7039285"/>
                </a:lnTo>
                <a:lnTo>
                  <a:pt x="1130015" y="7019901"/>
                </a:lnTo>
                <a:lnTo>
                  <a:pt x="1040406" y="7019313"/>
                </a:lnTo>
                <a:lnTo>
                  <a:pt x="904597" y="7018261"/>
                </a:lnTo>
                <a:lnTo>
                  <a:pt x="813979" y="7018997"/>
                </a:lnTo>
                <a:lnTo>
                  <a:pt x="768080" y="7020529"/>
                </a:lnTo>
                <a:lnTo>
                  <a:pt x="752572" y="7021745"/>
                </a:lnTo>
                <a:lnTo>
                  <a:pt x="720389" y="7027905"/>
                </a:lnTo>
                <a:lnTo>
                  <a:pt x="688254" y="7038271"/>
                </a:lnTo>
                <a:lnTo>
                  <a:pt x="658856" y="7052286"/>
                </a:lnTo>
                <a:lnTo>
                  <a:pt x="645655" y="7060366"/>
                </a:lnTo>
                <a:lnTo>
                  <a:pt x="625087" y="7074302"/>
                </a:lnTo>
                <a:lnTo>
                  <a:pt x="586210" y="7104833"/>
                </a:lnTo>
                <a:lnTo>
                  <a:pt x="529692" y="7153348"/>
                </a:lnTo>
                <a:lnTo>
                  <a:pt x="492599" y="7185547"/>
                </a:lnTo>
                <a:lnTo>
                  <a:pt x="484762" y="7191113"/>
                </a:lnTo>
                <a:lnTo>
                  <a:pt x="477107" y="7196375"/>
                </a:lnTo>
                <a:lnTo>
                  <a:pt x="472514" y="7192964"/>
                </a:lnTo>
                <a:lnTo>
                  <a:pt x="468016" y="7189750"/>
                </a:lnTo>
                <a:lnTo>
                  <a:pt x="515808" y="7142214"/>
                </a:lnTo>
                <a:lnTo>
                  <a:pt x="559841" y="7099159"/>
                </a:lnTo>
                <a:lnTo>
                  <a:pt x="469630" y="7119215"/>
                </a:lnTo>
                <a:lnTo>
                  <a:pt x="374493" y="7139269"/>
                </a:lnTo>
                <a:lnTo>
                  <a:pt x="359936" y="7142469"/>
                </a:lnTo>
                <a:lnTo>
                  <a:pt x="332235" y="7150441"/>
                </a:lnTo>
                <a:lnTo>
                  <a:pt x="306882" y="7160569"/>
                </a:lnTo>
                <a:lnTo>
                  <a:pt x="282855" y="7172773"/>
                </a:lnTo>
                <a:lnTo>
                  <a:pt x="261081" y="7186936"/>
                </a:lnTo>
                <a:lnTo>
                  <a:pt x="241281" y="7203159"/>
                </a:lnTo>
                <a:lnTo>
                  <a:pt x="223179" y="7221553"/>
                </a:lnTo>
                <a:lnTo>
                  <a:pt x="206680" y="7241917"/>
                </a:lnTo>
                <a:lnTo>
                  <a:pt x="199184" y="7252984"/>
                </a:lnTo>
                <a:lnTo>
                  <a:pt x="187937" y="7269236"/>
                </a:lnTo>
                <a:lnTo>
                  <a:pt x="161895" y="7300508"/>
                </a:lnTo>
                <a:lnTo>
                  <a:pt x="138987" y="7321203"/>
                </a:lnTo>
                <a:lnTo>
                  <a:pt x="122027" y="7333763"/>
                </a:lnTo>
                <a:lnTo>
                  <a:pt x="103750" y="7344950"/>
                </a:lnTo>
                <a:lnTo>
                  <a:pt x="83229" y="7354881"/>
                </a:lnTo>
                <a:lnTo>
                  <a:pt x="72401" y="7359005"/>
                </a:lnTo>
                <a:lnTo>
                  <a:pt x="84204" y="7350755"/>
                </a:lnTo>
                <a:lnTo>
                  <a:pt x="106415" y="7334081"/>
                </a:lnTo>
                <a:lnTo>
                  <a:pt x="127404" y="7316229"/>
                </a:lnTo>
                <a:lnTo>
                  <a:pt x="146434" y="7297717"/>
                </a:lnTo>
                <a:lnTo>
                  <a:pt x="164146" y="7277830"/>
                </a:lnTo>
                <a:lnTo>
                  <a:pt x="180733" y="7256963"/>
                </a:lnTo>
                <a:lnTo>
                  <a:pt x="195725" y="7234829"/>
                </a:lnTo>
                <a:lnTo>
                  <a:pt x="208566" y="7211634"/>
                </a:lnTo>
                <a:lnTo>
                  <a:pt x="214745" y="7199191"/>
                </a:lnTo>
                <a:lnTo>
                  <a:pt x="196730" y="7200658"/>
                </a:lnTo>
                <a:lnTo>
                  <a:pt x="183078" y="7201636"/>
                </a:lnTo>
                <a:lnTo>
                  <a:pt x="180539" y="7199083"/>
                </a:lnTo>
                <a:lnTo>
                  <a:pt x="179643" y="7193794"/>
                </a:lnTo>
                <a:lnTo>
                  <a:pt x="180816" y="7190765"/>
                </a:lnTo>
                <a:lnTo>
                  <a:pt x="182387" y="7189933"/>
                </a:lnTo>
                <a:lnTo>
                  <a:pt x="188217" y="7187712"/>
                </a:lnTo>
                <a:lnTo>
                  <a:pt x="201116" y="7185847"/>
                </a:lnTo>
                <a:lnTo>
                  <a:pt x="214943" y="7183865"/>
                </a:lnTo>
                <a:lnTo>
                  <a:pt x="230682" y="7178339"/>
                </a:lnTo>
                <a:lnTo>
                  <a:pt x="238518" y="7172772"/>
                </a:lnTo>
                <a:lnTo>
                  <a:pt x="247276" y="7166385"/>
                </a:lnTo>
                <a:lnTo>
                  <a:pt x="266108" y="7154987"/>
                </a:lnTo>
                <a:lnTo>
                  <a:pt x="295411" y="7140773"/>
                </a:lnTo>
                <a:lnTo>
                  <a:pt x="336605" y="7126017"/>
                </a:lnTo>
                <a:lnTo>
                  <a:pt x="378949" y="7114343"/>
                </a:lnTo>
                <a:lnTo>
                  <a:pt x="401193" y="7108685"/>
                </a:lnTo>
                <a:lnTo>
                  <a:pt x="429457" y="7101201"/>
                </a:lnTo>
                <a:lnTo>
                  <a:pt x="486152" y="7084531"/>
                </a:lnTo>
                <a:lnTo>
                  <a:pt x="542268" y="7065967"/>
                </a:lnTo>
                <a:lnTo>
                  <a:pt x="596963" y="7045129"/>
                </a:lnTo>
                <a:lnTo>
                  <a:pt x="623973" y="7033665"/>
                </a:lnTo>
                <a:lnTo>
                  <a:pt x="647834" y="7023168"/>
                </a:lnTo>
                <a:lnTo>
                  <a:pt x="695875" y="7005569"/>
                </a:lnTo>
                <a:lnTo>
                  <a:pt x="731834" y="6996328"/>
                </a:lnTo>
                <a:lnTo>
                  <a:pt x="756790" y="6992216"/>
                </a:lnTo>
                <a:lnTo>
                  <a:pt x="781770" y="6990208"/>
                </a:lnTo>
                <a:lnTo>
                  <a:pt x="807521" y="6990487"/>
                </a:lnTo>
                <a:lnTo>
                  <a:pt x="820919" y="6991717"/>
                </a:lnTo>
                <a:lnTo>
                  <a:pt x="846883" y="6994496"/>
                </a:lnTo>
                <a:lnTo>
                  <a:pt x="898963" y="6996945"/>
                </a:lnTo>
                <a:lnTo>
                  <a:pt x="951288" y="6996485"/>
                </a:lnTo>
                <a:lnTo>
                  <a:pt x="1003208" y="6993129"/>
                </a:lnTo>
                <a:lnTo>
                  <a:pt x="1055009" y="6987472"/>
                </a:lnTo>
                <a:lnTo>
                  <a:pt x="1106968" y="6979408"/>
                </a:lnTo>
                <a:lnTo>
                  <a:pt x="1183947" y="6964629"/>
                </a:lnTo>
                <a:lnTo>
                  <a:pt x="1235398" y="6952769"/>
                </a:lnTo>
                <a:lnTo>
                  <a:pt x="1244481" y="6950483"/>
                </a:lnTo>
                <a:lnTo>
                  <a:pt x="1261799" y="6944823"/>
                </a:lnTo>
                <a:lnTo>
                  <a:pt x="1287699" y="6933783"/>
                </a:lnTo>
                <a:lnTo>
                  <a:pt x="1336928" y="6906347"/>
                </a:lnTo>
                <a:lnTo>
                  <a:pt x="1356235" y="6894337"/>
                </a:lnTo>
                <a:lnTo>
                  <a:pt x="1367014" y="6885845"/>
                </a:lnTo>
                <a:lnTo>
                  <a:pt x="1309851" y="6871144"/>
                </a:lnTo>
                <a:lnTo>
                  <a:pt x="1221867" y="6849995"/>
                </a:lnTo>
                <a:lnTo>
                  <a:pt x="1162981" y="6837468"/>
                </a:lnTo>
                <a:lnTo>
                  <a:pt x="1103659" y="6827455"/>
                </a:lnTo>
                <a:lnTo>
                  <a:pt x="1043535" y="6820561"/>
                </a:lnTo>
                <a:lnTo>
                  <a:pt x="982254" y="6818099"/>
                </a:lnTo>
                <a:lnTo>
                  <a:pt x="919910" y="6820264"/>
                </a:lnTo>
                <a:lnTo>
                  <a:pt x="887417" y="6823727"/>
                </a:lnTo>
                <a:lnTo>
                  <a:pt x="848896" y="6828313"/>
                </a:lnTo>
                <a:lnTo>
                  <a:pt x="770433" y="6835213"/>
                </a:lnTo>
                <a:lnTo>
                  <a:pt x="652552" y="6841409"/>
                </a:lnTo>
                <a:lnTo>
                  <a:pt x="573945" y="6843903"/>
                </a:lnTo>
                <a:lnTo>
                  <a:pt x="558984" y="6844206"/>
                </a:lnTo>
                <a:lnTo>
                  <a:pt x="528951" y="6843213"/>
                </a:lnTo>
                <a:lnTo>
                  <a:pt x="499543" y="6840104"/>
                </a:lnTo>
                <a:lnTo>
                  <a:pt x="471230" y="6835171"/>
                </a:lnTo>
                <a:lnTo>
                  <a:pt x="443084" y="6828530"/>
                </a:lnTo>
                <a:lnTo>
                  <a:pt x="416215" y="6819761"/>
                </a:lnTo>
                <a:lnTo>
                  <a:pt x="389235" y="6809393"/>
                </a:lnTo>
                <a:lnTo>
                  <a:pt x="363540" y="6797596"/>
                </a:lnTo>
                <a:lnTo>
                  <a:pt x="351101" y="6790839"/>
                </a:lnTo>
                <a:lnTo>
                  <a:pt x="341661" y="6786223"/>
                </a:lnTo>
                <a:lnTo>
                  <a:pt x="320679" y="6780139"/>
                </a:lnTo>
                <a:lnTo>
                  <a:pt x="286226" y="6774728"/>
                </a:lnTo>
                <a:lnTo>
                  <a:pt x="263340" y="6772889"/>
                </a:lnTo>
                <a:lnTo>
                  <a:pt x="235249" y="6771155"/>
                </a:lnTo>
                <a:lnTo>
                  <a:pt x="179117" y="6771893"/>
                </a:lnTo>
                <a:lnTo>
                  <a:pt x="121889" y="6774455"/>
                </a:lnTo>
                <a:lnTo>
                  <a:pt x="65201" y="6775404"/>
                </a:lnTo>
                <a:lnTo>
                  <a:pt x="37301" y="6774067"/>
                </a:lnTo>
                <a:lnTo>
                  <a:pt x="32177" y="6772969"/>
                </a:lnTo>
                <a:lnTo>
                  <a:pt x="22903" y="6766647"/>
                </a:lnTo>
                <a:lnTo>
                  <a:pt x="9274" y="6753305"/>
                </a:lnTo>
                <a:lnTo>
                  <a:pt x="0" y="6746983"/>
                </a:lnTo>
                <a:lnTo>
                  <a:pt x="69515" y="6754287"/>
                </a:lnTo>
                <a:lnTo>
                  <a:pt x="156586" y="6760533"/>
                </a:lnTo>
                <a:lnTo>
                  <a:pt x="192007" y="6761115"/>
                </a:lnTo>
                <a:lnTo>
                  <a:pt x="227958" y="6759386"/>
                </a:lnTo>
                <a:lnTo>
                  <a:pt x="264068" y="6755249"/>
                </a:lnTo>
                <a:lnTo>
                  <a:pt x="282527" y="6751970"/>
                </a:lnTo>
                <a:lnTo>
                  <a:pt x="229311" y="6698570"/>
                </a:lnTo>
                <a:lnTo>
                  <a:pt x="124941" y="6601542"/>
                </a:lnTo>
                <a:lnTo>
                  <a:pt x="47369" y="6531611"/>
                </a:lnTo>
                <a:lnTo>
                  <a:pt x="27901" y="6511576"/>
                </a:lnTo>
                <a:lnTo>
                  <a:pt x="26569" y="6508799"/>
                </a:lnTo>
                <a:lnTo>
                  <a:pt x="33843" y="6510955"/>
                </a:lnTo>
                <a:lnTo>
                  <a:pt x="46662" y="6518508"/>
                </a:lnTo>
                <a:lnTo>
                  <a:pt x="73246" y="6534893"/>
                </a:lnTo>
                <a:lnTo>
                  <a:pt x="125129" y="6569092"/>
                </a:lnTo>
                <a:lnTo>
                  <a:pt x="175362" y="6605327"/>
                </a:lnTo>
                <a:lnTo>
                  <a:pt x="223200" y="6643414"/>
                </a:lnTo>
                <a:lnTo>
                  <a:pt x="246475" y="6663171"/>
                </a:lnTo>
                <a:lnTo>
                  <a:pt x="269839" y="6682426"/>
                </a:lnTo>
                <a:lnTo>
                  <a:pt x="318461" y="6715991"/>
                </a:lnTo>
                <a:lnTo>
                  <a:pt x="357182" y="6737137"/>
                </a:lnTo>
                <a:lnTo>
                  <a:pt x="383441" y="6749423"/>
                </a:lnTo>
                <a:lnTo>
                  <a:pt x="410889" y="6760083"/>
                </a:lnTo>
                <a:lnTo>
                  <a:pt x="438694" y="6769434"/>
                </a:lnTo>
                <a:lnTo>
                  <a:pt x="467689" y="6777159"/>
                </a:lnTo>
                <a:lnTo>
                  <a:pt x="496668" y="6783481"/>
                </a:lnTo>
                <a:lnTo>
                  <a:pt x="526655" y="6788480"/>
                </a:lnTo>
                <a:lnTo>
                  <a:pt x="557553" y="6791959"/>
                </a:lnTo>
                <a:lnTo>
                  <a:pt x="604801" y="6794607"/>
                </a:lnTo>
                <a:lnTo>
                  <a:pt x="670128" y="6793183"/>
                </a:lnTo>
                <a:lnTo>
                  <a:pt x="704294" y="6789785"/>
                </a:lnTo>
                <a:lnTo>
                  <a:pt x="738365" y="6786191"/>
                </a:lnTo>
                <a:lnTo>
                  <a:pt x="772246" y="6782199"/>
                </a:lnTo>
                <a:lnTo>
                  <a:pt x="828030" y="6775259"/>
                </a:lnTo>
                <a:lnTo>
                  <a:pt x="911402" y="6766959"/>
                </a:lnTo>
                <a:lnTo>
                  <a:pt x="966940" y="6762929"/>
                </a:lnTo>
                <a:lnTo>
                  <a:pt x="1021954" y="6761915"/>
                </a:lnTo>
                <a:lnTo>
                  <a:pt x="1077001" y="6763701"/>
                </a:lnTo>
                <a:lnTo>
                  <a:pt x="1131348" y="6769511"/>
                </a:lnTo>
                <a:lnTo>
                  <a:pt x="1185466" y="6779630"/>
                </a:lnTo>
                <a:lnTo>
                  <a:pt x="1212406" y="6786493"/>
                </a:lnTo>
                <a:lnTo>
                  <a:pt x="1214216" y="6782051"/>
                </a:lnTo>
                <a:lnTo>
                  <a:pt x="1216301" y="6777502"/>
                </a:lnTo>
                <a:lnTo>
                  <a:pt x="1207980" y="6773163"/>
                </a:lnTo>
                <a:lnTo>
                  <a:pt x="1191050" y="6763893"/>
                </a:lnTo>
                <a:lnTo>
                  <a:pt x="1182102" y="6761671"/>
                </a:lnTo>
                <a:lnTo>
                  <a:pt x="1164214" y="6757927"/>
                </a:lnTo>
                <a:lnTo>
                  <a:pt x="1129530" y="6748617"/>
                </a:lnTo>
                <a:lnTo>
                  <a:pt x="1096584" y="6736767"/>
                </a:lnTo>
                <a:lnTo>
                  <a:pt x="1065011" y="6722987"/>
                </a:lnTo>
                <a:lnTo>
                  <a:pt x="1020499" y="6699354"/>
                </a:lnTo>
                <a:lnTo>
                  <a:pt x="965149" y="6662721"/>
                </a:lnTo>
                <a:lnTo>
                  <a:pt x="938438" y="6643333"/>
                </a:lnTo>
                <a:lnTo>
                  <a:pt x="913600" y="6625109"/>
                </a:lnTo>
                <a:lnTo>
                  <a:pt x="860995" y="6592827"/>
                </a:lnTo>
                <a:lnTo>
                  <a:pt x="819211" y="6572143"/>
                </a:lnTo>
                <a:lnTo>
                  <a:pt x="789701" y="6559923"/>
                </a:lnTo>
                <a:lnTo>
                  <a:pt x="759737" y="6548813"/>
                </a:lnTo>
                <a:lnTo>
                  <a:pt x="728307" y="6539436"/>
                </a:lnTo>
                <a:lnTo>
                  <a:pt x="712458" y="6535151"/>
                </a:lnTo>
                <a:lnTo>
                  <a:pt x="692601" y="6530046"/>
                </a:lnTo>
                <a:lnTo>
                  <a:pt x="655649" y="6517375"/>
                </a:lnTo>
                <a:lnTo>
                  <a:pt x="622473" y="6501624"/>
                </a:lnTo>
                <a:lnTo>
                  <a:pt x="594097" y="6482871"/>
                </a:lnTo>
                <a:lnTo>
                  <a:pt x="569591" y="6461237"/>
                </a:lnTo>
                <a:lnTo>
                  <a:pt x="550058" y="6435595"/>
                </a:lnTo>
                <a:lnTo>
                  <a:pt x="535135" y="6406555"/>
                </a:lnTo>
                <a:lnTo>
                  <a:pt x="525931" y="6373694"/>
                </a:lnTo>
                <a:lnTo>
                  <a:pt x="523494" y="6355616"/>
                </a:lnTo>
                <a:lnTo>
                  <a:pt x="520955" y="6336640"/>
                </a:lnTo>
                <a:lnTo>
                  <a:pt x="516074" y="6307998"/>
                </a:lnTo>
                <a:lnTo>
                  <a:pt x="515296" y="6288586"/>
                </a:lnTo>
                <a:lnTo>
                  <a:pt x="516295" y="6278351"/>
                </a:lnTo>
                <a:lnTo>
                  <a:pt x="530084" y="6322134"/>
                </a:lnTo>
                <a:lnTo>
                  <a:pt x="542478" y="6365747"/>
                </a:lnTo>
                <a:lnTo>
                  <a:pt x="545589" y="6377702"/>
                </a:lnTo>
                <a:lnTo>
                  <a:pt x="554109" y="6399561"/>
                </a:lnTo>
                <a:lnTo>
                  <a:pt x="565122" y="6419767"/>
                </a:lnTo>
                <a:lnTo>
                  <a:pt x="578530" y="6438122"/>
                </a:lnTo>
                <a:lnTo>
                  <a:pt x="594984" y="6454613"/>
                </a:lnTo>
                <a:lnTo>
                  <a:pt x="613920" y="6468750"/>
                </a:lnTo>
                <a:lnTo>
                  <a:pt x="636180" y="6480917"/>
                </a:lnTo>
                <a:lnTo>
                  <a:pt x="661113" y="6491128"/>
                </a:lnTo>
                <a:lnTo>
                  <a:pt x="674917" y="6495253"/>
                </a:lnTo>
                <a:lnTo>
                  <a:pt x="705316" y="6503850"/>
                </a:lnTo>
                <a:lnTo>
                  <a:pt x="766114" y="6521044"/>
                </a:lnTo>
                <a:lnTo>
                  <a:pt x="795878" y="6531056"/>
                </a:lnTo>
                <a:lnTo>
                  <a:pt x="818463" y="6539111"/>
                </a:lnTo>
                <a:lnTo>
                  <a:pt x="862738" y="6558141"/>
                </a:lnTo>
                <a:lnTo>
                  <a:pt x="884879" y="6568009"/>
                </a:lnTo>
                <a:lnTo>
                  <a:pt x="872645" y="6538413"/>
                </a:lnTo>
                <a:lnTo>
                  <a:pt x="860013" y="6506623"/>
                </a:lnTo>
                <a:lnTo>
                  <a:pt x="872612" y="6527397"/>
                </a:lnTo>
                <a:lnTo>
                  <a:pt x="900372" y="6565390"/>
                </a:lnTo>
                <a:lnTo>
                  <a:pt x="932367" y="6599892"/>
                </a:lnTo>
                <a:lnTo>
                  <a:pt x="968503" y="6630706"/>
                </a:lnTo>
                <a:lnTo>
                  <a:pt x="1007574" y="6658055"/>
                </a:lnTo>
                <a:lnTo>
                  <a:pt x="1050793" y="6682414"/>
                </a:lnTo>
                <a:lnTo>
                  <a:pt x="1096765" y="6703616"/>
                </a:lnTo>
                <a:lnTo>
                  <a:pt x="1146053" y="6722144"/>
                </a:lnTo>
                <a:lnTo>
                  <a:pt x="1171986" y="6730329"/>
                </a:lnTo>
                <a:lnTo>
                  <a:pt x="1194190" y="6737591"/>
                </a:lnTo>
                <a:lnTo>
                  <a:pt x="1237345" y="6756345"/>
                </a:lnTo>
                <a:lnTo>
                  <a:pt x="1257361" y="6767255"/>
                </a:lnTo>
                <a:lnTo>
                  <a:pt x="1283921" y="6781539"/>
                </a:lnTo>
                <a:lnTo>
                  <a:pt x="1323903" y="6799155"/>
                </a:lnTo>
                <a:lnTo>
                  <a:pt x="1351344" y="6809113"/>
                </a:lnTo>
                <a:lnTo>
                  <a:pt x="1378855" y="6817168"/>
                </a:lnTo>
                <a:lnTo>
                  <a:pt x="1406724" y="6823915"/>
                </a:lnTo>
                <a:lnTo>
                  <a:pt x="1434759" y="6828953"/>
                </a:lnTo>
                <a:lnTo>
                  <a:pt x="1463238" y="6832182"/>
                </a:lnTo>
                <a:lnTo>
                  <a:pt x="1492169" y="6834299"/>
                </a:lnTo>
                <a:lnTo>
                  <a:pt x="1521449" y="6834406"/>
                </a:lnTo>
                <a:lnTo>
                  <a:pt x="1550436" y="6833218"/>
                </a:lnTo>
                <a:lnTo>
                  <a:pt x="1580335" y="6830508"/>
                </a:lnTo>
                <a:lnTo>
                  <a:pt x="1625154" y="6823991"/>
                </a:lnTo>
                <a:lnTo>
                  <a:pt x="1686062" y="6809937"/>
                </a:lnTo>
                <a:lnTo>
                  <a:pt x="1717276" y="6800392"/>
                </a:lnTo>
                <a:lnTo>
                  <a:pt x="1777747" y="6780639"/>
                </a:lnTo>
                <a:lnTo>
                  <a:pt x="1850902" y="6756523"/>
                </a:lnTo>
                <a:lnTo>
                  <a:pt x="1828712" y="6734241"/>
                </a:lnTo>
                <a:lnTo>
                  <a:pt x="1798899" y="6703599"/>
                </a:lnTo>
                <a:lnTo>
                  <a:pt x="1778527" y="6685786"/>
                </a:lnTo>
                <a:lnTo>
                  <a:pt x="1767476" y="6678499"/>
                </a:lnTo>
                <a:lnTo>
                  <a:pt x="1727698" y="6654470"/>
                </a:lnTo>
                <a:lnTo>
                  <a:pt x="1666535" y="6621460"/>
                </a:lnTo>
                <a:lnTo>
                  <a:pt x="1624387" y="6601384"/>
                </a:lnTo>
                <a:lnTo>
                  <a:pt x="1581144" y="6583134"/>
                </a:lnTo>
                <a:lnTo>
                  <a:pt x="1536251" y="6566919"/>
                </a:lnTo>
                <a:lnTo>
                  <a:pt x="1490176" y="6553031"/>
                </a:lnTo>
                <a:lnTo>
                  <a:pt x="1442277" y="6542186"/>
                </a:lnTo>
                <a:lnTo>
                  <a:pt x="1417503" y="6537780"/>
                </a:lnTo>
                <a:lnTo>
                  <a:pt x="1400923" y="6534712"/>
                </a:lnTo>
                <a:lnTo>
                  <a:pt x="1369049" y="6527146"/>
                </a:lnTo>
                <a:lnTo>
                  <a:pt x="1338823" y="6517545"/>
                </a:lnTo>
                <a:lnTo>
                  <a:pt x="1310717" y="6506197"/>
                </a:lnTo>
                <a:lnTo>
                  <a:pt x="1283705" y="6493024"/>
                </a:lnTo>
                <a:lnTo>
                  <a:pt x="1258438" y="6478015"/>
                </a:lnTo>
                <a:lnTo>
                  <a:pt x="1233710" y="6461391"/>
                </a:lnTo>
                <a:lnTo>
                  <a:pt x="1210259" y="6442639"/>
                </a:lnTo>
                <a:lnTo>
                  <a:pt x="1198622" y="6432760"/>
                </a:lnTo>
                <a:lnTo>
                  <a:pt x="1177876" y="6414854"/>
                </a:lnTo>
                <a:lnTo>
                  <a:pt x="1131959" y="6382136"/>
                </a:lnTo>
                <a:lnTo>
                  <a:pt x="1083178" y="6350978"/>
                </a:lnTo>
                <a:lnTo>
                  <a:pt x="1035421" y="6319900"/>
                </a:lnTo>
                <a:lnTo>
                  <a:pt x="1012740" y="6303436"/>
                </a:lnTo>
                <a:lnTo>
                  <a:pt x="994835" y="6290080"/>
                </a:lnTo>
                <a:lnTo>
                  <a:pt x="961246" y="6262519"/>
                </a:lnTo>
                <a:lnTo>
                  <a:pt x="912885" y="6219235"/>
                </a:lnTo>
                <a:lnTo>
                  <a:pt x="881691" y="6189824"/>
                </a:lnTo>
                <a:lnTo>
                  <a:pt x="879334" y="6186968"/>
                </a:lnTo>
                <a:lnTo>
                  <a:pt x="879516" y="6178452"/>
                </a:lnTo>
                <a:lnTo>
                  <a:pt x="881999" y="6167886"/>
                </a:lnTo>
                <a:lnTo>
                  <a:pt x="883648" y="6157638"/>
                </a:lnTo>
                <a:lnTo>
                  <a:pt x="882759" y="6153049"/>
                </a:lnTo>
                <a:lnTo>
                  <a:pt x="876674" y="6132843"/>
                </a:lnTo>
                <a:lnTo>
                  <a:pt x="870896" y="6098911"/>
                </a:lnTo>
                <a:lnTo>
                  <a:pt x="870991" y="6082686"/>
                </a:lnTo>
                <a:lnTo>
                  <a:pt x="872974" y="6077238"/>
                </a:lnTo>
                <a:lnTo>
                  <a:pt x="876504" y="6077066"/>
                </a:lnTo>
                <a:lnTo>
                  <a:pt x="881406" y="6083175"/>
                </a:lnTo>
                <a:lnTo>
                  <a:pt x="884723" y="6088716"/>
                </a:lnTo>
                <a:lnTo>
                  <a:pt x="891499" y="6104202"/>
                </a:lnTo>
                <a:lnTo>
                  <a:pt x="900512" y="6136667"/>
                </a:lnTo>
                <a:lnTo>
                  <a:pt x="904043" y="6152918"/>
                </a:lnTo>
                <a:lnTo>
                  <a:pt x="906669" y="6163180"/>
                </a:lnTo>
                <a:lnTo>
                  <a:pt x="913858" y="6182261"/>
                </a:lnTo>
                <a:lnTo>
                  <a:pt x="922895" y="6200405"/>
                </a:lnTo>
                <a:lnTo>
                  <a:pt x="934239" y="6217200"/>
                </a:lnTo>
                <a:lnTo>
                  <a:pt x="948075" y="6232342"/>
                </a:lnTo>
                <a:lnTo>
                  <a:pt x="963387" y="6246453"/>
                </a:lnTo>
                <a:lnTo>
                  <a:pt x="980451" y="6259425"/>
                </a:lnTo>
                <a:lnTo>
                  <a:pt x="999919" y="6271248"/>
                </a:lnTo>
                <a:lnTo>
                  <a:pt x="1010017" y="6276552"/>
                </a:lnTo>
                <a:lnTo>
                  <a:pt x="1084993" y="6314389"/>
                </a:lnTo>
                <a:lnTo>
                  <a:pt x="1164736" y="6354632"/>
                </a:lnTo>
                <a:lnTo>
                  <a:pt x="1053440" y="6122750"/>
                </a:lnTo>
                <a:lnTo>
                  <a:pt x="1055939" y="6121797"/>
                </a:lnTo>
                <a:lnTo>
                  <a:pt x="1058533" y="6121044"/>
                </a:lnTo>
                <a:lnTo>
                  <a:pt x="1140654" y="6264089"/>
                </a:lnTo>
                <a:lnTo>
                  <a:pt x="1223140" y="6406526"/>
                </a:lnTo>
                <a:lnTo>
                  <a:pt x="1232233" y="6421363"/>
                </a:lnTo>
                <a:lnTo>
                  <a:pt x="1255200" y="6446635"/>
                </a:lnTo>
                <a:lnTo>
                  <a:pt x="1275548" y="6462345"/>
                </a:lnTo>
                <a:lnTo>
                  <a:pt x="1290803" y="6471550"/>
                </a:lnTo>
                <a:lnTo>
                  <a:pt x="1307248" y="6479128"/>
                </a:lnTo>
                <a:lnTo>
                  <a:pt x="1325725" y="6485463"/>
                </a:lnTo>
                <a:lnTo>
                  <a:pt x="1335331" y="6488373"/>
                </a:lnTo>
                <a:lnTo>
                  <a:pt x="1509666" y="6534110"/>
                </a:lnTo>
                <a:lnTo>
                  <a:pt x="1679153" y="6578643"/>
                </a:lnTo>
                <a:lnTo>
                  <a:pt x="1577474" y="6366794"/>
                </a:lnTo>
                <a:lnTo>
                  <a:pt x="1585168" y="6373248"/>
                </a:lnTo>
                <a:lnTo>
                  <a:pt x="1592301" y="6379211"/>
                </a:lnTo>
                <a:lnTo>
                  <a:pt x="1578461" y="6298374"/>
                </a:lnTo>
                <a:lnTo>
                  <a:pt x="1564319" y="6215540"/>
                </a:lnTo>
                <a:lnTo>
                  <a:pt x="1563518" y="6210449"/>
                </a:lnTo>
                <a:lnTo>
                  <a:pt x="1565350" y="6199897"/>
                </a:lnTo>
                <a:lnTo>
                  <a:pt x="1569712" y="6191196"/>
                </a:lnTo>
                <a:lnTo>
                  <a:pt x="1574202" y="6185497"/>
                </a:lnTo>
                <a:lnTo>
                  <a:pt x="1575868" y="6184863"/>
                </a:lnTo>
                <a:lnTo>
                  <a:pt x="1588269" y="6229176"/>
                </a:lnTo>
                <a:lnTo>
                  <a:pt x="1614280" y="6334001"/>
                </a:lnTo>
                <a:lnTo>
                  <a:pt x="1627554" y="6381501"/>
                </a:lnTo>
                <a:lnTo>
                  <a:pt x="1629386" y="6379161"/>
                </a:lnTo>
                <a:lnTo>
                  <a:pt x="1631052" y="6370314"/>
                </a:lnTo>
                <a:lnTo>
                  <a:pt x="1632828" y="6354856"/>
                </a:lnTo>
                <a:lnTo>
                  <a:pt x="1634541" y="6350215"/>
                </a:lnTo>
                <a:lnTo>
                  <a:pt x="1636382" y="6348574"/>
                </a:lnTo>
                <a:lnTo>
                  <a:pt x="1640181" y="6347596"/>
                </a:lnTo>
                <a:lnTo>
                  <a:pt x="1645393" y="6348191"/>
                </a:lnTo>
                <a:lnTo>
                  <a:pt x="1647741" y="6350347"/>
                </a:lnTo>
                <a:lnTo>
                  <a:pt x="1645957" y="6356893"/>
                </a:lnTo>
                <a:lnTo>
                  <a:pt x="1643801" y="6371558"/>
                </a:lnTo>
                <a:lnTo>
                  <a:pt x="1643905" y="6397094"/>
                </a:lnTo>
                <a:lnTo>
                  <a:pt x="1650015" y="6435826"/>
                </a:lnTo>
                <a:lnTo>
                  <a:pt x="1663322" y="6477917"/>
                </a:lnTo>
                <a:lnTo>
                  <a:pt x="1683703" y="6521066"/>
                </a:lnTo>
                <a:lnTo>
                  <a:pt x="1704228" y="6552196"/>
                </a:lnTo>
                <a:lnTo>
                  <a:pt x="1719697" y="6572112"/>
                </a:lnTo>
                <a:lnTo>
                  <a:pt x="1737103" y="6590586"/>
                </a:lnTo>
                <a:lnTo>
                  <a:pt x="1756730" y="6608215"/>
                </a:lnTo>
                <a:lnTo>
                  <a:pt x="1777729" y="6623912"/>
                </a:lnTo>
                <a:lnTo>
                  <a:pt x="1800751" y="6637667"/>
                </a:lnTo>
                <a:lnTo>
                  <a:pt x="1812810" y="6643631"/>
                </a:lnTo>
                <a:lnTo>
                  <a:pt x="1820005" y="6646990"/>
                </a:lnTo>
                <a:lnTo>
                  <a:pt x="1832832" y="6655243"/>
                </a:lnTo>
                <a:lnTo>
                  <a:pt x="1850849" y="6670200"/>
                </a:lnTo>
                <a:lnTo>
                  <a:pt x="1883241" y="6706896"/>
                </a:lnTo>
                <a:lnTo>
                  <a:pt x="1907422" y="6732645"/>
                </a:lnTo>
                <a:lnTo>
                  <a:pt x="1927135" y="6725135"/>
                </a:lnTo>
                <a:lnTo>
                  <a:pt x="1964754" y="6711924"/>
                </a:lnTo>
                <a:lnTo>
                  <a:pt x="1964581" y="6691254"/>
                </a:lnTo>
                <a:lnTo>
                  <a:pt x="1961258" y="6619424"/>
                </a:lnTo>
                <a:lnTo>
                  <a:pt x="1959748" y="6599785"/>
                </a:lnTo>
                <a:lnTo>
                  <a:pt x="1954009" y="6560238"/>
                </a:lnTo>
                <a:lnTo>
                  <a:pt x="1941625" y="6501322"/>
                </a:lnTo>
                <a:lnTo>
                  <a:pt x="1934839" y="6465542"/>
                </a:lnTo>
                <a:lnTo>
                  <a:pt x="1934839" y="6056212"/>
                </a:lnTo>
                <a:lnTo>
                  <a:pt x="1959748" y="6000664"/>
                </a:lnTo>
                <a:lnTo>
                  <a:pt x="2011700" y="5894130"/>
                </a:lnTo>
                <a:lnTo>
                  <a:pt x="2053986" y="5818265"/>
                </a:lnTo>
                <a:lnTo>
                  <a:pt x="2081473" y="5773337"/>
                </a:lnTo>
                <a:lnTo>
                  <a:pt x="2091010" y="5754708"/>
                </a:lnTo>
                <a:lnTo>
                  <a:pt x="2094789" y="5753197"/>
                </a:lnTo>
                <a:lnTo>
                  <a:pt x="2103882" y="5748367"/>
                </a:lnTo>
                <a:lnTo>
                  <a:pt x="2116669" y="5763424"/>
                </a:lnTo>
                <a:lnTo>
                  <a:pt x="2143664" y="5789561"/>
                </a:lnTo>
                <a:lnTo>
                  <a:pt x="2172364" y="5810868"/>
                </a:lnTo>
                <a:lnTo>
                  <a:pt x="2197462" y="5824809"/>
                </a:lnTo>
                <a:lnTo>
                  <a:pt x="2197156" y="5824991"/>
                </a:lnTo>
                <a:lnTo>
                  <a:pt x="2181751" y="5836827"/>
                </a:lnTo>
                <a:lnTo>
                  <a:pt x="2169971" y="5849741"/>
                </a:lnTo>
                <a:lnTo>
                  <a:pt x="2165743" y="5856466"/>
                </a:lnTo>
                <a:lnTo>
                  <a:pt x="2146412" y="5891171"/>
                </a:lnTo>
                <a:lnTo>
                  <a:pt x="2111375" y="5960579"/>
                </a:lnTo>
                <a:lnTo>
                  <a:pt x="2079962" y="6030257"/>
                </a:lnTo>
                <a:lnTo>
                  <a:pt x="2053684" y="6101011"/>
                </a:lnTo>
                <a:lnTo>
                  <a:pt x="2033447" y="6172840"/>
                </a:lnTo>
                <a:lnTo>
                  <a:pt x="2020157" y="6245747"/>
                </a:lnTo>
                <a:lnTo>
                  <a:pt x="2015022" y="6301435"/>
                </a:lnTo>
                <a:lnTo>
                  <a:pt x="2014116" y="6338829"/>
                </a:lnTo>
                <a:lnTo>
                  <a:pt x="2015627" y="6376763"/>
                </a:lnTo>
                <a:lnTo>
                  <a:pt x="2019250" y="6415234"/>
                </a:lnTo>
                <a:lnTo>
                  <a:pt x="2021969" y="6434334"/>
                </a:lnTo>
                <a:lnTo>
                  <a:pt x="2029520" y="6483834"/>
                </a:lnTo>
                <a:lnTo>
                  <a:pt x="2040696" y="6583374"/>
                </a:lnTo>
                <a:lnTo>
                  <a:pt x="2049153" y="6682913"/>
                </a:lnTo>
                <a:lnTo>
                  <a:pt x="2054590" y="6782722"/>
                </a:lnTo>
                <a:lnTo>
                  <a:pt x="2056403" y="6832492"/>
                </a:lnTo>
                <a:lnTo>
                  <a:pt x="2057007" y="6852401"/>
                </a:lnTo>
                <a:lnTo>
                  <a:pt x="2053684" y="6891140"/>
                </a:lnTo>
                <a:lnTo>
                  <a:pt x="2045227" y="6927996"/>
                </a:lnTo>
                <a:lnTo>
                  <a:pt x="2031333" y="6963239"/>
                </a:lnTo>
                <a:lnTo>
                  <a:pt x="2012304" y="6996867"/>
                </a:lnTo>
                <a:lnTo>
                  <a:pt x="1987536" y="7028074"/>
                </a:lnTo>
                <a:lnTo>
                  <a:pt x="1957029" y="7057397"/>
                </a:lnTo>
                <a:lnTo>
                  <a:pt x="1920482" y="7085107"/>
                </a:lnTo>
                <a:lnTo>
                  <a:pt x="1899943" y="7097483"/>
                </a:lnTo>
                <a:lnTo>
                  <a:pt x="1886955" y="7105553"/>
                </a:lnTo>
                <a:lnTo>
                  <a:pt x="1863093" y="7124117"/>
                </a:lnTo>
                <a:lnTo>
                  <a:pt x="1829868" y="7154516"/>
                </a:lnTo>
                <a:lnTo>
                  <a:pt x="1807517" y="7174693"/>
                </a:lnTo>
                <a:lnTo>
                  <a:pt x="1800872" y="7180881"/>
                </a:lnTo>
                <a:lnTo>
                  <a:pt x="1793925" y="7193525"/>
                </a:lnTo>
                <a:lnTo>
                  <a:pt x="1793019" y="7206707"/>
                </a:lnTo>
                <a:lnTo>
                  <a:pt x="1797247" y="7221773"/>
                </a:lnTo>
                <a:lnTo>
                  <a:pt x="1801174" y="7229843"/>
                </a:lnTo>
                <a:lnTo>
                  <a:pt x="1841950" y="7314855"/>
                </a:lnTo>
                <a:lnTo>
                  <a:pt x="1919878" y="7485957"/>
                </a:lnTo>
                <a:lnTo>
                  <a:pt x="1958539" y="7571507"/>
                </a:lnTo>
                <a:lnTo>
                  <a:pt x="1953405" y="7573121"/>
                </a:lnTo>
                <a:lnTo>
                  <a:pt x="1948270" y="7575004"/>
                </a:lnTo>
                <a:lnTo>
                  <a:pt x="1921086" y="7530077"/>
                </a:lnTo>
                <a:lnTo>
                  <a:pt x="1893298" y="7485417"/>
                </a:lnTo>
                <a:lnTo>
                  <a:pt x="1889673" y="7513935"/>
                </a:lnTo>
                <a:lnTo>
                  <a:pt x="1885143" y="7570700"/>
                </a:lnTo>
                <a:lnTo>
                  <a:pt x="1883028" y="7626927"/>
                </a:lnTo>
                <a:lnTo>
                  <a:pt x="1883028" y="7682345"/>
                </a:lnTo>
                <a:lnTo>
                  <a:pt x="1884237" y="7710323"/>
                </a:lnTo>
                <a:lnTo>
                  <a:pt x="1886955" y="7764937"/>
                </a:lnTo>
                <a:lnTo>
                  <a:pt x="1897224" y="7874699"/>
                </a:lnTo>
                <a:lnTo>
                  <a:pt x="1901755" y="7929581"/>
                </a:lnTo>
                <a:lnTo>
                  <a:pt x="1896318" y="7916667"/>
                </a:lnTo>
                <a:lnTo>
                  <a:pt x="1886955" y="7889765"/>
                </a:lnTo>
                <a:lnTo>
                  <a:pt x="1879404" y="7862861"/>
                </a:lnTo>
                <a:lnTo>
                  <a:pt x="1874571" y="7835690"/>
                </a:lnTo>
                <a:lnTo>
                  <a:pt x="1872758" y="7822239"/>
                </a:lnTo>
                <a:lnTo>
                  <a:pt x="1864604" y="7735075"/>
                </a:lnTo>
                <a:lnTo>
                  <a:pt x="1849803" y="7560207"/>
                </a:lnTo>
                <a:lnTo>
                  <a:pt x="1840742" y="7473043"/>
                </a:lnTo>
                <a:lnTo>
                  <a:pt x="1836815" y="7443719"/>
                </a:lnTo>
                <a:lnTo>
                  <a:pt x="1827754" y="7400944"/>
                </a:lnTo>
                <a:lnTo>
                  <a:pt x="1819599" y="7372427"/>
                </a:lnTo>
                <a:lnTo>
                  <a:pt x="1809329" y="7343641"/>
                </a:lnTo>
                <a:lnTo>
                  <a:pt x="1796643" y="7315931"/>
                </a:lnTo>
                <a:lnTo>
                  <a:pt x="1781541" y="7287953"/>
                </a:lnTo>
                <a:lnTo>
                  <a:pt x="1763116" y="7260513"/>
                </a:lnTo>
                <a:lnTo>
                  <a:pt x="1753149" y="7246792"/>
                </a:lnTo>
                <a:lnTo>
                  <a:pt x="1728683" y="7294679"/>
                </a:lnTo>
                <a:lnTo>
                  <a:pt x="1705727" y="7337185"/>
                </a:lnTo>
                <a:lnTo>
                  <a:pt x="1691532" y="7361667"/>
                </a:lnTo>
                <a:lnTo>
                  <a:pt x="1667066" y="7411435"/>
                </a:lnTo>
                <a:lnTo>
                  <a:pt x="1646829" y="7461743"/>
                </a:lnTo>
                <a:lnTo>
                  <a:pt x="1631425" y="7512859"/>
                </a:lnTo>
                <a:lnTo>
                  <a:pt x="1619644" y="7564511"/>
                </a:lnTo>
                <a:lnTo>
                  <a:pt x="1612395" y="7616434"/>
                </a:lnTo>
                <a:lnTo>
                  <a:pt x="1609375" y="7669432"/>
                </a:lnTo>
                <a:lnTo>
                  <a:pt x="1610584" y="7722699"/>
                </a:lnTo>
                <a:lnTo>
                  <a:pt x="1612999" y="7749871"/>
                </a:lnTo>
                <a:lnTo>
                  <a:pt x="1616020" y="7778925"/>
                </a:lnTo>
                <a:lnTo>
                  <a:pt x="1627498" y="7835421"/>
                </a:lnTo>
                <a:lnTo>
                  <a:pt x="1644110" y="7889495"/>
                </a:lnTo>
                <a:lnTo>
                  <a:pt x="1667368" y="7940610"/>
                </a:lnTo>
                <a:lnTo>
                  <a:pt x="1689719" y="7977467"/>
                </a:lnTo>
                <a:lnTo>
                  <a:pt x="1706332" y="8000603"/>
                </a:lnTo>
                <a:lnTo>
                  <a:pt x="1725360" y="8023470"/>
                </a:lnTo>
                <a:lnTo>
                  <a:pt x="1745899" y="8045262"/>
                </a:lnTo>
                <a:lnTo>
                  <a:pt x="1768855" y="8066245"/>
                </a:lnTo>
                <a:lnTo>
                  <a:pt x="1793925" y="8086422"/>
                </a:lnTo>
                <a:lnTo>
                  <a:pt x="1820505" y="8106061"/>
                </a:lnTo>
                <a:lnTo>
                  <a:pt x="1849803" y="8124625"/>
                </a:lnTo>
                <a:lnTo>
                  <a:pt x="1865510" y="8133503"/>
                </a:lnTo>
                <a:lnTo>
                  <a:pt x="1883935" y="8144801"/>
                </a:lnTo>
                <a:lnTo>
                  <a:pt x="1928033" y="8176008"/>
                </a:lnTo>
                <a:lnTo>
                  <a:pt x="1997805" y="8229813"/>
                </a:lnTo>
                <a:lnTo>
                  <a:pt x="2035259" y="8256178"/>
                </a:lnTo>
                <a:lnTo>
                  <a:pt x="2066370" y="8276624"/>
                </a:lnTo>
                <a:lnTo>
                  <a:pt x="2123155" y="8310789"/>
                </a:lnTo>
                <a:lnTo>
                  <a:pt x="2195343" y="8351143"/>
                </a:lnTo>
                <a:lnTo>
                  <a:pt x="2260283" y="8383965"/>
                </a:lnTo>
                <a:lnTo>
                  <a:pt x="2282332" y="8394726"/>
                </a:lnTo>
                <a:close/>
                <a:moveTo>
                  <a:pt x="2577504" y="1385215"/>
                </a:moveTo>
                <a:lnTo>
                  <a:pt x="2574785" y="1404585"/>
                </a:lnTo>
                <a:lnTo>
                  <a:pt x="2565724" y="1443056"/>
                </a:lnTo>
                <a:lnTo>
                  <a:pt x="2546393" y="1500897"/>
                </a:lnTo>
                <a:lnTo>
                  <a:pt x="2515585" y="1577300"/>
                </a:lnTo>
                <a:lnTo>
                  <a:pt x="2496556" y="1635140"/>
                </a:lnTo>
                <a:lnTo>
                  <a:pt x="2487494" y="1673879"/>
                </a:lnTo>
                <a:lnTo>
                  <a:pt x="2484776" y="1692981"/>
                </a:lnTo>
                <a:lnTo>
                  <a:pt x="2481755" y="1715041"/>
                </a:lnTo>
                <a:lnTo>
                  <a:pt x="2469976" y="1758354"/>
                </a:lnTo>
                <a:lnTo>
                  <a:pt x="2462726" y="1790638"/>
                </a:lnTo>
                <a:lnTo>
                  <a:pt x="2461216" y="1811891"/>
                </a:lnTo>
                <a:lnTo>
                  <a:pt x="2463330" y="1833143"/>
                </a:lnTo>
                <a:lnTo>
                  <a:pt x="2470278" y="1854396"/>
                </a:lnTo>
                <a:lnTo>
                  <a:pt x="2476620" y="1864889"/>
                </a:lnTo>
                <a:lnTo>
                  <a:pt x="2484474" y="1877533"/>
                </a:lnTo>
                <a:lnTo>
                  <a:pt x="2497462" y="1902820"/>
                </a:lnTo>
                <a:lnTo>
                  <a:pt x="2507127" y="1928648"/>
                </a:lnTo>
                <a:lnTo>
                  <a:pt x="2513772" y="1955012"/>
                </a:lnTo>
                <a:lnTo>
                  <a:pt x="2518001" y="1981108"/>
                </a:lnTo>
                <a:lnTo>
                  <a:pt x="2519511" y="2007472"/>
                </a:lnTo>
                <a:lnTo>
                  <a:pt x="2518907" y="2034106"/>
                </a:lnTo>
                <a:lnTo>
                  <a:pt x="2516189" y="2060470"/>
                </a:lnTo>
                <a:lnTo>
                  <a:pt x="2513772" y="2073921"/>
                </a:lnTo>
                <a:lnTo>
                  <a:pt x="2485984" y="2224307"/>
                </a:lnTo>
                <a:lnTo>
                  <a:pt x="2441281" y="2450021"/>
                </a:lnTo>
                <a:lnTo>
                  <a:pt x="2409265" y="2600406"/>
                </a:lnTo>
                <a:lnTo>
                  <a:pt x="2392047" y="2674926"/>
                </a:lnTo>
                <a:lnTo>
                  <a:pt x="2382987" y="2714741"/>
                </a:lnTo>
                <a:lnTo>
                  <a:pt x="2372717" y="2773658"/>
                </a:lnTo>
                <a:lnTo>
                  <a:pt x="2368187" y="2812667"/>
                </a:lnTo>
                <a:lnTo>
                  <a:pt x="2366676" y="2851675"/>
                </a:lnTo>
                <a:lnTo>
                  <a:pt x="2367884" y="2890684"/>
                </a:lnTo>
                <a:lnTo>
                  <a:pt x="2372112" y="2929962"/>
                </a:lnTo>
                <a:lnTo>
                  <a:pt x="2380570" y="2969240"/>
                </a:lnTo>
                <a:lnTo>
                  <a:pt x="2386611" y="2988879"/>
                </a:lnTo>
                <a:lnTo>
                  <a:pt x="2389087" y="2995935"/>
                </a:lnTo>
                <a:lnTo>
                  <a:pt x="2359130" y="2991852"/>
                </a:lnTo>
                <a:lnTo>
                  <a:pt x="2327318" y="2990717"/>
                </a:lnTo>
                <a:lnTo>
                  <a:pt x="2295222" y="2992704"/>
                </a:lnTo>
                <a:lnTo>
                  <a:pt x="2263410" y="2998097"/>
                </a:lnTo>
                <a:lnTo>
                  <a:pt x="2231598" y="3007464"/>
                </a:lnTo>
                <a:lnTo>
                  <a:pt x="2200639" y="3020238"/>
                </a:lnTo>
                <a:lnTo>
                  <a:pt x="2170815" y="3037270"/>
                </a:lnTo>
                <a:lnTo>
                  <a:pt x="2142412" y="3058275"/>
                </a:lnTo>
                <a:lnTo>
                  <a:pt x="2131990" y="3068355"/>
                </a:lnTo>
                <a:lnTo>
                  <a:pt x="2127758" y="3046181"/>
                </a:lnTo>
                <a:lnTo>
                  <a:pt x="2123529" y="3019548"/>
                </a:lnTo>
                <a:lnTo>
                  <a:pt x="2121415" y="3006903"/>
                </a:lnTo>
                <a:lnTo>
                  <a:pt x="2115374" y="2983498"/>
                </a:lnTo>
                <a:lnTo>
                  <a:pt x="2105709" y="2961976"/>
                </a:lnTo>
                <a:lnTo>
                  <a:pt x="2093324" y="2942875"/>
                </a:lnTo>
                <a:lnTo>
                  <a:pt x="2077316" y="2925389"/>
                </a:lnTo>
                <a:lnTo>
                  <a:pt x="2057683" y="2909516"/>
                </a:lnTo>
                <a:lnTo>
                  <a:pt x="2033822" y="2896065"/>
                </a:lnTo>
                <a:lnTo>
                  <a:pt x="2005732" y="2884496"/>
                </a:lnTo>
                <a:lnTo>
                  <a:pt x="1990025" y="2879385"/>
                </a:lnTo>
                <a:lnTo>
                  <a:pt x="1957707" y="2869162"/>
                </a:lnTo>
                <a:lnTo>
                  <a:pt x="1898204" y="2845219"/>
                </a:lnTo>
                <a:lnTo>
                  <a:pt x="1844741" y="2816434"/>
                </a:lnTo>
                <a:lnTo>
                  <a:pt x="1796414" y="2783612"/>
                </a:lnTo>
                <a:lnTo>
                  <a:pt x="1753825" y="2746755"/>
                </a:lnTo>
                <a:lnTo>
                  <a:pt x="1743173" y="2734778"/>
                </a:lnTo>
                <a:lnTo>
                  <a:pt x="1727166" y="2733837"/>
                </a:lnTo>
                <a:lnTo>
                  <a:pt x="1650814" y="2725759"/>
                </a:lnTo>
                <a:lnTo>
                  <a:pt x="1578083" y="2714180"/>
                </a:lnTo>
                <a:lnTo>
                  <a:pt x="1507163" y="2700179"/>
                </a:lnTo>
                <a:lnTo>
                  <a:pt x="1435639" y="2683216"/>
                </a:lnTo>
                <a:lnTo>
                  <a:pt x="1324280" y="2653597"/>
                </a:lnTo>
                <a:lnTo>
                  <a:pt x="1241590" y="2630440"/>
                </a:lnTo>
                <a:lnTo>
                  <a:pt x="1219861" y="2623977"/>
                </a:lnTo>
                <a:lnTo>
                  <a:pt x="1169765" y="2602975"/>
                </a:lnTo>
                <a:lnTo>
                  <a:pt x="1085868" y="2560700"/>
                </a:lnTo>
                <a:lnTo>
                  <a:pt x="996539" y="2513849"/>
                </a:lnTo>
                <a:lnTo>
                  <a:pt x="937389" y="2486116"/>
                </a:lnTo>
                <a:lnTo>
                  <a:pt x="895139" y="2469690"/>
                </a:lnTo>
                <a:lnTo>
                  <a:pt x="867977" y="2460804"/>
                </a:lnTo>
                <a:lnTo>
                  <a:pt x="842325" y="2454881"/>
                </a:lnTo>
                <a:lnTo>
                  <a:pt x="818183" y="2452188"/>
                </a:lnTo>
                <a:lnTo>
                  <a:pt x="807017" y="2452188"/>
                </a:lnTo>
                <a:lnTo>
                  <a:pt x="821503" y="2445187"/>
                </a:lnTo>
                <a:lnTo>
                  <a:pt x="850172" y="2436032"/>
                </a:lnTo>
                <a:lnTo>
                  <a:pt x="879446" y="2433070"/>
                </a:lnTo>
                <a:lnTo>
                  <a:pt x="908417" y="2434686"/>
                </a:lnTo>
                <a:lnTo>
                  <a:pt x="937992" y="2441419"/>
                </a:lnTo>
                <a:lnTo>
                  <a:pt x="967869" y="2451381"/>
                </a:lnTo>
                <a:lnTo>
                  <a:pt x="1013741" y="2472114"/>
                </a:lnTo>
                <a:lnTo>
                  <a:pt x="1107597" y="2525697"/>
                </a:lnTo>
                <a:lnTo>
                  <a:pt x="1191192" y="2572549"/>
                </a:lnTo>
                <a:lnTo>
                  <a:pt x="1225897" y="2588973"/>
                </a:lnTo>
                <a:lnTo>
                  <a:pt x="1261508" y="2603244"/>
                </a:lnTo>
                <a:lnTo>
                  <a:pt x="1298326" y="2614822"/>
                </a:lnTo>
                <a:lnTo>
                  <a:pt x="1317037" y="2618861"/>
                </a:lnTo>
                <a:lnTo>
                  <a:pt x="1368341" y="2629363"/>
                </a:lnTo>
                <a:lnTo>
                  <a:pt x="1474871" y="2651712"/>
                </a:lnTo>
                <a:lnTo>
                  <a:pt x="1563597" y="2666790"/>
                </a:lnTo>
                <a:lnTo>
                  <a:pt x="1628783" y="2674868"/>
                </a:lnTo>
                <a:lnTo>
                  <a:pt x="1700492" y="2680999"/>
                </a:lnTo>
                <a:lnTo>
                  <a:pt x="1686167" y="2659860"/>
                </a:lnTo>
                <a:lnTo>
                  <a:pt x="1660796" y="2610090"/>
                </a:lnTo>
                <a:lnTo>
                  <a:pt x="1650526" y="2583726"/>
                </a:lnTo>
                <a:lnTo>
                  <a:pt x="1643579" y="2566238"/>
                </a:lnTo>
                <a:lnTo>
                  <a:pt x="1625456" y="2532073"/>
                </a:lnTo>
                <a:lnTo>
                  <a:pt x="1616395" y="2514855"/>
                </a:lnTo>
                <a:lnTo>
                  <a:pt x="1609448" y="2501673"/>
                </a:lnTo>
                <a:lnTo>
                  <a:pt x="1593742" y="2476653"/>
                </a:lnTo>
                <a:lnTo>
                  <a:pt x="1575619" y="2452441"/>
                </a:lnTo>
                <a:lnTo>
                  <a:pt x="1556287" y="2430112"/>
                </a:lnTo>
                <a:lnTo>
                  <a:pt x="1534238" y="2408858"/>
                </a:lnTo>
                <a:lnTo>
                  <a:pt x="1510377" y="2389489"/>
                </a:lnTo>
                <a:lnTo>
                  <a:pt x="1483797" y="2371196"/>
                </a:lnTo>
                <a:lnTo>
                  <a:pt x="1455102" y="2354784"/>
                </a:lnTo>
                <a:lnTo>
                  <a:pt x="1440000" y="2347521"/>
                </a:lnTo>
                <a:lnTo>
                  <a:pt x="1396204" y="2327344"/>
                </a:lnTo>
                <a:lnTo>
                  <a:pt x="1306798" y="2290218"/>
                </a:lnTo>
                <a:lnTo>
                  <a:pt x="1261793" y="2272463"/>
                </a:lnTo>
                <a:lnTo>
                  <a:pt x="1208030" y="2252285"/>
                </a:lnTo>
                <a:lnTo>
                  <a:pt x="1099595" y="2213278"/>
                </a:lnTo>
                <a:lnTo>
                  <a:pt x="1044622" y="2195521"/>
                </a:lnTo>
                <a:lnTo>
                  <a:pt x="1030729" y="2191755"/>
                </a:lnTo>
                <a:lnTo>
                  <a:pt x="1001732" y="2185299"/>
                </a:lnTo>
                <a:lnTo>
                  <a:pt x="957331" y="2179110"/>
                </a:lnTo>
                <a:lnTo>
                  <a:pt x="927429" y="2176958"/>
                </a:lnTo>
                <a:lnTo>
                  <a:pt x="888767" y="2176421"/>
                </a:lnTo>
                <a:lnTo>
                  <a:pt x="830472" y="2178034"/>
                </a:lnTo>
                <a:lnTo>
                  <a:pt x="792113" y="2177766"/>
                </a:lnTo>
                <a:lnTo>
                  <a:pt x="773084" y="2175883"/>
                </a:lnTo>
                <a:lnTo>
                  <a:pt x="735932" y="2171308"/>
                </a:lnTo>
                <a:lnTo>
                  <a:pt x="653474" y="2162969"/>
                </a:lnTo>
                <a:lnTo>
                  <a:pt x="588534" y="2160010"/>
                </a:lnTo>
                <a:lnTo>
                  <a:pt x="545040" y="2160548"/>
                </a:lnTo>
                <a:lnTo>
                  <a:pt x="503055" y="2164046"/>
                </a:lnTo>
                <a:lnTo>
                  <a:pt x="462883" y="2171039"/>
                </a:lnTo>
                <a:lnTo>
                  <a:pt x="443854" y="2176421"/>
                </a:lnTo>
                <a:lnTo>
                  <a:pt x="464394" y="2167004"/>
                </a:lnTo>
                <a:lnTo>
                  <a:pt x="510908" y="2150056"/>
                </a:lnTo>
                <a:lnTo>
                  <a:pt x="538395" y="2143060"/>
                </a:lnTo>
                <a:lnTo>
                  <a:pt x="547456" y="2142791"/>
                </a:lnTo>
                <a:lnTo>
                  <a:pt x="602428" y="2144137"/>
                </a:lnTo>
                <a:lnTo>
                  <a:pt x="713279" y="2150056"/>
                </a:lnTo>
                <a:lnTo>
                  <a:pt x="768553" y="2152208"/>
                </a:lnTo>
                <a:lnTo>
                  <a:pt x="856146" y="2153553"/>
                </a:lnTo>
                <a:lnTo>
                  <a:pt x="944041" y="2152477"/>
                </a:lnTo>
                <a:lnTo>
                  <a:pt x="945854" y="2146020"/>
                </a:lnTo>
                <a:lnTo>
                  <a:pt x="948270" y="2139295"/>
                </a:lnTo>
                <a:lnTo>
                  <a:pt x="864906" y="2105128"/>
                </a:lnTo>
                <a:lnTo>
                  <a:pt x="697573" y="2036796"/>
                </a:lnTo>
                <a:lnTo>
                  <a:pt x="615416" y="2000478"/>
                </a:lnTo>
                <a:lnTo>
                  <a:pt x="594575" y="1991600"/>
                </a:lnTo>
                <a:lnTo>
                  <a:pt x="552288" y="1976265"/>
                </a:lnTo>
                <a:lnTo>
                  <a:pt x="510002" y="1964697"/>
                </a:lnTo>
                <a:lnTo>
                  <a:pt x="467112" y="1956357"/>
                </a:lnTo>
                <a:lnTo>
                  <a:pt x="423617" y="1951514"/>
                </a:lnTo>
                <a:lnTo>
                  <a:pt x="379217" y="1950439"/>
                </a:lnTo>
                <a:lnTo>
                  <a:pt x="334816" y="1952591"/>
                </a:lnTo>
                <a:lnTo>
                  <a:pt x="289207" y="1958509"/>
                </a:lnTo>
                <a:lnTo>
                  <a:pt x="266554" y="1962545"/>
                </a:lnTo>
                <a:lnTo>
                  <a:pt x="254170" y="1964428"/>
                </a:lnTo>
                <a:lnTo>
                  <a:pt x="241484" y="1965235"/>
                </a:lnTo>
                <a:lnTo>
                  <a:pt x="239672" y="1958778"/>
                </a:lnTo>
                <a:lnTo>
                  <a:pt x="237558" y="1952053"/>
                </a:lnTo>
                <a:lnTo>
                  <a:pt x="275313" y="1945058"/>
                </a:lnTo>
                <a:lnTo>
                  <a:pt x="331192" y="1934027"/>
                </a:lnTo>
                <a:lnTo>
                  <a:pt x="368645" y="1928648"/>
                </a:lnTo>
                <a:lnTo>
                  <a:pt x="387675" y="1927302"/>
                </a:lnTo>
                <a:lnTo>
                  <a:pt x="419389" y="1926764"/>
                </a:lnTo>
                <a:lnTo>
                  <a:pt x="481610" y="1928648"/>
                </a:lnTo>
                <a:lnTo>
                  <a:pt x="541717" y="1935374"/>
                </a:lnTo>
                <a:lnTo>
                  <a:pt x="600918" y="1945865"/>
                </a:lnTo>
                <a:lnTo>
                  <a:pt x="659212" y="1960123"/>
                </a:lnTo>
                <a:lnTo>
                  <a:pt x="715997" y="1977610"/>
                </a:lnTo>
                <a:lnTo>
                  <a:pt x="772178" y="1997518"/>
                </a:lnTo>
                <a:lnTo>
                  <a:pt x="826848" y="2019848"/>
                </a:lnTo>
                <a:lnTo>
                  <a:pt x="854334" y="2031685"/>
                </a:lnTo>
                <a:lnTo>
                  <a:pt x="947364" y="2073921"/>
                </a:lnTo>
                <a:lnTo>
                  <a:pt x="1039591" y="2116605"/>
                </a:lnTo>
                <a:lnTo>
                  <a:pt x="1038582" y="2117504"/>
                </a:lnTo>
                <a:lnTo>
                  <a:pt x="1039790" y="2116697"/>
                </a:lnTo>
                <a:lnTo>
                  <a:pt x="1040696" y="2115620"/>
                </a:lnTo>
                <a:lnTo>
                  <a:pt x="1039628" y="2116572"/>
                </a:lnTo>
                <a:lnTo>
                  <a:pt x="1019553" y="2101094"/>
                </a:lnTo>
                <a:lnTo>
                  <a:pt x="981193" y="2068542"/>
                </a:lnTo>
                <a:lnTo>
                  <a:pt x="943135" y="2035181"/>
                </a:lnTo>
                <a:lnTo>
                  <a:pt x="904474" y="2002630"/>
                </a:lnTo>
                <a:lnTo>
                  <a:pt x="884237" y="1987295"/>
                </a:lnTo>
                <a:lnTo>
                  <a:pt x="906588" y="1996979"/>
                </a:lnTo>
                <a:lnTo>
                  <a:pt x="949479" y="2018771"/>
                </a:lnTo>
                <a:lnTo>
                  <a:pt x="989953" y="2041638"/>
                </a:lnTo>
                <a:lnTo>
                  <a:pt x="1029218" y="2066927"/>
                </a:lnTo>
                <a:lnTo>
                  <a:pt x="1047643" y="2080109"/>
                </a:lnTo>
                <a:lnTo>
                  <a:pt x="1066068" y="2093022"/>
                </a:lnTo>
                <a:lnTo>
                  <a:pt x="1103220" y="2117773"/>
                </a:lnTo>
                <a:lnTo>
                  <a:pt x="1161212" y="2152477"/>
                </a:lnTo>
                <a:lnTo>
                  <a:pt x="1242160" y="2194176"/>
                </a:lnTo>
                <a:lnTo>
                  <a:pt x="1327035" y="2231033"/>
                </a:lnTo>
                <a:lnTo>
                  <a:pt x="1371436" y="2247713"/>
                </a:lnTo>
                <a:lnTo>
                  <a:pt x="1398016" y="2258204"/>
                </a:lnTo>
                <a:lnTo>
                  <a:pt x="1449967" y="2282685"/>
                </a:lnTo>
                <a:lnTo>
                  <a:pt x="1525781" y="2322771"/>
                </a:lnTo>
                <a:lnTo>
                  <a:pt x="1576222" y="2348866"/>
                </a:lnTo>
                <a:lnTo>
                  <a:pt x="1584076" y="2351825"/>
                </a:lnTo>
                <a:lnTo>
                  <a:pt x="1594950" y="2354515"/>
                </a:lnTo>
                <a:lnTo>
                  <a:pt x="1584076" y="2315775"/>
                </a:lnTo>
                <a:lnTo>
                  <a:pt x="1560214" y="2239372"/>
                </a:lnTo>
                <a:lnTo>
                  <a:pt x="1522459" y="2125843"/>
                </a:lnTo>
                <a:lnTo>
                  <a:pt x="1487724" y="2012853"/>
                </a:lnTo>
                <a:lnTo>
                  <a:pt x="1468997" y="1937795"/>
                </a:lnTo>
                <a:lnTo>
                  <a:pt x="1455102" y="1862736"/>
                </a:lnTo>
                <a:lnTo>
                  <a:pt x="1449363" y="1806240"/>
                </a:lnTo>
                <a:lnTo>
                  <a:pt x="1447854" y="1768576"/>
                </a:lnTo>
                <a:lnTo>
                  <a:pt x="1447854" y="1749476"/>
                </a:lnTo>
                <a:lnTo>
                  <a:pt x="1402849" y="1739791"/>
                </a:lnTo>
                <a:lnTo>
                  <a:pt x="1339721" y="1727684"/>
                </a:lnTo>
                <a:lnTo>
                  <a:pt x="1311631" y="1718807"/>
                </a:lnTo>
                <a:lnTo>
                  <a:pt x="1294717" y="1711544"/>
                </a:lnTo>
                <a:lnTo>
                  <a:pt x="1286863" y="1706970"/>
                </a:lnTo>
                <a:lnTo>
                  <a:pt x="1273271" y="1699437"/>
                </a:lnTo>
                <a:lnTo>
                  <a:pt x="1244275" y="1685986"/>
                </a:lnTo>
                <a:lnTo>
                  <a:pt x="1213768" y="1674956"/>
                </a:lnTo>
                <a:lnTo>
                  <a:pt x="1181449" y="1665809"/>
                </a:lnTo>
                <a:lnTo>
                  <a:pt x="1149130" y="1658814"/>
                </a:lnTo>
                <a:lnTo>
                  <a:pt x="1115905" y="1653973"/>
                </a:lnTo>
                <a:lnTo>
                  <a:pt x="1065766" y="1649399"/>
                </a:lnTo>
                <a:lnTo>
                  <a:pt x="1000222" y="1649668"/>
                </a:lnTo>
                <a:lnTo>
                  <a:pt x="939511" y="1655317"/>
                </a:lnTo>
                <a:lnTo>
                  <a:pt x="886653" y="1665540"/>
                </a:lnTo>
                <a:lnTo>
                  <a:pt x="853730" y="1675494"/>
                </a:lnTo>
                <a:lnTo>
                  <a:pt x="835909" y="1683027"/>
                </a:lnTo>
                <a:lnTo>
                  <a:pt x="828358" y="1687062"/>
                </a:lnTo>
                <a:lnTo>
                  <a:pt x="824432" y="1685986"/>
                </a:lnTo>
                <a:lnTo>
                  <a:pt x="821109" y="1681951"/>
                </a:lnTo>
                <a:lnTo>
                  <a:pt x="820505" y="1678454"/>
                </a:lnTo>
                <a:lnTo>
                  <a:pt x="821713" y="1676301"/>
                </a:lnTo>
                <a:lnTo>
                  <a:pt x="826848" y="1673073"/>
                </a:lnTo>
                <a:lnTo>
                  <a:pt x="845877" y="1665540"/>
                </a:lnTo>
                <a:lnTo>
                  <a:pt x="856448" y="1660697"/>
                </a:lnTo>
                <a:lnTo>
                  <a:pt x="858563" y="1658277"/>
                </a:lnTo>
                <a:lnTo>
                  <a:pt x="790904" y="1666078"/>
                </a:lnTo>
                <a:lnTo>
                  <a:pt x="643204" y="1685986"/>
                </a:lnTo>
                <a:lnTo>
                  <a:pt x="580077" y="1693249"/>
                </a:lnTo>
                <a:lnTo>
                  <a:pt x="580077" y="1691636"/>
                </a:lnTo>
                <a:lnTo>
                  <a:pt x="585212" y="1685717"/>
                </a:lnTo>
                <a:lnTo>
                  <a:pt x="594273" y="1678722"/>
                </a:lnTo>
                <a:lnTo>
                  <a:pt x="606959" y="1673073"/>
                </a:lnTo>
                <a:lnTo>
                  <a:pt x="613905" y="1671727"/>
                </a:lnTo>
                <a:lnTo>
                  <a:pt x="727475" y="1650744"/>
                </a:lnTo>
                <a:lnTo>
                  <a:pt x="838326" y="1630298"/>
                </a:lnTo>
                <a:lnTo>
                  <a:pt x="827150" y="1626800"/>
                </a:lnTo>
                <a:lnTo>
                  <a:pt x="815068" y="1623034"/>
                </a:lnTo>
                <a:lnTo>
                  <a:pt x="1137653" y="1623034"/>
                </a:lnTo>
                <a:lnTo>
                  <a:pt x="997202" y="1501703"/>
                </a:lnTo>
                <a:lnTo>
                  <a:pt x="852824" y="1376875"/>
                </a:lnTo>
                <a:lnTo>
                  <a:pt x="844367" y="1370149"/>
                </a:lnTo>
                <a:lnTo>
                  <a:pt x="827150" y="1357505"/>
                </a:lnTo>
                <a:lnTo>
                  <a:pt x="809329" y="1347014"/>
                </a:lnTo>
                <a:lnTo>
                  <a:pt x="789998" y="1338136"/>
                </a:lnTo>
                <a:lnTo>
                  <a:pt x="759794" y="1327643"/>
                </a:lnTo>
                <a:lnTo>
                  <a:pt x="715997" y="1318766"/>
                </a:lnTo>
                <a:lnTo>
                  <a:pt x="692438" y="1317152"/>
                </a:lnTo>
                <a:lnTo>
                  <a:pt x="468623" y="1305583"/>
                </a:lnTo>
                <a:lnTo>
                  <a:pt x="244202" y="1294553"/>
                </a:lnTo>
                <a:lnTo>
                  <a:pt x="243900" y="1292132"/>
                </a:lnTo>
                <a:lnTo>
                  <a:pt x="243900" y="1289711"/>
                </a:lnTo>
                <a:lnTo>
                  <a:pt x="596991" y="1289711"/>
                </a:lnTo>
                <a:lnTo>
                  <a:pt x="506076" y="1240210"/>
                </a:lnTo>
                <a:lnTo>
                  <a:pt x="420597" y="1193668"/>
                </a:lnTo>
                <a:lnTo>
                  <a:pt x="408817" y="1187480"/>
                </a:lnTo>
                <a:lnTo>
                  <a:pt x="384050" y="1176182"/>
                </a:lnTo>
                <a:lnTo>
                  <a:pt x="358980" y="1167304"/>
                </a:lnTo>
                <a:lnTo>
                  <a:pt x="333306" y="1160310"/>
                </a:lnTo>
                <a:lnTo>
                  <a:pt x="307028" y="1154928"/>
                </a:lnTo>
                <a:lnTo>
                  <a:pt x="279844" y="1152239"/>
                </a:lnTo>
                <a:lnTo>
                  <a:pt x="252055" y="1151970"/>
                </a:lnTo>
                <a:lnTo>
                  <a:pt x="223965" y="1153584"/>
                </a:lnTo>
                <a:lnTo>
                  <a:pt x="209467" y="1155467"/>
                </a:lnTo>
                <a:lnTo>
                  <a:pt x="186814" y="1158964"/>
                </a:lnTo>
                <a:lnTo>
                  <a:pt x="140601" y="1164345"/>
                </a:lnTo>
                <a:lnTo>
                  <a:pt x="117343" y="1164883"/>
                </a:lnTo>
                <a:lnTo>
                  <a:pt x="108584" y="1164345"/>
                </a:lnTo>
                <a:lnTo>
                  <a:pt x="98315" y="1162730"/>
                </a:lnTo>
                <a:lnTo>
                  <a:pt x="96804" y="1159772"/>
                </a:lnTo>
                <a:lnTo>
                  <a:pt x="102845" y="1156005"/>
                </a:lnTo>
                <a:lnTo>
                  <a:pt x="123686" y="1149548"/>
                </a:lnTo>
                <a:lnTo>
                  <a:pt x="170202" y="1140939"/>
                </a:lnTo>
                <a:lnTo>
                  <a:pt x="199198" y="1137980"/>
                </a:lnTo>
                <a:lnTo>
                  <a:pt x="205541" y="1136904"/>
                </a:lnTo>
                <a:lnTo>
                  <a:pt x="217925" y="1131524"/>
                </a:lnTo>
                <a:lnTo>
                  <a:pt x="230309" y="1125336"/>
                </a:lnTo>
                <a:lnTo>
                  <a:pt x="241182" y="1121838"/>
                </a:lnTo>
                <a:lnTo>
                  <a:pt x="246015" y="1122645"/>
                </a:lnTo>
                <a:lnTo>
                  <a:pt x="299174" y="1136635"/>
                </a:lnTo>
                <a:lnTo>
                  <a:pt x="378613" y="1159233"/>
                </a:lnTo>
                <a:lnTo>
                  <a:pt x="430565" y="1175914"/>
                </a:lnTo>
                <a:lnTo>
                  <a:pt x="456540" y="1185329"/>
                </a:lnTo>
                <a:lnTo>
                  <a:pt x="488859" y="1197435"/>
                </a:lnTo>
                <a:lnTo>
                  <a:pt x="552288" y="1224337"/>
                </a:lnTo>
                <a:lnTo>
                  <a:pt x="616322" y="1252047"/>
                </a:lnTo>
                <a:lnTo>
                  <a:pt x="680960" y="1276798"/>
                </a:lnTo>
                <a:lnTo>
                  <a:pt x="714185" y="1286751"/>
                </a:lnTo>
                <a:lnTo>
                  <a:pt x="732610" y="1292401"/>
                </a:lnTo>
                <a:lnTo>
                  <a:pt x="768251" y="1304238"/>
                </a:lnTo>
                <a:lnTo>
                  <a:pt x="801778" y="1317959"/>
                </a:lnTo>
                <a:lnTo>
                  <a:pt x="833493" y="1332755"/>
                </a:lnTo>
                <a:lnTo>
                  <a:pt x="863698" y="1349703"/>
                </a:lnTo>
                <a:lnTo>
                  <a:pt x="892089" y="1368266"/>
                </a:lnTo>
                <a:lnTo>
                  <a:pt x="919274" y="1389251"/>
                </a:lnTo>
                <a:lnTo>
                  <a:pt x="944646" y="1412387"/>
                </a:lnTo>
                <a:lnTo>
                  <a:pt x="956727" y="1424762"/>
                </a:lnTo>
                <a:lnTo>
                  <a:pt x="974548" y="1443324"/>
                </a:lnTo>
                <a:lnTo>
                  <a:pt x="1012002" y="1478298"/>
                </a:lnTo>
                <a:lnTo>
                  <a:pt x="1052476" y="1510581"/>
                </a:lnTo>
                <a:lnTo>
                  <a:pt x="1095366" y="1540981"/>
                </a:lnTo>
                <a:lnTo>
                  <a:pt x="1140069" y="1569229"/>
                </a:lnTo>
                <a:lnTo>
                  <a:pt x="1186584" y="1595863"/>
                </a:lnTo>
                <a:lnTo>
                  <a:pt x="1259075" y="1632988"/>
                </a:lnTo>
                <a:lnTo>
                  <a:pt x="1309517" y="1656124"/>
                </a:lnTo>
                <a:lnTo>
                  <a:pt x="1324317" y="1662312"/>
                </a:lnTo>
                <a:lnTo>
                  <a:pt x="1357240" y="1671997"/>
                </a:lnTo>
                <a:lnTo>
                  <a:pt x="1411306" y="1684371"/>
                </a:lnTo>
                <a:lnTo>
                  <a:pt x="1450874" y="1693788"/>
                </a:lnTo>
                <a:lnTo>
                  <a:pt x="1446041" y="1624379"/>
                </a:lnTo>
                <a:lnTo>
                  <a:pt x="1441813" y="1567077"/>
                </a:lnTo>
                <a:lnTo>
                  <a:pt x="1438792" y="1537753"/>
                </a:lnTo>
                <a:lnTo>
                  <a:pt x="1427012" y="1482333"/>
                </a:lnTo>
                <a:lnTo>
                  <a:pt x="1413420" y="1443056"/>
                </a:lnTo>
                <a:lnTo>
                  <a:pt x="1402245" y="1417498"/>
                </a:lnTo>
                <a:lnTo>
                  <a:pt x="1389558" y="1393286"/>
                </a:lnTo>
                <a:lnTo>
                  <a:pt x="1375061" y="1369343"/>
                </a:lnTo>
                <a:lnTo>
                  <a:pt x="1358146" y="1346475"/>
                </a:lnTo>
                <a:lnTo>
                  <a:pt x="1340024" y="1324415"/>
                </a:lnTo>
                <a:lnTo>
                  <a:pt x="1319787" y="1303431"/>
                </a:lnTo>
                <a:lnTo>
                  <a:pt x="1297435" y="1283254"/>
                </a:lnTo>
                <a:lnTo>
                  <a:pt x="1273573" y="1263885"/>
                </a:lnTo>
                <a:lnTo>
                  <a:pt x="1247295" y="1245321"/>
                </a:lnTo>
                <a:lnTo>
                  <a:pt x="1205009" y="1219494"/>
                </a:lnTo>
                <a:lnTo>
                  <a:pt x="1173596" y="1203353"/>
                </a:lnTo>
                <a:lnTo>
                  <a:pt x="1149734" y="1191246"/>
                </a:lnTo>
                <a:lnTo>
                  <a:pt x="1104427" y="1163269"/>
                </a:lnTo>
                <a:lnTo>
                  <a:pt x="1084190" y="1147935"/>
                </a:lnTo>
                <a:lnTo>
                  <a:pt x="1060933" y="1129910"/>
                </a:lnTo>
                <a:lnTo>
                  <a:pt x="1012908" y="1096819"/>
                </a:lnTo>
                <a:lnTo>
                  <a:pt x="963070" y="1067495"/>
                </a:lnTo>
                <a:lnTo>
                  <a:pt x="910515" y="1041669"/>
                </a:lnTo>
                <a:lnTo>
                  <a:pt x="856146" y="1020416"/>
                </a:lnTo>
                <a:lnTo>
                  <a:pt x="798758" y="1002929"/>
                </a:lnTo>
                <a:lnTo>
                  <a:pt x="738651" y="990285"/>
                </a:lnTo>
                <a:lnTo>
                  <a:pt x="676127" y="982483"/>
                </a:lnTo>
                <a:lnTo>
                  <a:pt x="643204" y="980330"/>
                </a:lnTo>
                <a:lnTo>
                  <a:pt x="690323" y="978178"/>
                </a:lnTo>
                <a:lnTo>
                  <a:pt x="734422" y="976565"/>
                </a:lnTo>
                <a:lnTo>
                  <a:pt x="710862" y="962306"/>
                </a:lnTo>
                <a:lnTo>
                  <a:pt x="664649" y="933520"/>
                </a:lnTo>
                <a:lnTo>
                  <a:pt x="643204" y="918186"/>
                </a:lnTo>
                <a:lnTo>
                  <a:pt x="615718" y="897740"/>
                </a:lnTo>
                <a:lnTo>
                  <a:pt x="563766" y="854696"/>
                </a:lnTo>
                <a:lnTo>
                  <a:pt x="537790" y="833174"/>
                </a:lnTo>
                <a:lnTo>
                  <a:pt x="525709" y="823489"/>
                </a:lnTo>
                <a:lnTo>
                  <a:pt x="500337" y="807079"/>
                </a:lnTo>
                <a:lnTo>
                  <a:pt x="473757" y="793626"/>
                </a:lnTo>
                <a:lnTo>
                  <a:pt x="446270" y="783673"/>
                </a:lnTo>
                <a:lnTo>
                  <a:pt x="416972" y="776678"/>
                </a:lnTo>
                <a:lnTo>
                  <a:pt x="386768" y="772912"/>
                </a:lnTo>
                <a:lnTo>
                  <a:pt x="355355" y="771835"/>
                </a:lnTo>
                <a:lnTo>
                  <a:pt x="323036" y="773450"/>
                </a:lnTo>
                <a:lnTo>
                  <a:pt x="306122" y="775602"/>
                </a:lnTo>
                <a:lnTo>
                  <a:pt x="243900" y="782597"/>
                </a:lnTo>
                <a:lnTo>
                  <a:pt x="180773" y="788515"/>
                </a:lnTo>
                <a:lnTo>
                  <a:pt x="193459" y="783673"/>
                </a:lnTo>
                <a:lnTo>
                  <a:pt x="218830" y="776678"/>
                </a:lnTo>
                <a:lnTo>
                  <a:pt x="258096" y="769415"/>
                </a:lnTo>
                <a:lnTo>
                  <a:pt x="283770" y="764034"/>
                </a:lnTo>
                <a:lnTo>
                  <a:pt x="308236" y="758922"/>
                </a:lnTo>
                <a:lnTo>
                  <a:pt x="355053" y="753542"/>
                </a:lnTo>
                <a:lnTo>
                  <a:pt x="399756" y="754349"/>
                </a:lnTo>
                <a:lnTo>
                  <a:pt x="442344" y="760268"/>
                </a:lnTo>
                <a:lnTo>
                  <a:pt x="482214" y="771835"/>
                </a:lnTo>
                <a:lnTo>
                  <a:pt x="520272" y="787708"/>
                </a:lnTo>
                <a:lnTo>
                  <a:pt x="556819" y="808692"/>
                </a:lnTo>
                <a:lnTo>
                  <a:pt x="591253" y="833980"/>
                </a:lnTo>
                <a:lnTo>
                  <a:pt x="607563" y="848239"/>
                </a:lnTo>
                <a:lnTo>
                  <a:pt x="620853" y="859538"/>
                </a:lnTo>
                <a:lnTo>
                  <a:pt x="648339" y="881599"/>
                </a:lnTo>
                <a:lnTo>
                  <a:pt x="677336" y="901776"/>
                </a:lnTo>
                <a:lnTo>
                  <a:pt x="707540" y="921145"/>
                </a:lnTo>
                <a:lnTo>
                  <a:pt x="754659" y="947240"/>
                </a:lnTo>
                <a:lnTo>
                  <a:pt x="822015" y="977641"/>
                </a:lnTo>
                <a:lnTo>
                  <a:pt x="857656" y="990823"/>
                </a:lnTo>
                <a:lnTo>
                  <a:pt x="895714" y="1005081"/>
                </a:lnTo>
                <a:lnTo>
                  <a:pt x="970018" y="1036019"/>
                </a:lnTo>
                <a:lnTo>
                  <a:pt x="1022271" y="1063191"/>
                </a:lnTo>
                <a:lnTo>
                  <a:pt x="1055496" y="1083636"/>
                </a:lnTo>
                <a:lnTo>
                  <a:pt x="1086909" y="1105966"/>
                </a:lnTo>
                <a:lnTo>
                  <a:pt x="1115905" y="1130717"/>
                </a:lnTo>
                <a:lnTo>
                  <a:pt x="1129497" y="1143898"/>
                </a:lnTo>
                <a:lnTo>
                  <a:pt x="1136747" y="1150355"/>
                </a:lnTo>
                <a:lnTo>
                  <a:pt x="1156984" y="1160578"/>
                </a:lnTo>
                <a:lnTo>
                  <a:pt x="1166649" y="1165689"/>
                </a:lnTo>
                <a:lnTo>
                  <a:pt x="1171481" y="1162192"/>
                </a:lnTo>
                <a:lnTo>
                  <a:pt x="1176314" y="1158964"/>
                </a:lnTo>
                <a:lnTo>
                  <a:pt x="1154265" y="1139594"/>
                </a:lnTo>
                <a:lnTo>
                  <a:pt x="1114697" y="1099240"/>
                </a:lnTo>
                <a:lnTo>
                  <a:pt x="1080566" y="1057003"/>
                </a:lnTo>
                <a:lnTo>
                  <a:pt x="1051268" y="1012614"/>
                </a:lnTo>
                <a:lnTo>
                  <a:pt x="1025594" y="967148"/>
                </a:lnTo>
                <a:lnTo>
                  <a:pt x="1003544" y="920069"/>
                </a:lnTo>
                <a:lnTo>
                  <a:pt x="973340" y="848509"/>
                </a:lnTo>
                <a:lnTo>
                  <a:pt x="954915" y="800083"/>
                </a:lnTo>
                <a:lnTo>
                  <a:pt x="943437" y="770760"/>
                </a:lnTo>
                <a:lnTo>
                  <a:pt x="931356" y="741436"/>
                </a:lnTo>
                <a:lnTo>
                  <a:pt x="918972" y="712112"/>
                </a:lnTo>
                <a:lnTo>
                  <a:pt x="888767" y="658038"/>
                </a:lnTo>
                <a:lnTo>
                  <a:pt x="862187" y="620375"/>
                </a:lnTo>
                <a:lnTo>
                  <a:pt x="842554" y="596431"/>
                </a:lnTo>
                <a:lnTo>
                  <a:pt x="821411" y="573832"/>
                </a:lnTo>
                <a:lnTo>
                  <a:pt x="799060" y="552579"/>
                </a:lnTo>
                <a:lnTo>
                  <a:pt x="774896" y="531864"/>
                </a:lnTo>
                <a:lnTo>
                  <a:pt x="749222" y="512764"/>
                </a:lnTo>
                <a:lnTo>
                  <a:pt x="722038" y="494470"/>
                </a:lnTo>
                <a:lnTo>
                  <a:pt x="693344" y="477790"/>
                </a:lnTo>
                <a:lnTo>
                  <a:pt x="647131" y="454386"/>
                </a:lnTo>
                <a:lnTo>
                  <a:pt x="580077" y="427751"/>
                </a:lnTo>
                <a:lnTo>
                  <a:pt x="543832" y="416183"/>
                </a:lnTo>
                <a:lnTo>
                  <a:pt x="506982" y="404885"/>
                </a:lnTo>
                <a:lnTo>
                  <a:pt x="434491" y="380672"/>
                </a:lnTo>
                <a:lnTo>
                  <a:pt x="363209" y="353769"/>
                </a:lnTo>
                <a:lnTo>
                  <a:pt x="293738" y="324715"/>
                </a:lnTo>
                <a:lnTo>
                  <a:pt x="259607" y="309380"/>
                </a:lnTo>
                <a:lnTo>
                  <a:pt x="243598" y="301848"/>
                </a:lnTo>
                <a:lnTo>
                  <a:pt x="237255" y="296736"/>
                </a:lnTo>
                <a:lnTo>
                  <a:pt x="241484" y="296736"/>
                </a:lnTo>
                <a:lnTo>
                  <a:pt x="276824" y="304807"/>
                </a:lnTo>
                <a:lnTo>
                  <a:pt x="404891" y="340856"/>
                </a:lnTo>
                <a:lnTo>
                  <a:pt x="580983" y="388205"/>
                </a:lnTo>
                <a:lnTo>
                  <a:pt x="675825" y="410803"/>
                </a:lnTo>
                <a:lnTo>
                  <a:pt x="670993" y="394392"/>
                </a:lnTo>
                <a:lnTo>
                  <a:pt x="658608" y="363186"/>
                </a:lnTo>
                <a:lnTo>
                  <a:pt x="643204" y="333054"/>
                </a:lnTo>
                <a:lnTo>
                  <a:pt x="625081" y="304268"/>
                </a:lnTo>
                <a:lnTo>
                  <a:pt x="574338" y="235398"/>
                </a:lnTo>
                <a:lnTo>
                  <a:pt x="530843" y="181324"/>
                </a:lnTo>
                <a:lnTo>
                  <a:pt x="543529" y="186435"/>
                </a:lnTo>
                <a:lnTo>
                  <a:pt x="567391" y="192354"/>
                </a:lnTo>
                <a:lnTo>
                  <a:pt x="580077" y="197466"/>
                </a:lnTo>
                <a:lnTo>
                  <a:pt x="584003" y="201232"/>
                </a:lnTo>
                <a:lnTo>
                  <a:pt x="599407" y="223561"/>
                </a:lnTo>
                <a:lnTo>
                  <a:pt x="625988" y="270371"/>
                </a:lnTo>
                <a:lnTo>
                  <a:pt x="650756" y="318258"/>
                </a:lnTo>
                <a:lnTo>
                  <a:pt x="677336" y="364530"/>
                </a:lnTo>
                <a:lnTo>
                  <a:pt x="693344" y="386859"/>
                </a:lnTo>
                <a:lnTo>
                  <a:pt x="706936" y="404885"/>
                </a:lnTo>
                <a:lnTo>
                  <a:pt x="730797" y="430980"/>
                </a:lnTo>
                <a:lnTo>
                  <a:pt x="748920" y="445777"/>
                </a:lnTo>
                <a:lnTo>
                  <a:pt x="759492" y="451695"/>
                </a:lnTo>
                <a:lnTo>
                  <a:pt x="774292" y="459227"/>
                </a:lnTo>
                <a:lnTo>
                  <a:pt x="802080" y="475638"/>
                </a:lnTo>
                <a:lnTo>
                  <a:pt x="828660" y="493662"/>
                </a:lnTo>
                <a:lnTo>
                  <a:pt x="853126" y="512226"/>
                </a:lnTo>
                <a:lnTo>
                  <a:pt x="875477" y="532672"/>
                </a:lnTo>
                <a:lnTo>
                  <a:pt x="895714" y="553925"/>
                </a:lnTo>
                <a:lnTo>
                  <a:pt x="914139" y="576792"/>
                </a:lnTo>
                <a:lnTo>
                  <a:pt x="930148" y="601005"/>
                </a:lnTo>
                <a:lnTo>
                  <a:pt x="937094" y="613380"/>
                </a:lnTo>
                <a:lnTo>
                  <a:pt x="972434" y="678753"/>
                </a:lnTo>
                <a:lnTo>
                  <a:pt x="1022271" y="777754"/>
                </a:lnTo>
                <a:lnTo>
                  <a:pt x="1051872" y="844742"/>
                </a:lnTo>
                <a:lnTo>
                  <a:pt x="1064859" y="878101"/>
                </a:lnTo>
                <a:lnTo>
                  <a:pt x="1076338" y="906080"/>
                </a:lnTo>
                <a:lnTo>
                  <a:pt x="1104125" y="958002"/>
                </a:lnTo>
                <a:lnTo>
                  <a:pt x="1137351" y="1007233"/>
                </a:lnTo>
                <a:lnTo>
                  <a:pt x="1175710" y="1053775"/>
                </a:lnTo>
                <a:lnTo>
                  <a:pt x="1217695" y="1098434"/>
                </a:lnTo>
                <a:lnTo>
                  <a:pt x="1262699" y="1141746"/>
                </a:lnTo>
                <a:lnTo>
                  <a:pt x="1333076" y="1205506"/>
                </a:lnTo>
                <a:lnTo>
                  <a:pt x="1381706" y="1248012"/>
                </a:lnTo>
                <a:lnTo>
                  <a:pt x="1391673" y="1213846"/>
                </a:lnTo>
                <a:lnTo>
                  <a:pt x="1402849" y="1162730"/>
                </a:lnTo>
                <a:lnTo>
                  <a:pt x="1404359" y="1137173"/>
                </a:lnTo>
                <a:lnTo>
                  <a:pt x="1403151" y="1120762"/>
                </a:lnTo>
                <a:lnTo>
                  <a:pt x="1401641" y="1112422"/>
                </a:lnTo>
                <a:lnTo>
                  <a:pt x="1391673" y="1065612"/>
                </a:lnTo>
                <a:lnTo>
                  <a:pt x="1372946" y="996741"/>
                </a:lnTo>
                <a:lnTo>
                  <a:pt x="1357844" y="951007"/>
                </a:lnTo>
                <a:lnTo>
                  <a:pt x="1339721" y="906349"/>
                </a:lnTo>
                <a:lnTo>
                  <a:pt x="1318578" y="862497"/>
                </a:lnTo>
                <a:lnTo>
                  <a:pt x="1293508" y="819454"/>
                </a:lnTo>
                <a:lnTo>
                  <a:pt x="1264814" y="777754"/>
                </a:lnTo>
                <a:lnTo>
                  <a:pt x="1248504" y="757578"/>
                </a:lnTo>
                <a:lnTo>
                  <a:pt x="1240348" y="747085"/>
                </a:lnTo>
                <a:lnTo>
                  <a:pt x="1227360" y="726101"/>
                </a:lnTo>
                <a:lnTo>
                  <a:pt x="1217695" y="704848"/>
                </a:lnTo>
                <a:lnTo>
                  <a:pt x="1210747" y="682789"/>
                </a:lnTo>
                <a:lnTo>
                  <a:pt x="1205009" y="649698"/>
                </a:lnTo>
                <a:lnTo>
                  <a:pt x="1204103" y="603426"/>
                </a:lnTo>
                <a:lnTo>
                  <a:pt x="1205915" y="579751"/>
                </a:lnTo>
                <a:lnTo>
                  <a:pt x="1207425" y="553117"/>
                </a:lnTo>
                <a:lnTo>
                  <a:pt x="1207425" y="500119"/>
                </a:lnTo>
                <a:lnTo>
                  <a:pt x="1203801" y="446852"/>
                </a:lnTo>
                <a:lnTo>
                  <a:pt x="1197458" y="393854"/>
                </a:lnTo>
                <a:lnTo>
                  <a:pt x="1193229" y="367759"/>
                </a:lnTo>
                <a:lnTo>
                  <a:pt x="1189604" y="347313"/>
                </a:lnTo>
                <a:lnTo>
                  <a:pt x="1183866" y="308035"/>
                </a:lnTo>
                <a:lnTo>
                  <a:pt x="1182658" y="268488"/>
                </a:lnTo>
                <a:lnTo>
                  <a:pt x="1186584" y="238896"/>
                </a:lnTo>
                <a:lnTo>
                  <a:pt x="1192021" y="218987"/>
                </a:lnTo>
                <a:lnTo>
                  <a:pt x="1195947" y="209303"/>
                </a:lnTo>
                <a:lnTo>
                  <a:pt x="1199270" y="200694"/>
                </a:lnTo>
                <a:lnTo>
                  <a:pt x="1198666" y="185629"/>
                </a:lnTo>
                <a:lnTo>
                  <a:pt x="1194437" y="173522"/>
                </a:lnTo>
                <a:lnTo>
                  <a:pt x="1190510" y="162222"/>
                </a:lnTo>
                <a:lnTo>
                  <a:pt x="1190510" y="156573"/>
                </a:lnTo>
                <a:lnTo>
                  <a:pt x="1190812" y="154959"/>
                </a:lnTo>
                <a:lnTo>
                  <a:pt x="1194135" y="152807"/>
                </a:lnTo>
                <a:lnTo>
                  <a:pt x="1201384" y="151462"/>
                </a:lnTo>
                <a:lnTo>
                  <a:pt x="1205915" y="152538"/>
                </a:lnTo>
                <a:lnTo>
                  <a:pt x="1211351" y="164107"/>
                </a:lnTo>
                <a:lnTo>
                  <a:pt x="1218299" y="179440"/>
                </a:lnTo>
                <a:lnTo>
                  <a:pt x="1231287" y="169487"/>
                </a:lnTo>
                <a:lnTo>
                  <a:pt x="1254847" y="149847"/>
                </a:lnTo>
                <a:lnTo>
                  <a:pt x="1275990" y="128864"/>
                </a:lnTo>
                <a:lnTo>
                  <a:pt x="1294717" y="107073"/>
                </a:lnTo>
                <a:lnTo>
                  <a:pt x="1311631" y="84744"/>
                </a:lnTo>
                <a:lnTo>
                  <a:pt x="1326129" y="61876"/>
                </a:lnTo>
                <a:lnTo>
                  <a:pt x="1338815" y="37663"/>
                </a:lnTo>
                <a:lnTo>
                  <a:pt x="1349387" y="12913"/>
                </a:lnTo>
                <a:lnTo>
                  <a:pt x="1354219" y="0"/>
                </a:lnTo>
                <a:lnTo>
                  <a:pt x="1354219" y="10493"/>
                </a:lnTo>
                <a:lnTo>
                  <a:pt x="1351501" y="31207"/>
                </a:lnTo>
                <a:lnTo>
                  <a:pt x="1346064" y="50577"/>
                </a:lnTo>
                <a:lnTo>
                  <a:pt x="1338211" y="69409"/>
                </a:lnTo>
                <a:lnTo>
                  <a:pt x="1322806" y="96311"/>
                </a:lnTo>
                <a:lnTo>
                  <a:pt x="1295321" y="129940"/>
                </a:lnTo>
                <a:lnTo>
                  <a:pt x="1279916" y="145543"/>
                </a:lnTo>
                <a:lnTo>
                  <a:pt x="1269345" y="156035"/>
                </a:lnTo>
                <a:lnTo>
                  <a:pt x="1251222" y="177557"/>
                </a:lnTo>
                <a:lnTo>
                  <a:pt x="1236421" y="199617"/>
                </a:lnTo>
                <a:lnTo>
                  <a:pt x="1225246" y="222216"/>
                </a:lnTo>
                <a:lnTo>
                  <a:pt x="1217695" y="245621"/>
                </a:lnTo>
                <a:lnTo>
                  <a:pt x="1213768" y="270102"/>
                </a:lnTo>
                <a:lnTo>
                  <a:pt x="1213164" y="294853"/>
                </a:lnTo>
                <a:lnTo>
                  <a:pt x="1216486" y="320679"/>
                </a:lnTo>
                <a:lnTo>
                  <a:pt x="1219507" y="333862"/>
                </a:lnTo>
                <a:lnTo>
                  <a:pt x="1240348" y="419681"/>
                </a:lnTo>
                <a:lnTo>
                  <a:pt x="1258773" y="501465"/>
                </a:lnTo>
                <a:lnTo>
                  <a:pt x="1292602" y="448466"/>
                </a:lnTo>
                <a:lnTo>
                  <a:pt x="1330358" y="390625"/>
                </a:lnTo>
                <a:lnTo>
                  <a:pt x="1336701" y="393047"/>
                </a:lnTo>
                <a:lnTo>
                  <a:pt x="1343345" y="395468"/>
                </a:lnTo>
                <a:lnTo>
                  <a:pt x="1340326" y="403808"/>
                </a:lnTo>
                <a:lnTo>
                  <a:pt x="1337003" y="412417"/>
                </a:lnTo>
                <a:lnTo>
                  <a:pt x="1313745" y="455461"/>
                </a:lnTo>
                <a:lnTo>
                  <a:pt x="1279010" y="520835"/>
                </a:lnTo>
                <a:lnTo>
                  <a:pt x="1258773" y="564685"/>
                </a:lnTo>
                <a:lnTo>
                  <a:pt x="1250920" y="587015"/>
                </a:lnTo>
                <a:lnTo>
                  <a:pt x="1246993" y="601005"/>
                </a:lnTo>
                <a:lnTo>
                  <a:pt x="1243369" y="630597"/>
                </a:lnTo>
                <a:lnTo>
                  <a:pt x="1245785" y="660998"/>
                </a:lnTo>
                <a:lnTo>
                  <a:pt x="1253638" y="689783"/>
                </a:lnTo>
                <a:lnTo>
                  <a:pt x="1259679" y="702965"/>
                </a:lnTo>
                <a:lnTo>
                  <a:pt x="1280218" y="741167"/>
                </a:lnTo>
                <a:lnTo>
                  <a:pt x="1323713" y="815687"/>
                </a:lnTo>
                <a:lnTo>
                  <a:pt x="1391673" y="926525"/>
                </a:lnTo>
                <a:lnTo>
                  <a:pt x="1436376" y="999700"/>
                </a:lnTo>
                <a:lnTo>
                  <a:pt x="1452686" y="977641"/>
                </a:lnTo>
                <a:lnTo>
                  <a:pt x="1483797" y="931368"/>
                </a:lnTo>
                <a:lnTo>
                  <a:pt x="1514303" y="884019"/>
                </a:lnTo>
                <a:lnTo>
                  <a:pt x="1546018" y="836940"/>
                </a:lnTo>
                <a:lnTo>
                  <a:pt x="1580753" y="791206"/>
                </a:lnTo>
                <a:lnTo>
                  <a:pt x="1620321" y="748162"/>
                </a:lnTo>
                <a:lnTo>
                  <a:pt x="1654453" y="718030"/>
                </a:lnTo>
                <a:lnTo>
                  <a:pt x="1679523" y="699199"/>
                </a:lnTo>
                <a:lnTo>
                  <a:pt x="1706404" y="681711"/>
                </a:lnTo>
                <a:lnTo>
                  <a:pt x="1736307" y="666109"/>
                </a:lnTo>
                <a:lnTo>
                  <a:pt x="1752013" y="658845"/>
                </a:lnTo>
                <a:lnTo>
                  <a:pt x="1739327" y="667185"/>
                </a:lnTo>
                <a:lnTo>
                  <a:pt x="1715768" y="684671"/>
                </a:lnTo>
                <a:lnTo>
                  <a:pt x="1694323" y="703503"/>
                </a:lnTo>
                <a:lnTo>
                  <a:pt x="1674086" y="723412"/>
                </a:lnTo>
                <a:lnTo>
                  <a:pt x="1655661" y="744665"/>
                </a:lnTo>
                <a:lnTo>
                  <a:pt x="1638747" y="766993"/>
                </a:lnTo>
                <a:lnTo>
                  <a:pt x="1616093" y="802773"/>
                </a:lnTo>
                <a:lnTo>
                  <a:pt x="1602803" y="828600"/>
                </a:lnTo>
                <a:lnTo>
                  <a:pt x="1665024" y="807078"/>
                </a:lnTo>
                <a:lnTo>
                  <a:pt x="1704290" y="792282"/>
                </a:lnTo>
                <a:lnTo>
                  <a:pt x="1712143" y="795779"/>
                </a:lnTo>
                <a:lnTo>
                  <a:pt x="1720601" y="802773"/>
                </a:lnTo>
                <a:lnTo>
                  <a:pt x="1720601" y="809499"/>
                </a:lnTo>
                <a:lnTo>
                  <a:pt x="1713049" y="814610"/>
                </a:lnTo>
                <a:lnTo>
                  <a:pt x="1707008" y="816763"/>
                </a:lnTo>
                <a:lnTo>
                  <a:pt x="1687979" y="821874"/>
                </a:lnTo>
                <a:lnTo>
                  <a:pt x="1654453" y="834788"/>
                </a:lnTo>
                <a:lnTo>
                  <a:pt x="1624550" y="849584"/>
                </a:lnTo>
                <a:lnTo>
                  <a:pt x="1598876" y="865995"/>
                </a:lnTo>
                <a:lnTo>
                  <a:pt x="1566859" y="891284"/>
                </a:lnTo>
                <a:lnTo>
                  <a:pt x="1534540" y="923567"/>
                </a:lnTo>
                <a:lnTo>
                  <a:pt x="1522459" y="935942"/>
                </a:lnTo>
                <a:lnTo>
                  <a:pt x="1503732" y="955581"/>
                </a:lnTo>
                <a:lnTo>
                  <a:pt x="1481381" y="984366"/>
                </a:lnTo>
                <a:lnTo>
                  <a:pt x="1470507" y="1003736"/>
                </a:lnTo>
                <a:lnTo>
                  <a:pt x="1462654" y="1023644"/>
                </a:lnTo>
                <a:lnTo>
                  <a:pt x="1458425" y="1043821"/>
                </a:lnTo>
                <a:lnTo>
                  <a:pt x="1457519" y="1065343"/>
                </a:lnTo>
                <a:lnTo>
                  <a:pt x="1461446" y="1088480"/>
                </a:lnTo>
                <a:lnTo>
                  <a:pt x="1465070" y="1100585"/>
                </a:lnTo>
                <a:lnTo>
                  <a:pt x="1468091" y="1111347"/>
                </a:lnTo>
                <a:lnTo>
                  <a:pt x="1470809" y="1134483"/>
                </a:lnTo>
                <a:lnTo>
                  <a:pt x="1470204" y="1157888"/>
                </a:lnTo>
                <a:lnTo>
                  <a:pt x="1466581" y="1181024"/>
                </a:lnTo>
                <a:lnTo>
                  <a:pt x="1457821" y="1215728"/>
                </a:lnTo>
                <a:lnTo>
                  <a:pt x="1443323" y="1257159"/>
                </a:lnTo>
                <a:lnTo>
                  <a:pt x="1437282" y="1274645"/>
                </a:lnTo>
                <a:lnTo>
                  <a:pt x="1431241" y="1289711"/>
                </a:lnTo>
                <a:lnTo>
                  <a:pt x="1427918" y="1306659"/>
                </a:lnTo>
                <a:lnTo>
                  <a:pt x="1432449" y="1318766"/>
                </a:lnTo>
                <a:lnTo>
                  <a:pt x="1437886" y="1325761"/>
                </a:lnTo>
                <a:lnTo>
                  <a:pt x="1450874" y="1341094"/>
                </a:lnTo>
                <a:lnTo>
                  <a:pt x="1473829" y="1372571"/>
                </a:lnTo>
                <a:lnTo>
                  <a:pt x="1492858" y="1405123"/>
                </a:lnTo>
                <a:lnTo>
                  <a:pt x="1508565" y="1438214"/>
                </a:lnTo>
                <a:lnTo>
                  <a:pt x="1520042" y="1472380"/>
                </a:lnTo>
                <a:lnTo>
                  <a:pt x="1529104" y="1507083"/>
                </a:lnTo>
                <a:lnTo>
                  <a:pt x="1535144" y="1542864"/>
                </a:lnTo>
                <a:lnTo>
                  <a:pt x="1538165" y="1578914"/>
                </a:lnTo>
                <a:lnTo>
                  <a:pt x="1538467" y="1597746"/>
                </a:lnTo>
                <a:lnTo>
                  <a:pt x="1539373" y="1667961"/>
                </a:lnTo>
                <a:lnTo>
                  <a:pt x="1543904" y="1772881"/>
                </a:lnTo>
                <a:lnTo>
                  <a:pt x="1552361" y="1842559"/>
                </a:lnTo>
                <a:lnTo>
                  <a:pt x="1558402" y="1877264"/>
                </a:lnTo>
                <a:lnTo>
                  <a:pt x="1566859" y="1916810"/>
                </a:lnTo>
                <a:lnTo>
                  <a:pt x="1586794" y="1996173"/>
                </a:lnTo>
                <a:lnTo>
                  <a:pt x="1609750" y="2074459"/>
                </a:lnTo>
                <a:lnTo>
                  <a:pt x="1635726" y="2152208"/>
                </a:lnTo>
                <a:lnTo>
                  <a:pt x="1664118" y="2229688"/>
                </a:lnTo>
                <a:lnTo>
                  <a:pt x="1695229" y="2306629"/>
                </a:lnTo>
                <a:lnTo>
                  <a:pt x="1744462" y="2421233"/>
                </a:lnTo>
                <a:lnTo>
                  <a:pt x="1780104" y="2497100"/>
                </a:lnTo>
                <a:lnTo>
                  <a:pt x="1787957" y="2513779"/>
                </a:lnTo>
                <a:lnTo>
                  <a:pt x="1806080" y="2544986"/>
                </a:lnTo>
                <a:lnTo>
                  <a:pt x="1826317" y="2573771"/>
                </a:lnTo>
                <a:lnTo>
                  <a:pt x="1848668" y="2601481"/>
                </a:lnTo>
                <a:lnTo>
                  <a:pt x="1872832" y="2626770"/>
                </a:lnTo>
                <a:lnTo>
                  <a:pt x="1898808" y="2650982"/>
                </a:lnTo>
                <a:lnTo>
                  <a:pt x="1940188" y="2685149"/>
                </a:lnTo>
                <a:lnTo>
                  <a:pt x="2000597" y="2726309"/>
                </a:lnTo>
                <a:lnTo>
                  <a:pt x="2064631" y="2764511"/>
                </a:lnTo>
                <a:lnTo>
                  <a:pt x="2164910" y="2819392"/>
                </a:lnTo>
                <a:lnTo>
                  <a:pt x="2232568" y="2855441"/>
                </a:lnTo>
                <a:lnTo>
                  <a:pt x="2243139" y="2808900"/>
                </a:lnTo>
                <a:lnTo>
                  <a:pt x="2258242" y="2739760"/>
                </a:lnTo>
                <a:lnTo>
                  <a:pt x="2269417" y="2694564"/>
                </a:lnTo>
                <a:lnTo>
                  <a:pt x="2276062" y="2672235"/>
                </a:lnTo>
                <a:lnTo>
                  <a:pt x="2298716" y="2599867"/>
                </a:lnTo>
                <a:lnTo>
                  <a:pt x="2322574" y="2516327"/>
                </a:lnTo>
                <a:lnTo>
                  <a:pt x="2284422" y="2500623"/>
                </a:lnTo>
                <a:lnTo>
                  <a:pt x="2256613" y="2491213"/>
                </a:lnTo>
                <a:lnTo>
                  <a:pt x="2243010" y="2486643"/>
                </a:lnTo>
                <a:lnTo>
                  <a:pt x="2217922" y="2475621"/>
                </a:lnTo>
                <a:lnTo>
                  <a:pt x="2195251" y="2462450"/>
                </a:lnTo>
                <a:lnTo>
                  <a:pt x="2174998" y="2447665"/>
                </a:lnTo>
                <a:lnTo>
                  <a:pt x="2147189" y="2422932"/>
                </a:lnTo>
                <a:lnTo>
                  <a:pt x="2114242" y="2385297"/>
                </a:lnTo>
                <a:lnTo>
                  <a:pt x="2098523" y="2365135"/>
                </a:lnTo>
                <a:lnTo>
                  <a:pt x="2081293" y="2342823"/>
                </a:lnTo>
                <a:lnTo>
                  <a:pt x="2044114" y="2299274"/>
                </a:lnTo>
                <a:lnTo>
                  <a:pt x="2003609" y="2257606"/>
                </a:lnTo>
                <a:lnTo>
                  <a:pt x="1961291" y="2216745"/>
                </a:lnTo>
                <a:lnTo>
                  <a:pt x="1939829" y="2197121"/>
                </a:lnTo>
                <a:lnTo>
                  <a:pt x="1922902" y="2182336"/>
                </a:lnTo>
                <a:lnTo>
                  <a:pt x="1890558" y="2152497"/>
                </a:lnTo>
                <a:lnTo>
                  <a:pt x="1861842" y="2121045"/>
                </a:lnTo>
                <a:lnTo>
                  <a:pt x="1844310" y="2094700"/>
                </a:lnTo>
                <a:lnTo>
                  <a:pt x="1834637" y="2076420"/>
                </a:lnTo>
                <a:lnTo>
                  <a:pt x="1831010" y="2066205"/>
                </a:lnTo>
                <a:lnTo>
                  <a:pt x="1827383" y="2057602"/>
                </a:lnTo>
                <a:lnTo>
                  <a:pt x="1816501" y="2045775"/>
                </a:lnTo>
                <a:lnTo>
                  <a:pt x="1804107" y="2037709"/>
                </a:lnTo>
                <a:lnTo>
                  <a:pt x="1793528" y="2030452"/>
                </a:lnTo>
                <a:lnTo>
                  <a:pt x="1789598" y="2025881"/>
                </a:lnTo>
                <a:lnTo>
                  <a:pt x="1788994" y="2023999"/>
                </a:lnTo>
                <a:lnTo>
                  <a:pt x="1789598" y="2021043"/>
                </a:lnTo>
                <a:lnTo>
                  <a:pt x="1794435" y="2016742"/>
                </a:lnTo>
                <a:lnTo>
                  <a:pt x="1798667" y="2015129"/>
                </a:lnTo>
                <a:lnTo>
                  <a:pt x="1810757" y="2022387"/>
                </a:lnTo>
                <a:lnTo>
                  <a:pt x="1827383" y="2031796"/>
                </a:lnTo>
                <a:lnTo>
                  <a:pt x="1831010" y="2017816"/>
                </a:lnTo>
                <a:lnTo>
                  <a:pt x="1835242" y="1990665"/>
                </a:lnTo>
                <a:lnTo>
                  <a:pt x="1837660" y="1963783"/>
                </a:lnTo>
                <a:lnTo>
                  <a:pt x="1837660" y="1937707"/>
                </a:lnTo>
                <a:lnTo>
                  <a:pt x="1834637" y="1911900"/>
                </a:lnTo>
                <a:lnTo>
                  <a:pt x="1830103" y="1886093"/>
                </a:lnTo>
                <a:lnTo>
                  <a:pt x="1823453" y="1860555"/>
                </a:lnTo>
                <a:lnTo>
                  <a:pt x="1814385" y="1835555"/>
                </a:lnTo>
                <a:lnTo>
                  <a:pt x="1809246" y="1822920"/>
                </a:lnTo>
                <a:lnTo>
                  <a:pt x="1816501" y="1831791"/>
                </a:lnTo>
                <a:lnTo>
                  <a:pt x="1828894" y="1849533"/>
                </a:lnTo>
                <a:lnTo>
                  <a:pt x="1838264" y="1868082"/>
                </a:lnTo>
                <a:lnTo>
                  <a:pt x="1845217" y="1887169"/>
                </a:lnTo>
                <a:lnTo>
                  <a:pt x="1851565" y="1915933"/>
                </a:lnTo>
                <a:lnTo>
                  <a:pt x="1853680" y="1955719"/>
                </a:lnTo>
                <a:lnTo>
                  <a:pt x="1852471" y="1975880"/>
                </a:lnTo>
                <a:lnTo>
                  <a:pt x="1851263" y="1989322"/>
                </a:lnTo>
                <a:lnTo>
                  <a:pt x="1852169" y="2015129"/>
                </a:lnTo>
                <a:lnTo>
                  <a:pt x="1855797" y="2039860"/>
                </a:lnTo>
                <a:lnTo>
                  <a:pt x="1863051" y="2063517"/>
                </a:lnTo>
                <a:lnTo>
                  <a:pt x="1873631" y="2086366"/>
                </a:lnTo>
                <a:lnTo>
                  <a:pt x="1887233" y="2108141"/>
                </a:lnTo>
                <a:lnTo>
                  <a:pt x="1904463" y="2128572"/>
                </a:lnTo>
                <a:lnTo>
                  <a:pt x="1925017" y="2148196"/>
                </a:lnTo>
                <a:lnTo>
                  <a:pt x="1937109" y="2157604"/>
                </a:lnTo>
                <a:lnTo>
                  <a:pt x="2013584" y="2218358"/>
                </a:lnTo>
                <a:lnTo>
                  <a:pt x="2085223" y="2276962"/>
                </a:lnTo>
                <a:lnTo>
                  <a:pt x="2075248" y="2218089"/>
                </a:lnTo>
                <a:lnTo>
                  <a:pt x="2064064" y="2153572"/>
                </a:lnTo>
                <a:lnTo>
                  <a:pt x="2071016" y="2152497"/>
                </a:lnTo>
                <a:lnTo>
                  <a:pt x="2077968" y="2151690"/>
                </a:lnTo>
                <a:lnTo>
                  <a:pt x="2081596" y="2160024"/>
                </a:lnTo>
                <a:lnTo>
                  <a:pt x="2084618" y="2168358"/>
                </a:lnTo>
                <a:lnTo>
                  <a:pt x="2097012" y="2214326"/>
                </a:lnTo>
                <a:lnTo>
                  <a:pt x="2114846" y="2283682"/>
                </a:lnTo>
                <a:lnTo>
                  <a:pt x="2129657" y="2328844"/>
                </a:lnTo>
                <a:lnTo>
                  <a:pt x="2139330" y="2350888"/>
                </a:lnTo>
                <a:lnTo>
                  <a:pt x="2145980" y="2363792"/>
                </a:lnTo>
                <a:lnTo>
                  <a:pt x="2163815" y="2389868"/>
                </a:lnTo>
                <a:lnTo>
                  <a:pt x="2187090" y="2413524"/>
                </a:lnTo>
                <a:lnTo>
                  <a:pt x="2213690" y="2433686"/>
                </a:lnTo>
                <a:lnTo>
                  <a:pt x="2227896" y="2441750"/>
                </a:lnTo>
                <a:lnTo>
                  <a:pt x="2311324" y="2484762"/>
                </a:lnTo>
                <a:lnTo>
                  <a:pt x="2329185" y="2493176"/>
                </a:lnTo>
                <a:lnTo>
                  <a:pt x="2329524" y="2491988"/>
                </a:lnTo>
                <a:lnTo>
                  <a:pt x="2347043" y="2419351"/>
                </a:lnTo>
                <a:lnTo>
                  <a:pt x="2360937" y="2346445"/>
                </a:lnTo>
                <a:lnTo>
                  <a:pt x="2371508" y="2273001"/>
                </a:lnTo>
                <a:lnTo>
                  <a:pt x="2376643" y="2199018"/>
                </a:lnTo>
                <a:lnTo>
                  <a:pt x="2376643" y="2124767"/>
                </a:lnTo>
                <a:lnTo>
                  <a:pt x="2373925" y="2087104"/>
                </a:lnTo>
                <a:lnTo>
                  <a:pt x="2371206" y="2060470"/>
                </a:lnTo>
                <a:lnTo>
                  <a:pt x="2362750" y="2022268"/>
                </a:lnTo>
                <a:lnTo>
                  <a:pt x="2354896" y="1997788"/>
                </a:lnTo>
                <a:lnTo>
                  <a:pt x="2344627" y="1973844"/>
                </a:lnTo>
                <a:lnTo>
                  <a:pt x="2332243" y="1950707"/>
                </a:lnTo>
                <a:lnTo>
                  <a:pt x="2316536" y="1928648"/>
                </a:lnTo>
                <a:lnTo>
                  <a:pt x="2298112" y="1907395"/>
                </a:lnTo>
                <a:lnTo>
                  <a:pt x="2287540" y="1897440"/>
                </a:lnTo>
                <a:lnTo>
                  <a:pt x="2251597" y="1863543"/>
                </a:lnTo>
                <a:lnTo>
                  <a:pt x="2175481" y="1798977"/>
                </a:lnTo>
                <a:lnTo>
                  <a:pt x="2136517" y="1767770"/>
                </a:lnTo>
                <a:lnTo>
                  <a:pt x="2118394" y="1752973"/>
                </a:lnTo>
                <a:lnTo>
                  <a:pt x="2085170" y="1722036"/>
                </a:lnTo>
                <a:lnTo>
                  <a:pt x="2055871" y="1690021"/>
                </a:lnTo>
                <a:lnTo>
                  <a:pt x="2029895" y="1655855"/>
                </a:lnTo>
                <a:lnTo>
                  <a:pt x="2018115" y="1637831"/>
                </a:lnTo>
                <a:lnTo>
                  <a:pt x="1959821" y="1629222"/>
                </a:lnTo>
                <a:lnTo>
                  <a:pt x="1864978" y="1612542"/>
                </a:lnTo>
                <a:lnTo>
                  <a:pt x="1794601" y="1596669"/>
                </a:lnTo>
                <a:lnTo>
                  <a:pt x="1744160" y="1582411"/>
                </a:lnTo>
                <a:lnTo>
                  <a:pt x="1710331" y="1570036"/>
                </a:lnTo>
                <a:lnTo>
                  <a:pt x="1690094" y="1559006"/>
                </a:lnTo>
                <a:lnTo>
                  <a:pt x="1679221" y="1550398"/>
                </a:lnTo>
                <a:lnTo>
                  <a:pt x="1674388" y="1543671"/>
                </a:lnTo>
                <a:lnTo>
                  <a:pt x="1673179" y="1541789"/>
                </a:lnTo>
                <a:lnTo>
                  <a:pt x="1675294" y="1540711"/>
                </a:lnTo>
                <a:lnTo>
                  <a:pt x="1700666" y="1543133"/>
                </a:lnTo>
                <a:lnTo>
                  <a:pt x="1771042" y="1553087"/>
                </a:lnTo>
                <a:lnTo>
                  <a:pt x="1890954" y="1571650"/>
                </a:lnTo>
                <a:lnTo>
                  <a:pt x="1961633" y="1581872"/>
                </a:lnTo>
                <a:lnTo>
                  <a:pt x="1987307" y="1584294"/>
                </a:lnTo>
                <a:lnTo>
                  <a:pt x="1989119" y="1583487"/>
                </a:lnTo>
                <a:lnTo>
                  <a:pt x="1982776" y="1568960"/>
                </a:lnTo>
                <a:lnTo>
                  <a:pt x="1977037" y="1554163"/>
                </a:lnTo>
                <a:lnTo>
                  <a:pt x="1964955" y="1522150"/>
                </a:lnTo>
                <a:lnTo>
                  <a:pt x="1938376" y="1458928"/>
                </a:lnTo>
                <a:lnTo>
                  <a:pt x="1896089" y="1364500"/>
                </a:lnTo>
                <a:lnTo>
                  <a:pt x="1868301" y="1301548"/>
                </a:lnTo>
                <a:lnTo>
                  <a:pt x="1866489" y="1294822"/>
                </a:lnTo>
                <a:lnTo>
                  <a:pt x="1866489" y="1287827"/>
                </a:lnTo>
                <a:lnTo>
                  <a:pt x="1869509" y="1287020"/>
                </a:lnTo>
                <a:lnTo>
                  <a:pt x="1872228" y="1286482"/>
                </a:lnTo>
                <a:lnTo>
                  <a:pt x="1911191" y="1354815"/>
                </a:lnTo>
                <a:lnTo>
                  <a:pt x="1950457" y="1422879"/>
                </a:lnTo>
                <a:lnTo>
                  <a:pt x="1957102" y="1422072"/>
                </a:lnTo>
                <a:lnTo>
                  <a:pt x="1963748" y="1420995"/>
                </a:lnTo>
                <a:lnTo>
                  <a:pt x="1962237" y="1380642"/>
                </a:lnTo>
                <a:lnTo>
                  <a:pt x="1964050" y="1299664"/>
                </a:lnTo>
                <a:lnTo>
                  <a:pt x="1974017" y="1178603"/>
                </a:lnTo>
                <a:lnTo>
                  <a:pt x="1980964" y="1098165"/>
                </a:lnTo>
                <a:lnTo>
                  <a:pt x="1982776" y="1079601"/>
                </a:lnTo>
                <a:lnTo>
                  <a:pt x="1987609" y="1066150"/>
                </a:lnTo>
                <a:lnTo>
                  <a:pt x="1990629" y="1063191"/>
                </a:lnTo>
                <a:lnTo>
                  <a:pt x="1994254" y="1065612"/>
                </a:lnTo>
                <a:lnTo>
                  <a:pt x="1997274" y="1072338"/>
                </a:lnTo>
                <a:lnTo>
                  <a:pt x="2000597" y="1089017"/>
                </a:lnTo>
                <a:lnTo>
                  <a:pt x="2000899" y="1104352"/>
                </a:lnTo>
                <a:lnTo>
                  <a:pt x="1999087" y="1176181"/>
                </a:lnTo>
                <a:lnTo>
                  <a:pt x="1994556" y="1284060"/>
                </a:lnTo>
                <a:lnTo>
                  <a:pt x="1994556" y="1355891"/>
                </a:lnTo>
                <a:lnTo>
                  <a:pt x="1996972" y="1392210"/>
                </a:lnTo>
                <a:lnTo>
                  <a:pt x="1999389" y="1420457"/>
                </a:lnTo>
                <a:lnTo>
                  <a:pt x="2008752" y="1475069"/>
                </a:lnTo>
                <a:lnTo>
                  <a:pt x="2024157" y="1527529"/>
                </a:lnTo>
                <a:lnTo>
                  <a:pt x="2044696" y="1577299"/>
                </a:lnTo>
                <a:lnTo>
                  <a:pt x="2071879" y="1624917"/>
                </a:lnTo>
                <a:lnTo>
                  <a:pt x="2105105" y="1670382"/>
                </a:lnTo>
                <a:lnTo>
                  <a:pt x="2144975" y="1713158"/>
                </a:lnTo>
                <a:lnTo>
                  <a:pt x="2191490" y="1754050"/>
                </a:lnTo>
                <a:lnTo>
                  <a:pt x="2217768" y="1773150"/>
                </a:lnTo>
                <a:lnTo>
                  <a:pt x="2247066" y="1794403"/>
                </a:lnTo>
                <a:lnTo>
                  <a:pt x="2303549" y="1838524"/>
                </a:lnTo>
                <a:lnTo>
                  <a:pt x="2342815" y="1873766"/>
                </a:lnTo>
                <a:lnTo>
                  <a:pt x="2366978" y="1897979"/>
                </a:lnTo>
                <a:lnTo>
                  <a:pt x="2389330" y="1924343"/>
                </a:lnTo>
                <a:lnTo>
                  <a:pt x="2409265" y="1951514"/>
                </a:lnTo>
                <a:lnTo>
                  <a:pt x="2418628" y="1965773"/>
                </a:lnTo>
                <a:lnTo>
                  <a:pt x="2423461" y="1968733"/>
                </a:lnTo>
                <a:lnTo>
                  <a:pt x="2444604" y="1977611"/>
                </a:lnTo>
                <a:lnTo>
                  <a:pt x="2395974" y="1840138"/>
                </a:lnTo>
                <a:lnTo>
                  <a:pt x="2350969" y="1711813"/>
                </a:lnTo>
                <a:lnTo>
                  <a:pt x="2340096" y="1679799"/>
                </a:lnTo>
                <a:lnTo>
                  <a:pt x="2320765" y="1614963"/>
                </a:lnTo>
                <a:lnTo>
                  <a:pt x="2311099" y="1565731"/>
                </a:lnTo>
                <a:lnTo>
                  <a:pt x="2307173" y="1532641"/>
                </a:lnTo>
                <a:lnTo>
                  <a:pt x="2305964" y="1499282"/>
                </a:lnTo>
                <a:lnTo>
                  <a:pt x="2307777" y="1465653"/>
                </a:lnTo>
                <a:lnTo>
                  <a:pt x="2310495" y="1448705"/>
                </a:lnTo>
                <a:lnTo>
                  <a:pt x="2319255" y="1487983"/>
                </a:lnTo>
                <a:lnTo>
                  <a:pt x="2341908" y="1565193"/>
                </a:lnTo>
                <a:lnTo>
                  <a:pt x="2370904" y="1640251"/>
                </a:lnTo>
                <a:lnTo>
                  <a:pt x="2404130" y="1714234"/>
                </a:lnTo>
                <a:lnTo>
                  <a:pt x="2422554" y="1750822"/>
                </a:lnTo>
                <a:lnTo>
                  <a:pt x="2430106" y="1749745"/>
                </a:lnTo>
                <a:lnTo>
                  <a:pt x="2437958" y="1748939"/>
                </a:lnTo>
                <a:lnTo>
                  <a:pt x="2442489" y="1724995"/>
                </a:lnTo>
                <a:lnTo>
                  <a:pt x="2454270" y="1677915"/>
                </a:lnTo>
                <a:lnTo>
                  <a:pt x="2476319" y="1607699"/>
                </a:lnTo>
                <a:lnTo>
                  <a:pt x="2508335" y="1514079"/>
                </a:lnTo>
                <a:lnTo>
                  <a:pt x="2530083" y="1444132"/>
                </a:lnTo>
                <a:lnTo>
                  <a:pt x="2542466" y="1396515"/>
                </a:lnTo>
                <a:lnTo>
                  <a:pt x="2546997" y="1372840"/>
                </a:lnTo>
                <a:lnTo>
                  <a:pt x="2552434" y="1373647"/>
                </a:lnTo>
                <a:lnTo>
                  <a:pt x="2569046" y="1379296"/>
                </a:lnTo>
                <a:lnTo>
                  <a:pt x="2576900" y="1383332"/>
                </a:lnTo>
                <a:close/>
                <a:moveTo>
                  <a:pt x="2911566" y="591050"/>
                </a:moveTo>
                <a:lnTo>
                  <a:pt x="2910650" y="590802"/>
                </a:lnTo>
                <a:lnTo>
                  <a:pt x="2910660" y="590780"/>
                </a:lnTo>
                <a:close/>
                <a:moveTo>
                  <a:pt x="3170787" y="2837686"/>
                </a:moveTo>
                <a:lnTo>
                  <a:pt x="3168071" y="2852473"/>
                </a:lnTo>
                <a:lnTo>
                  <a:pt x="3159922" y="2880166"/>
                </a:lnTo>
                <a:lnTo>
                  <a:pt x="3149357" y="2906245"/>
                </a:lnTo>
                <a:lnTo>
                  <a:pt x="3136680" y="2931519"/>
                </a:lnTo>
                <a:lnTo>
                  <a:pt x="3114948" y="2966740"/>
                </a:lnTo>
                <a:lnTo>
                  <a:pt x="3079633" y="3010296"/>
                </a:lnTo>
                <a:lnTo>
                  <a:pt x="3040697" y="3050625"/>
                </a:lnTo>
                <a:lnTo>
                  <a:pt x="2998742" y="3089073"/>
                </a:lnTo>
                <a:lnTo>
                  <a:pt x="2956183" y="3126176"/>
                </a:lnTo>
                <a:lnTo>
                  <a:pt x="2934521" y="3146040"/>
                </a:lnTo>
                <a:lnTo>
                  <a:pt x="2921792" y="3138142"/>
                </a:lnTo>
                <a:lnTo>
                  <a:pt x="2892936" y="3127903"/>
                </a:lnTo>
                <a:lnTo>
                  <a:pt x="2903965" y="3123756"/>
                </a:lnTo>
                <a:lnTo>
                  <a:pt x="2923886" y="3111926"/>
                </a:lnTo>
                <a:lnTo>
                  <a:pt x="2934149" y="3102516"/>
                </a:lnTo>
                <a:lnTo>
                  <a:pt x="2938374" y="3097408"/>
                </a:lnTo>
                <a:lnTo>
                  <a:pt x="2986668" y="3033956"/>
                </a:lnTo>
                <a:lnTo>
                  <a:pt x="3030736" y="2977495"/>
                </a:lnTo>
                <a:lnTo>
                  <a:pt x="3030736" y="2980453"/>
                </a:lnTo>
                <a:lnTo>
                  <a:pt x="3031038" y="3003574"/>
                </a:lnTo>
                <a:lnTo>
                  <a:pt x="3055486" y="2985829"/>
                </a:lnTo>
                <a:lnTo>
                  <a:pt x="3087783" y="2957599"/>
                </a:lnTo>
                <a:lnTo>
                  <a:pt x="3107101" y="2937971"/>
                </a:lnTo>
                <a:lnTo>
                  <a:pt x="3124607" y="2917538"/>
                </a:lnTo>
                <a:lnTo>
                  <a:pt x="3140000" y="2896029"/>
                </a:lnTo>
                <a:lnTo>
                  <a:pt x="3153583" y="2873714"/>
                </a:lnTo>
                <a:lnTo>
                  <a:pt x="3165656" y="2849785"/>
                </a:lnTo>
                <a:close/>
                <a:moveTo>
                  <a:pt x="3732652" y="6745151"/>
                </a:moveTo>
                <a:lnTo>
                  <a:pt x="3732615" y="6745184"/>
                </a:lnTo>
                <a:lnTo>
                  <a:pt x="3732453" y="6745058"/>
                </a:lnTo>
                <a:close/>
                <a:moveTo>
                  <a:pt x="3937750" y="2945501"/>
                </a:moveTo>
                <a:lnTo>
                  <a:pt x="3924771" y="2952759"/>
                </a:lnTo>
                <a:lnTo>
                  <a:pt x="3900927" y="2968085"/>
                </a:lnTo>
                <a:lnTo>
                  <a:pt x="3878288" y="2985023"/>
                </a:lnTo>
                <a:lnTo>
                  <a:pt x="3857462" y="3003306"/>
                </a:lnTo>
                <a:lnTo>
                  <a:pt x="3837842" y="3022664"/>
                </a:lnTo>
                <a:lnTo>
                  <a:pt x="3820336" y="3043636"/>
                </a:lnTo>
                <a:lnTo>
                  <a:pt x="3804339" y="3066220"/>
                </a:lnTo>
                <a:lnTo>
                  <a:pt x="3789851" y="3090417"/>
                </a:lnTo>
                <a:lnTo>
                  <a:pt x="3783211" y="3103323"/>
                </a:lnTo>
                <a:lnTo>
                  <a:pt x="3802528" y="3104667"/>
                </a:lnTo>
                <a:lnTo>
                  <a:pt x="3817016" y="3105473"/>
                </a:lnTo>
                <a:lnTo>
                  <a:pt x="3819431" y="3108700"/>
                </a:lnTo>
                <a:lnTo>
                  <a:pt x="3820638" y="3114884"/>
                </a:lnTo>
                <a:lnTo>
                  <a:pt x="3819129" y="3117842"/>
                </a:lnTo>
                <a:lnTo>
                  <a:pt x="3817016" y="3118648"/>
                </a:lnTo>
                <a:lnTo>
                  <a:pt x="3811281" y="3119993"/>
                </a:lnTo>
                <a:lnTo>
                  <a:pt x="3797699" y="3120261"/>
                </a:lnTo>
                <a:lnTo>
                  <a:pt x="3782607" y="3120261"/>
                </a:lnTo>
                <a:lnTo>
                  <a:pt x="3766006" y="3124563"/>
                </a:lnTo>
                <a:lnTo>
                  <a:pt x="3757253" y="3129403"/>
                </a:lnTo>
                <a:lnTo>
                  <a:pt x="3747594" y="3135318"/>
                </a:lnTo>
                <a:lnTo>
                  <a:pt x="3727069" y="3144997"/>
                </a:lnTo>
                <a:lnTo>
                  <a:pt x="3695980" y="3156826"/>
                </a:lnTo>
                <a:lnTo>
                  <a:pt x="3651611" y="3167043"/>
                </a:lnTo>
                <a:lnTo>
                  <a:pt x="3605732" y="3174033"/>
                </a:lnTo>
                <a:lnTo>
                  <a:pt x="3582491" y="3176723"/>
                </a:lnTo>
                <a:lnTo>
                  <a:pt x="3552005" y="3181024"/>
                </a:lnTo>
                <a:lnTo>
                  <a:pt x="3490733" y="3190971"/>
                </a:lnTo>
                <a:lnTo>
                  <a:pt x="3430366" y="3203608"/>
                </a:lnTo>
                <a:lnTo>
                  <a:pt x="3371206" y="3218933"/>
                </a:lnTo>
                <a:lnTo>
                  <a:pt x="3342532" y="3227537"/>
                </a:lnTo>
                <a:lnTo>
                  <a:pt x="3316876" y="3235602"/>
                </a:lnTo>
                <a:lnTo>
                  <a:pt x="3265262" y="3248239"/>
                </a:lnTo>
                <a:lnTo>
                  <a:pt x="3226325" y="3253348"/>
                </a:lnTo>
                <a:lnTo>
                  <a:pt x="3218979" y="3253571"/>
                </a:lnTo>
                <a:lnTo>
                  <a:pt x="3209884" y="3245727"/>
                </a:lnTo>
                <a:lnTo>
                  <a:pt x="3182632" y="3226701"/>
                </a:lnTo>
                <a:lnTo>
                  <a:pt x="3169020" y="3218825"/>
                </a:lnTo>
                <a:lnTo>
                  <a:pt x="3187690" y="3220816"/>
                </a:lnTo>
                <a:lnTo>
                  <a:pt x="3204593" y="3221623"/>
                </a:lnTo>
                <a:lnTo>
                  <a:pt x="3239304" y="3219740"/>
                </a:lnTo>
                <a:lnTo>
                  <a:pt x="3273713" y="3212750"/>
                </a:lnTo>
                <a:lnTo>
                  <a:pt x="3305406" y="3201457"/>
                </a:lnTo>
                <a:lnTo>
                  <a:pt x="3319592" y="3194466"/>
                </a:lnTo>
                <a:lnTo>
                  <a:pt x="3341928" y="3181561"/>
                </a:lnTo>
                <a:lnTo>
                  <a:pt x="3384185" y="3153331"/>
                </a:lnTo>
                <a:lnTo>
                  <a:pt x="3444552" y="3107087"/>
                </a:lnTo>
                <a:lnTo>
                  <a:pt x="3485299" y="3076705"/>
                </a:lnTo>
                <a:lnTo>
                  <a:pt x="3493449" y="3071597"/>
                </a:lnTo>
                <a:lnTo>
                  <a:pt x="3501900" y="3067026"/>
                </a:lnTo>
                <a:lnTo>
                  <a:pt x="3507031" y="3071597"/>
                </a:lnTo>
                <a:lnTo>
                  <a:pt x="3511559" y="3076167"/>
                </a:lnTo>
                <a:lnTo>
                  <a:pt x="3459644" y="3121605"/>
                </a:lnTo>
                <a:lnTo>
                  <a:pt x="3412256" y="3163817"/>
                </a:lnTo>
                <a:lnTo>
                  <a:pt x="3508843" y="3154944"/>
                </a:lnTo>
                <a:lnTo>
                  <a:pt x="3610863" y="3146340"/>
                </a:lnTo>
                <a:lnTo>
                  <a:pt x="3626558" y="3144997"/>
                </a:lnTo>
                <a:lnTo>
                  <a:pt x="3656440" y="3140425"/>
                </a:lnTo>
                <a:lnTo>
                  <a:pt x="3684208" y="3132897"/>
                </a:lnTo>
                <a:lnTo>
                  <a:pt x="3709563" y="3122681"/>
                </a:lnTo>
                <a:lnTo>
                  <a:pt x="3733106" y="3110314"/>
                </a:lnTo>
                <a:lnTo>
                  <a:pt x="3754537" y="3094988"/>
                </a:lnTo>
                <a:lnTo>
                  <a:pt x="3774458" y="3077243"/>
                </a:lnTo>
                <a:lnTo>
                  <a:pt x="3791964" y="3056541"/>
                </a:lnTo>
                <a:lnTo>
                  <a:pt x="3800415" y="3045517"/>
                </a:lnTo>
                <a:lnTo>
                  <a:pt x="3812791" y="3028311"/>
                </a:lnTo>
                <a:lnTo>
                  <a:pt x="3840861" y="2997659"/>
                </a:lnTo>
                <a:lnTo>
                  <a:pt x="3865612" y="2977764"/>
                </a:lnTo>
                <a:lnTo>
                  <a:pt x="3884024" y="2966203"/>
                </a:lnTo>
                <a:lnTo>
                  <a:pt x="3903945" y="2956523"/>
                </a:lnTo>
                <a:lnTo>
                  <a:pt x="3925375" y="2948458"/>
                </a:lnTo>
                <a:close/>
                <a:moveTo>
                  <a:pt x="4117415" y="6211312"/>
                </a:moveTo>
                <a:lnTo>
                  <a:pt x="4098085" y="6207815"/>
                </a:lnTo>
                <a:lnTo>
                  <a:pt x="4060937" y="6197323"/>
                </a:lnTo>
                <a:lnTo>
                  <a:pt x="4021674" y="6180643"/>
                </a:lnTo>
                <a:lnTo>
                  <a:pt x="3977881" y="6154547"/>
                </a:lnTo>
                <a:lnTo>
                  <a:pt x="3927142" y="6116346"/>
                </a:lnTo>
                <a:lnTo>
                  <a:pt x="3865228" y="6062810"/>
                </a:lnTo>
                <a:lnTo>
                  <a:pt x="3790025" y="5991249"/>
                </a:lnTo>
                <a:lnTo>
                  <a:pt x="3698514" y="5899242"/>
                </a:lnTo>
                <a:lnTo>
                  <a:pt x="3644452" y="5843553"/>
                </a:lnTo>
                <a:lnTo>
                  <a:pt x="3630257" y="5827411"/>
                </a:lnTo>
                <a:lnTo>
                  <a:pt x="3599753" y="5798894"/>
                </a:lnTo>
                <a:lnTo>
                  <a:pt x="3566531" y="5773875"/>
                </a:lnTo>
                <a:lnTo>
                  <a:pt x="3530590" y="5752891"/>
                </a:lnTo>
                <a:lnTo>
                  <a:pt x="3492234" y="5736211"/>
                </a:lnTo>
                <a:lnTo>
                  <a:pt x="3450555" y="5723298"/>
                </a:lnTo>
                <a:lnTo>
                  <a:pt x="3406158" y="5714958"/>
                </a:lnTo>
                <a:lnTo>
                  <a:pt x="3358137" y="5710385"/>
                </a:lnTo>
                <a:lnTo>
                  <a:pt x="3333070" y="5710117"/>
                </a:lnTo>
                <a:lnTo>
                  <a:pt x="3170281" y="5707157"/>
                </a:lnTo>
                <a:lnTo>
                  <a:pt x="3016251" y="5703122"/>
                </a:lnTo>
                <a:lnTo>
                  <a:pt x="3095984" y="5761500"/>
                </a:lnTo>
                <a:lnTo>
                  <a:pt x="3183268" y="5825529"/>
                </a:lnTo>
                <a:lnTo>
                  <a:pt x="3176322" y="5832254"/>
                </a:lnTo>
                <a:lnTo>
                  <a:pt x="3169073" y="5839786"/>
                </a:lnTo>
                <a:lnTo>
                  <a:pt x="3155180" y="5833869"/>
                </a:lnTo>
                <a:lnTo>
                  <a:pt x="3141891" y="5826873"/>
                </a:lnTo>
                <a:lnTo>
                  <a:pt x="3073937" y="5784637"/>
                </a:lnTo>
                <a:lnTo>
                  <a:pt x="2972760" y="5721147"/>
                </a:lnTo>
                <a:lnTo>
                  <a:pt x="2920510" y="5691823"/>
                </a:lnTo>
                <a:lnTo>
                  <a:pt x="2909612" y="5686439"/>
                </a:lnTo>
                <a:lnTo>
                  <a:pt x="2910806" y="5684234"/>
                </a:lnTo>
                <a:lnTo>
                  <a:pt x="2916768" y="5669467"/>
                </a:lnTo>
                <a:lnTo>
                  <a:pt x="2919324" y="5661799"/>
                </a:lnTo>
                <a:lnTo>
                  <a:pt x="2935790" y="5665775"/>
                </a:lnTo>
                <a:lnTo>
                  <a:pt x="2969009" y="5671171"/>
                </a:lnTo>
                <a:lnTo>
                  <a:pt x="3002226" y="5673158"/>
                </a:lnTo>
                <a:lnTo>
                  <a:pt x="3034876" y="5671171"/>
                </a:lnTo>
                <a:lnTo>
                  <a:pt x="3067243" y="5666627"/>
                </a:lnTo>
                <a:lnTo>
                  <a:pt x="3098473" y="5658392"/>
                </a:lnTo>
                <a:lnTo>
                  <a:pt x="3118122" y="5651596"/>
                </a:lnTo>
                <a:lnTo>
                  <a:pt x="3137361" y="5654159"/>
                </a:lnTo>
                <a:lnTo>
                  <a:pt x="3235215" y="5663575"/>
                </a:lnTo>
                <a:lnTo>
                  <a:pt x="3284143" y="5667072"/>
                </a:lnTo>
                <a:lnTo>
                  <a:pt x="3321895" y="5669225"/>
                </a:lnTo>
                <a:lnTo>
                  <a:pt x="3395588" y="5675413"/>
                </a:lnTo>
                <a:lnTo>
                  <a:pt x="3449045" y="5683214"/>
                </a:lnTo>
                <a:lnTo>
                  <a:pt x="3483475" y="5690747"/>
                </a:lnTo>
                <a:lnTo>
                  <a:pt x="3517603" y="5700970"/>
                </a:lnTo>
                <a:lnTo>
                  <a:pt x="3550524" y="5713883"/>
                </a:lnTo>
                <a:lnTo>
                  <a:pt x="3566531" y="5721954"/>
                </a:lnTo>
                <a:lnTo>
                  <a:pt x="3611833" y="5721416"/>
                </a:lnTo>
                <a:lnTo>
                  <a:pt x="3694285" y="5724374"/>
                </a:lnTo>
                <a:lnTo>
                  <a:pt x="3765864" y="5730293"/>
                </a:lnTo>
                <a:lnTo>
                  <a:pt x="3827476" y="5738633"/>
                </a:lnTo>
                <a:lnTo>
                  <a:pt x="3902074" y="5752891"/>
                </a:lnTo>
                <a:lnTo>
                  <a:pt x="3963385" y="5769302"/>
                </a:lnTo>
                <a:lnTo>
                  <a:pt x="3976674" y="5773068"/>
                </a:lnTo>
                <a:lnTo>
                  <a:pt x="3979392" y="5774144"/>
                </a:lnTo>
                <a:lnTo>
                  <a:pt x="3982110" y="5778718"/>
                </a:lnTo>
                <a:lnTo>
                  <a:pt x="3981204" y="5787865"/>
                </a:lnTo>
                <a:lnTo>
                  <a:pt x="3977881" y="5792976"/>
                </a:lnTo>
                <a:lnTo>
                  <a:pt x="3962177" y="5792169"/>
                </a:lnTo>
                <a:lnTo>
                  <a:pt x="3862510" y="5782215"/>
                </a:lnTo>
                <a:lnTo>
                  <a:pt x="3731735" y="5768495"/>
                </a:lnTo>
                <a:lnTo>
                  <a:pt x="3628747" y="5758810"/>
                </a:lnTo>
                <a:lnTo>
                  <a:pt x="3610626" y="5758541"/>
                </a:lnTo>
                <a:lnTo>
                  <a:pt x="3616968" y="5768226"/>
                </a:lnTo>
                <a:lnTo>
                  <a:pt x="3634787" y="5791632"/>
                </a:lnTo>
                <a:lnTo>
                  <a:pt x="3670123" y="5832792"/>
                </a:lnTo>
                <a:lnTo>
                  <a:pt x="3732641" y="5897628"/>
                </a:lnTo>
                <a:lnTo>
                  <a:pt x="3806033" y="5968112"/>
                </a:lnTo>
                <a:lnTo>
                  <a:pt x="3884255" y="6038866"/>
                </a:lnTo>
                <a:lnTo>
                  <a:pt x="3962781" y="6104240"/>
                </a:lnTo>
                <a:lnTo>
                  <a:pt x="4034359" y="6159928"/>
                </a:lnTo>
                <a:lnTo>
                  <a:pt x="4080568" y="6191136"/>
                </a:lnTo>
                <a:lnTo>
                  <a:pt x="4106240" y="6206201"/>
                </a:lnTo>
                <a:close/>
                <a:moveTo>
                  <a:pt x="4675439" y="7701983"/>
                </a:moveTo>
                <a:lnTo>
                  <a:pt x="4669398" y="7705751"/>
                </a:lnTo>
                <a:lnTo>
                  <a:pt x="4648557" y="7712207"/>
                </a:lnTo>
                <a:lnTo>
                  <a:pt x="4602041" y="7720816"/>
                </a:lnTo>
                <a:lnTo>
                  <a:pt x="4573045" y="7723776"/>
                </a:lnTo>
                <a:lnTo>
                  <a:pt x="4566702" y="7724851"/>
                </a:lnTo>
                <a:lnTo>
                  <a:pt x="4554318" y="7730231"/>
                </a:lnTo>
                <a:lnTo>
                  <a:pt x="4541934" y="7736420"/>
                </a:lnTo>
                <a:lnTo>
                  <a:pt x="4531061" y="7739917"/>
                </a:lnTo>
                <a:lnTo>
                  <a:pt x="4526228" y="7739111"/>
                </a:lnTo>
                <a:lnTo>
                  <a:pt x="4473069" y="7725120"/>
                </a:lnTo>
                <a:lnTo>
                  <a:pt x="4393630" y="7702523"/>
                </a:lnTo>
                <a:lnTo>
                  <a:pt x="4341678" y="7685842"/>
                </a:lnTo>
                <a:lnTo>
                  <a:pt x="4315703" y="7676427"/>
                </a:lnTo>
                <a:lnTo>
                  <a:pt x="4283384" y="7664321"/>
                </a:lnTo>
                <a:lnTo>
                  <a:pt x="4219955" y="7637418"/>
                </a:lnTo>
                <a:lnTo>
                  <a:pt x="4155921" y="7609709"/>
                </a:lnTo>
                <a:lnTo>
                  <a:pt x="4091283" y="7584957"/>
                </a:lnTo>
                <a:lnTo>
                  <a:pt x="4058058" y="7575004"/>
                </a:lnTo>
                <a:lnTo>
                  <a:pt x="4039633" y="7569355"/>
                </a:lnTo>
                <a:lnTo>
                  <a:pt x="4003992" y="7557517"/>
                </a:lnTo>
                <a:lnTo>
                  <a:pt x="3970465" y="7543797"/>
                </a:lnTo>
                <a:lnTo>
                  <a:pt x="3938750" y="7529000"/>
                </a:lnTo>
                <a:lnTo>
                  <a:pt x="3908545" y="7512052"/>
                </a:lnTo>
                <a:lnTo>
                  <a:pt x="3880154" y="7493489"/>
                </a:lnTo>
                <a:lnTo>
                  <a:pt x="3852969" y="7472505"/>
                </a:lnTo>
                <a:lnTo>
                  <a:pt x="3827597" y="7449369"/>
                </a:lnTo>
                <a:lnTo>
                  <a:pt x="3815516" y="7436993"/>
                </a:lnTo>
                <a:lnTo>
                  <a:pt x="3797695" y="7418431"/>
                </a:lnTo>
                <a:lnTo>
                  <a:pt x="3760241" y="7383457"/>
                </a:lnTo>
                <a:lnTo>
                  <a:pt x="3719767" y="7351174"/>
                </a:lnTo>
                <a:lnTo>
                  <a:pt x="3676877" y="7320775"/>
                </a:lnTo>
                <a:lnTo>
                  <a:pt x="3632174" y="7292527"/>
                </a:lnTo>
                <a:lnTo>
                  <a:pt x="3585659" y="7265893"/>
                </a:lnTo>
                <a:lnTo>
                  <a:pt x="3513168" y="7228767"/>
                </a:lnTo>
                <a:lnTo>
                  <a:pt x="3462726" y="7205631"/>
                </a:lnTo>
                <a:lnTo>
                  <a:pt x="3447926" y="7199443"/>
                </a:lnTo>
                <a:lnTo>
                  <a:pt x="3415003" y="7189758"/>
                </a:lnTo>
                <a:lnTo>
                  <a:pt x="3360937" y="7177383"/>
                </a:lnTo>
                <a:lnTo>
                  <a:pt x="3321369" y="7167968"/>
                </a:lnTo>
                <a:lnTo>
                  <a:pt x="3326202" y="7237377"/>
                </a:lnTo>
                <a:lnTo>
                  <a:pt x="3330430" y="7294679"/>
                </a:lnTo>
                <a:lnTo>
                  <a:pt x="3333451" y="7324003"/>
                </a:lnTo>
                <a:lnTo>
                  <a:pt x="3345231" y="7379422"/>
                </a:lnTo>
                <a:lnTo>
                  <a:pt x="3358823" y="7418699"/>
                </a:lnTo>
                <a:lnTo>
                  <a:pt x="3369998" y="7444257"/>
                </a:lnTo>
                <a:lnTo>
                  <a:pt x="3382685" y="7468469"/>
                </a:lnTo>
                <a:lnTo>
                  <a:pt x="3397182" y="7492412"/>
                </a:lnTo>
                <a:lnTo>
                  <a:pt x="3414097" y="7515281"/>
                </a:lnTo>
                <a:lnTo>
                  <a:pt x="3432219" y="7537340"/>
                </a:lnTo>
                <a:lnTo>
                  <a:pt x="3452456" y="7558325"/>
                </a:lnTo>
                <a:lnTo>
                  <a:pt x="3474808" y="7578501"/>
                </a:lnTo>
                <a:lnTo>
                  <a:pt x="3498670" y="7597871"/>
                </a:lnTo>
                <a:lnTo>
                  <a:pt x="3524948" y="7616434"/>
                </a:lnTo>
                <a:lnTo>
                  <a:pt x="3567234" y="7642261"/>
                </a:lnTo>
                <a:lnTo>
                  <a:pt x="3598647" y="7658402"/>
                </a:lnTo>
                <a:lnTo>
                  <a:pt x="3622509" y="7670509"/>
                </a:lnTo>
                <a:lnTo>
                  <a:pt x="3667816" y="7698487"/>
                </a:lnTo>
                <a:lnTo>
                  <a:pt x="3688053" y="7713821"/>
                </a:lnTo>
                <a:lnTo>
                  <a:pt x="3711310" y="7731846"/>
                </a:lnTo>
                <a:lnTo>
                  <a:pt x="3759335" y="7764937"/>
                </a:lnTo>
                <a:lnTo>
                  <a:pt x="3809173" y="7794260"/>
                </a:lnTo>
                <a:lnTo>
                  <a:pt x="3861728" y="7820087"/>
                </a:lnTo>
                <a:lnTo>
                  <a:pt x="3916097" y="7841339"/>
                </a:lnTo>
                <a:lnTo>
                  <a:pt x="3973485" y="7858827"/>
                </a:lnTo>
                <a:lnTo>
                  <a:pt x="4033592" y="7871471"/>
                </a:lnTo>
                <a:lnTo>
                  <a:pt x="4096116" y="7879273"/>
                </a:lnTo>
                <a:lnTo>
                  <a:pt x="4129039" y="7881425"/>
                </a:lnTo>
                <a:lnTo>
                  <a:pt x="4081920" y="7883577"/>
                </a:lnTo>
                <a:lnTo>
                  <a:pt x="4037821" y="7885191"/>
                </a:lnTo>
                <a:lnTo>
                  <a:pt x="4061381" y="7899449"/>
                </a:lnTo>
                <a:lnTo>
                  <a:pt x="4107594" y="7928235"/>
                </a:lnTo>
                <a:lnTo>
                  <a:pt x="4129039" y="7943570"/>
                </a:lnTo>
                <a:lnTo>
                  <a:pt x="4156525" y="7964015"/>
                </a:lnTo>
                <a:lnTo>
                  <a:pt x="4208477" y="8007059"/>
                </a:lnTo>
                <a:lnTo>
                  <a:pt x="4234453" y="8028581"/>
                </a:lnTo>
                <a:lnTo>
                  <a:pt x="4246534" y="8038267"/>
                </a:lnTo>
                <a:lnTo>
                  <a:pt x="4271906" y="8054677"/>
                </a:lnTo>
                <a:lnTo>
                  <a:pt x="4298486" y="8068129"/>
                </a:lnTo>
                <a:lnTo>
                  <a:pt x="4325973" y="8078082"/>
                </a:lnTo>
                <a:lnTo>
                  <a:pt x="4355271" y="8085077"/>
                </a:lnTo>
                <a:lnTo>
                  <a:pt x="4385475" y="8088843"/>
                </a:lnTo>
                <a:lnTo>
                  <a:pt x="4416888" y="8089920"/>
                </a:lnTo>
                <a:lnTo>
                  <a:pt x="4449207" y="8088305"/>
                </a:lnTo>
                <a:lnTo>
                  <a:pt x="4466121" y="8086154"/>
                </a:lnTo>
                <a:lnTo>
                  <a:pt x="4528343" y="8079159"/>
                </a:lnTo>
                <a:lnTo>
                  <a:pt x="4591470" y="8073240"/>
                </a:lnTo>
                <a:lnTo>
                  <a:pt x="4578784" y="8078082"/>
                </a:lnTo>
                <a:lnTo>
                  <a:pt x="4553413" y="8085077"/>
                </a:lnTo>
                <a:lnTo>
                  <a:pt x="4514147" y="8092341"/>
                </a:lnTo>
                <a:lnTo>
                  <a:pt x="4488473" y="8097721"/>
                </a:lnTo>
                <a:lnTo>
                  <a:pt x="4464007" y="8102833"/>
                </a:lnTo>
                <a:lnTo>
                  <a:pt x="4417190" y="8108213"/>
                </a:lnTo>
                <a:lnTo>
                  <a:pt x="4372487" y="8107407"/>
                </a:lnTo>
                <a:lnTo>
                  <a:pt x="4329899" y="8101487"/>
                </a:lnTo>
                <a:lnTo>
                  <a:pt x="4290029" y="8089920"/>
                </a:lnTo>
                <a:lnTo>
                  <a:pt x="4251971" y="8074047"/>
                </a:lnTo>
                <a:lnTo>
                  <a:pt x="4215424" y="8053063"/>
                </a:lnTo>
                <a:lnTo>
                  <a:pt x="4180990" y="8027775"/>
                </a:lnTo>
                <a:lnTo>
                  <a:pt x="4164680" y="8013517"/>
                </a:lnTo>
                <a:lnTo>
                  <a:pt x="4151390" y="8002218"/>
                </a:lnTo>
                <a:lnTo>
                  <a:pt x="4123904" y="7980157"/>
                </a:lnTo>
                <a:lnTo>
                  <a:pt x="4094907" y="7959980"/>
                </a:lnTo>
                <a:lnTo>
                  <a:pt x="4064703" y="7940610"/>
                </a:lnTo>
                <a:lnTo>
                  <a:pt x="4017584" y="7914515"/>
                </a:lnTo>
                <a:lnTo>
                  <a:pt x="3950228" y="7884115"/>
                </a:lnTo>
                <a:lnTo>
                  <a:pt x="3914587" y="7870933"/>
                </a:lnTo>
                <a:lnTo>
                  <a:pt x="3876529" y="7856674"/>
                </a:lnTo>
                <a:lnTo>
                  <a:pt x="3802225" y="7825737"/>
                </a:lnTo>
                <a:lnTo>
                  <a:pt x="3749972" y="7798564"/>
                </a:lnTo>
                <a:lnTo>
                  <a:pt x="3716747" y="7778119"/>
                </a:lnTo>
                <a:lnTo>
                  <a:pt x="3685334" y="7755789"/>
                </a:lnTo>
                <a:lnTo>
                  <a:pt x="3656338" y="7731039"/>
                </a:lnTo>
                <a:lnTo>
                  <a:pt x="3642746" y="7717857"/>
                </a:lnTo>
                <a:lnTo>
                  <a:pt x="3635496" y="7711401"/>
                </a:lnTo>
                <a:lnTo>
                  <a:pt x="3615259" y="7701177"/>
                </a:lnTo>
                <a:lnTo>
                  <a:pt x="3605594" y="7696066"/>
                </a:lnTo>
                <a:lnTo>
                  <a:pt x="3600762" y="7699563"/>
                </a:lnTo>
                <a:lnTo>
                  <a:pt x="3595929" y="7702791"/>
                </a:lnTo>
                <a:lnTo>
                  <a:pt x="3617978" y="7722161"/>
                </a:lnTo>
                <a:lnTo>
                  <a:pt x="3657546" y="7762515"/>
                </a:lnTo>
                <a:lnTo>
                  <a:pt x="3691677" y="7804753"/>
                </a:lnTo>
                <a:lnTo>
                  <a:pt x="3720975" y="7849142"/>
                </a:lnTo>
                <a:lnTo>
                  <a:pt x="3746649" y="7894607"/>
                </a:lnTo>
                <a:lnTo>
                  <a:pt x="3768699" y="7941687"/>
                </a:lnTo>
                <a:lnTo>
                  <a:pt x="3798903" y="8013247"/>
                </a:lnTo>
                <a:lnTo>
                  <a:pt x="3817328" y="8061672"/>
                </a:lnTo>
                <a:lnTo>
                  <a:pt x="3828806" y="8090995"/>
                </a:lnTo>
                <a:lnTo>
                  <a:pt x="3840887" y="8120319"/>
                </a:lnTo>
                <a:lnTo>
                  <a:pt x="3853271" y="8149643"/>
                </a:lnTo>
                <a:lnTo>
                  <a:pt x="3883476" y="8203717"/>
                </a:lnTo>
                <a:lnTo>
                  <a:pt x="3910056" y="8241381"/>
                </a:lnTo>
                <a:lnTo>
                  <a:pt x="3929689" y="8265325"/>
                </a:lnTo>
                <a:lnTo>
                  <a:pt x="3950832" y="8287923"/>
                </a:lnTo>
                <a:lnTo>
                  <a:pt x="3973183" y="8309176"/>
                </a:lnTo>
                <a:lnTo>
                  <a:pt x="3997347" y="8329891"/>
                </a:lnTo>
                <a:lnTo>
                  <a:pt x="4023021" y="8348991"/>
                </a:lnTo>
                <a:lnTo>
                  <a:pt x="4050205" y="8367285"/>
                </a:lnTo>
                <a:lnTo>
                  <a:pt x="4078899" y="8383965"/>
                </a:lnTo>
                <a:lnTo>
                  <a:pt x="4125112" y="8407370"/>
                </a:lnTo>
                <a:lnTo>
                  <a:pt x="4192166" y="8434004"/>
                </a:lnTo>
                <a:lnTo>
                  <a:pt x="4228411" y="8445573"/>
                </a:lnTo>
                <a:lnTo>
                  <a:pt x="4265261" y="8456871"/>
                </a:lnTo>
                <a:lnTo>
                  <a:pt x="4337752" y="8481083"/>
                </a:lnTo>
                <a:lnTo>
                  <a:pt x="4409034" y="8507986"/>
                </a:lnTo>
                <a:lnTo>
                  <a:pt x="4478505" y="8537041"/>
                </a:lnTo>
                <a:lnTo>
                  <a:pt x="4512636" y="8552375"/>
                </a:lnTo>
                <a:lnTo>
                  <a:pt x="4528645" y="8559907"/>
                </a:lnTo>
                <a:lnTo>
                  <a:pt x="4534988" y="8565019"/>
                </a:lnTo>
                <a:lnTo>
                  <a:pt x="4530759" y="8565019"/>
                </a:lnTo>
                <a:lnTo>
                  <a:pt x="4495419" y="8556949"/>
                </a:lnTo>
                <a:lnTo>
                  <a:pt x="4367352" y="8520899"/>
                </a:lnTo>
                <a:lnTo>
                  <a:pt x="4191260" y="8473551"/>
                </a:lnTo>
                <a:lnTo>
                  <a:pt x="4096418" y="8450952"/>
                </a:lnTo>
                <a:lnTo>
                  <a:pt x="4101250" y="8467363"/>
                </a:lnTo>
                <a:lnTo>
                  <a:pt x="4113635" y="8498570"/>
                </a:lnTo>
                <a:lnTo>
                  <a:pt x="4129039" y="8528702"/>
                </a:lnTo>
                <a:lnTo>
                  <a:pt x="4147162" y="8557488"/>
                </a:lnTo>
                <a:lnTo>
                  <a:pt x="4197905" y="8626358"/>
                </a:lnTo>
                <a:lnTo>
                  <a:pt x="4241400" y="8680431"/>
                </a:lnTo>
                <a:lnTo>
                  <a:pt x="4228714" y="8675320"/>
                </a:lnTo>
                <a:lnTo>
                  <a:pt x="4204852" y="8669403"/>
                </a:lnTo>
                <a:lnTo>
                  <a:pt x="4192166" y="8664290"/>
                </a:lnTo>
                <a:lnTo>
                  <a:pt x="4188240" y="8660524"/>
                </a:lnTo>
                <a:lnTo>
                  <a:pt x="4172836" y="8638195"/>
                </a:lnTo>
                <a:lnTo>
                  <a:pt x="4146255" y="8591384"/>
                </a:lnTo>
                <a:lnTo>
                  <a:pt x="4121487" y="8543497"/>
                </a:lnTo>
                <a:lnTo>
                  <a:pt x="4094907" y="8497225"/>
                </a:lnTo>
                <a:lnTo>
                  <a:pt x="4078899" y="8474896"/>
                </a:lnTo>
                <a:lnTo>
                  <a:pt x="4065307" y="8456871"/>
                </a:lnTo>
                <a:lnTo>
                  <a:pt x="4041446" y="8430775"/>
                </a:lnTo>
                <a:lnTo>
                  <a:pt x="4023323" y="8415979"/>
                </a:lnTo>
                <a:lnTo>
                  <a:pt x="4012751" y="8410060"/>
                </a:lnTo>
                <a:lnTo>
                  <a:pt x="3997951" y="8402528"/>
                </a:lnTo>
                <a:lnTo>
                  <a:pt x="3970163" y="8386117"/>
                </a:lnTo>
                <a:lnTo>
                  <a:pt x="3943583" y="8368093"/>
                </a:lnTo>
                <a:lnTo>
                  <a:pt x="3919117" y="8349529"/>
                </a:lnTo>
                <a:lnTo>
                  <a:pt x="3896766" y="8329083"/>
                </a:lnTo>
                <a:lnTo>
                  <a:pt x="3876529" y="8307831"/>
                </a:lnTo>
                <a:lnTo>
                  <a:pt x="3858104" y="8284963"/>
                </a:lnTo>
                <a:lnTo>
                  <a:pt x="3842095" y="8260751"/>
                </a:lnTo>
                <a:lnTo>
                  <a:pt x="3835149" y="8248376"/>
                </a:lnTo>
                <a:lnTo>
                  <a:pt x="3799809" y="8183003"/>
                </a:lnTo>
                <a:lnTo>
                  <a:pt x="3749972" y="8084001"/>
                </a:lnTo>
                <a:lnTo>
                  <a:pt x="3720371" y="8017013"/>
                </a:lnTo>
                <a:lnTo>
                  <a:pt x="3707384" y="7983655"/>
                </a:lnTo>
                <a:lnTo>
                  <a:pt x="3695905" y="7955675"/>
                </a:lnTo>
                <a:lnTo>
                  <a:pt x="3668118" y="7903753"/>
                </a:lnTo>
                <a:lnTo>
                  <a:pt x="3634892" y="7854521"/>
                </a:lnTo>
                <a:lnTo>
                  <a:pt x="3596533" y="7807981"/>
                </a:lnTo>
                <a:lnTo>
                  <a:pt x="3554548" y="7763321"/>
                </a:lnTo>
                <a:lnTo>
                  <a:pt x="3509544" y="7720009"/>
                </a:lnTo>
                <a:lnTo>
                  <a:pt x="3439167" y="7656249"/>
                </a:lnTo>
                <a:lnTo>
                  <a:pt x="3390537" y="7613743"/>
                </a:lnTo>
                <a:lnTo>
                  <a:pt x="3380570" y="7647909"/>
                </a:lnTo>
                <a:lnTo>
                  <a:pt x="3369394" y="7699025"/>
                </a:lnTo>
                <a:lnTo>
                  <a:pt x="3367884" y="7724582"/>
                </a:lnTo>
                <a:lnTo>
                  <a:pt x="3369092" y="7740993"/>
                </a:lnTo>
                <a:lnTo>
                  <a:pt x="3370602" y="7749333"/>
                </a:lnTo>
                <a:lnTo>
                  <a:pt x="3380570" y="7796143"/>
                </a:lnTo>
                <a:lnTo>
                  <a:pt x="3399297" y="7865014"/>
                </a:lnTo>
                <a:lnTo>
                  <a:pt x="3414399" y="7910748"/>
                </a:lnTo>
                <a:lnTo>
                  <a:pt x="3432522" y="7955407"/>
                </a:lnTo>
                <a:lnTo>
                  <a:pt x="3453665" y="7999258"/>
                </a:lnTo>
                <a:lnTo>
                  <a:pt x="3478735" y="8042303"/>
                </a:lnTo>
                <a:lnTo>
                  <a:pt x="3507429" y="8084001"/>
                </a:lnTo>
                <a:lnTo>
                  <a:pt x="3523739" y="8104177"/>
                </a:lnTo>
                <a:lnTo>
                  <a:pt x="3531895" y="8114670"/>
                </a:lnTo>
                <a:lnTo>
                  <a:pt x="3544883" y="8135654"/>
                </a:lnTo>
                <a:lnTo>
                  <a:pt x="3554548" y="8156907"/>
                </a:lnTo>
                <a:lnTo>
                  <a:pt x="3561496" y="8178967"/>
                </a:lnTo>
                <a:lnTo>
                  <a:pt x="3567234" y="8212057"/>
                </a:lnTo>
                <a:lnTo>
                  <a:pt x="3568140" y="8258329"/>
                </a:lnTo>
                <a:lnTo>
                  <a:pt x="3566328" y="8282005"/>
                </a:lnTo>
                <a:lnTo>
                  <a:pt x="3564818" y="8308637"/>
                </a:lnTo>
                <a:lnTo>
                  <a:pt x="3564818" y="8361637"/>
                </a:lnTo>
                <a:lnTo>
                  <a:pt x="3568442" y="8414903"/>
                </a:lnTo>
                <a:lnTo>
                  <a:pt x="3574785" y="8467901"/>
                </a:lnTo>
                <a:lnTo>
                  <a:pt x="3579014" y="8493996"/>
                </a:lnTo>
                <a:lnTo>
                  <a:pt x="3582639" y="8514443"/>
                </a:lnTo>
                <a:lnTo>
                  <a:pt x="3588377" y="8553721"/>
                </a:lnTo>
                <a:lnTo>
                  <a:pt x="3589585" y="8593267"/>
                </a:lnTo>
                <a:lnTo>
                  <a:pt x="3585659" y="8622860"/>
                </a:lnTo>
                <a:lnTo>
                  <a:pt x="3580222" y="8642768"/>
                </a:lnTo>
                <a:lnTo>
                  <a:pt x="3576296" y="8652453"/>
                </a:lnTo>
                <a:lnTo>
                  <a:pt x="3572973" y="8661062"/>
                </a:lnTo>
                <a:lnTo>
                  <a:pt x="3573577" y="8676127"/>
                </a:lnTo>
                <a:lnTo>
                  <a:pt x="3577806" y="8688233"/>
                </a:lnTo>
                <a:lnTo>
                  <a:pt x="3581733" y="8699533"/>
                </a:lnTo>
                <a:lnTo>
                  <a:pt x="3581733" y="8705182"/>
                </a:lnTo>
                <a:lnTo>
                  <a:pt x="3581431" y="8706797"/>
                </a:lnTo>
                <a:lnTo>
                  <a:pt x="3578108" y="8708948"/>
                </a:lnTo>
                <a:lnTo>
                  <a:pt x="3570859" y="8710294"/>
                </a:lnTo>
                <a:lnTo>
                  <a:pt x="3566328" y="8709217"/>
                </a:lnTo>
                <a:lnTo>
                  <a:pt x="3560892" y="8697649"/>
                </a:lnTo>
                <a:lnTo>
                  <a:pt x="3553944" y="8682316"/>
                </a:lnTo>
                <a:lnTo>
                  <a:pt x="3540956" y="8692269"/>
                </a:lnTo>
                <a:lnTo>
                  <a:pt x="3517396" y="8711908"/>
                </a:lnTo>
                <a:lnTo>
                  <a:pt x="3496253" y="8732892"/>
                </a:lnTo>
                <a:lnTo>
                  <a:pt x="3477526" y="8754682"/>
                </a:lnTo>
                <a:lnTo>
                  <a:pt x="3460612" y="8777013"/>
                </a:lnTo>
                <a:lnTo>
                  <a:pt x="3446114" y="8799879"/>
                </a:lnTo>
                <a:lnTo>
                  <a:pt x="3433428" y="8824092"/>
                </a:lnTo>
                <a:lnTo>
                  <a:pt x="3422856" y="8848842"/>
                </a:lnTo>
                <a:lnTo>
                  <a:pt x="3418024" y="8861755"/>
                </a:lnTo>
                <a:lnTo>
                  <a:pt x="3418024" y="8851263"/>
                </a:lnTo>
                <a:lnTo>
                  <a:pt x="3420742" y="8830548"/>
                </a:lnTo>
                <a:lnTo>
                  <a:pt x="3426179" y="8811178"/>
                </a:lnTo>
                <a:lnTo>
                  <a:pt x="3434032" y="8792346"/>
                </a:lnTo>
                <a:lnTo>
                  <a:pt x="3449437" y="8765444"/>
                </a:lnTo>
                <a:lnTo>
                  <a:pt x="3476922" y="8731816"/>
                </a:lnTo>
                <a:lnTo>
                  <a:pt x="3492327" y="8716212"/>
                </a:lnTo>
                <a:lnTo>
                  <a:pt x="3502898" y="8705720"/>
                </a:lnTo>
                <a:lnTo>
                  <a:pt x="3521021" y="8684198"/>
                </a:lnTo>
                <a:lnTo>
                  <a:pt x="3535822" y="8662138"/>
                </a:lnTo>
                <a:lnTo>
                  <a:pt x="3546997" y="8639539"/>
                </a:lnTo>
                <a:lnTo>
                  <a:pt x="3554548" y="8616134"/>
                </a:lnTo>
                <a:lnTo>
                  <a:pt x="3558475" y="8591653"/>
                </a:lnTo>
                <a:lnTo>
                  <a:pt x="3559079" y="8566903"/>
                </a:lnTo>
                <a:lnTo>
                  <a:pt x="3555757" y="8541077"/>
                </a:lnTo>
                <a:lnTo>
                  <a:pt x="3552736" y="8527894"/>
                </a:lnTo>
                <a:lnTo>
                  <a:pt x="3531895" y="8442075"/>
                </a:lnTo>
                <a:lnTo>
                  <a:pt x="3513470" y="8360291"/>
                </a:lnTo>
                <a:lnTo>
                  <a:pt x="3479641" y="8413289"/>
                </a:lnTo>
                <a:lnTo>
                  <a:pt x="3441885" y="8471130"/>
                </a:lnTo>
                <a:lnTo>
                  <a:pt x="3435542" y="8468708"/>
                </a:lnTo>
                <a:lnTo>
                  <a:pt x="3428898" y="8466287"/>
                </a:lnTo>
                <a:lnTo>
                  <a:pt x="3431917" y="8457948"/>
                </a:lnTo>
                <a:lnTo>
                  <a:pt x="3435240" y="8449339"/>
                </a:lnTo>
                <a:lnTo>
                  <a:pt x="3458498" y="8406294"/>
                </a:lnTo>
                <a:lnTo>
                  <a:pt x="3493233" y="8340921"/>
                </a:lnTo>
                <a:lnTo>
                  <a:pt x="3513470" y="8297070"/>
                </a:lnTo>
                <a:lnTo>
                  <a:pt x="3521323" y="8274741"/>
                </a:lnTo>
                <a:lnTo>
                  <a:pt x="3525250" y="8260751"/>
                </a:lnTo>
                <a:lnTo>
                  <a:pt x="3528874" y="8231158"/>
                </a:lnTo>
                <a:lnTo>
                  <a:pt x="3526458" y="8200758"/>
                </a:lnTo>
                <a:lnTo>
                  <a:pt x="3518605" y="8171973"/>
                </a:lnTo>
                <a:lnTo>
                  <a:pt x="3512564" y="8158791"/>
                </a:lnTo>
                <a:lnTo>
                  <a:pt x="3492025" y="8120589"/>
                </a:lnTo>
                <a:lnTo>
                  <a:pt x="3448530" y="8046069"/>
                </a:lnTo>
                <a:lnTo>
                  <a:pt x="3380570" y="7935230"/>
                </a:lnTo>
                <a:lnTo>
                  <a:pt x="3335867" y="7862055"/>
                </a:lnTo>
                <a:lnTo>
                  <a:pt x="3319557" y="7884115"/>
                </a:lnTo>
                <a:lnTo>
                  <a:pt x="3288446" y="7930387"/>
                </a:lnTo>
                <a:lnTo>
                  <a:pt x="3257940" y="7977736"/>
                </a:lnTo>
                <a:lnTo>
                  <a:pt x="3226225" y="8024815"/>
                </a:lnTo>
                <a:lnTo>
                  <a:pt x="3191490" y="8070551"/>
                </a:lnTo>
                <a:lnTo>
                  <a:pt x="3151922" y="8113594"/>
                </a:lnTo>
                <a:lnTo>
                  <a:pt x="3117790" y="8143725"/>
                </a:lnTo>
                <a:lnTo>
                  <a:pt x="3092720" y="8162557"/>
                </a:lnTo>
                <a:lnTo>
                  <a:pt x="3065839" y="8180043"/>
                </a:lnTo>
                <a:lnTo>
                  <a:pt x="3035936" y="8195647"/>
                </a:lnTo>
                <a:lnTo>
                  <a:pt x="3020230" y="8202911"/>
                </a:lnTo>
                <a:lnTo>
                  <a:pt x="3032916" y="8194571"/>
                </a:lnTo>
                <a:lnTo>
                  <a:pt x="3056475" y="8177084"/>
                </a:lnTo>
                <a:lnTo>
                  <a:pt x="3077920" y="8158253"/>
                </a:lnTo>
                <a:lnTo>
                  <a:pt x="3098157" y="8138344"/>
                </a:lnTo>
                <a:lnTo>
                  <a:pt x="3116582" y="8117091"/>
                </a:lnTo>
                <a:lnTo>
                  <a:pt x="3133496" y="8094762"/>
                </a:lnTo>
                <a:lnTo>
                  <a:pt x="3156150" y="8058981"/>
                </a:lnTo>
                <a:lnTo>
                  <a:pt x="3169440" y="8033155"/>
                </a:lnTo>
                <a:lnTo>
                  <a:pt x="3107219" y="8054677"/>
                </a:lnTo>
                <a:lnTo>
                  <a:pt x="3067953" y="8069473"/>
                </a:lnTo>
                <a:lnTo>
                  <a:pt x="3060100" y="8065977"/>
                </a:lnTo>
                <a:lnTo>
                  <a:pt x="3051642" y="8058981"/>
                </a:lnTo>
                <a:lnTo>
                  <a:pt x="3051642" y="8052256"/>
                </a:lnTo>
                <a:lnTo>
                  <a:pt x="3059194" y="8047145"/>
                </a:lnTo>
                <a:lnTo>
                  <a:pt x="3065235" y="8044992"/>
                </a:lnTo>
                <a:lnTo>
                  <a:pt x="3084264" y="8039881"/>
                </a:lnTo>
                <a:lnTo>
                  <a:pt x="3117790" y="8026968"/>
                </a:lnTo>
                <a:lnTo>
                  <a:pt x="3147693" y="8012171"/>
                </a:lnTo>
                <a:lnTo>
                  <a:pt x="3173367" y="7995761"/>
                </a:lnTo>
                <a:lnTo>
                  <a:pt x="3205384" y="7970472"/>
                </a:lnTo>
                <a:lnTo>
                  <a:pt x="3237703" y="7938189"/>
                </a:lnTo>
                <a:lnTo>
                  <a:pt x="3249784" y="7925813"/>
                </a:lnTo>
                <a:lnTo>
                  <a:pt x="3268511" y="7906175"/>
                </a:lnTo>
                <a:lnTo>
                  <a:pt x="3290862" y="7877390"/>
                </a:lnTo>
                <a:lnTo>
                  <a:pt x="3301736" y="7858019"/>
                </a:lnTo>
                <a:lnTo>
                  <a:pt x="3309589" y="7838111"/>
                </a:lnTo>
                <a:lnTo>
                  <a:pt x="3313818" y="7817935"/>
                </a:lnTo>
                <a:lnTo>
                  <a:pt x="3314724" y="7796413"/>
                </a:lnTo>
                <a:lnTo>
                  <a:pt x="3310797" y="7773276"/>
                </a:lnTo>
                <a:lnTo>
                  <a:pt x="3307173" y="7761170"/>
                </a:lnTo>
                <a:lnTo>
                  <a:pt x="3304152" y="7750409"/>
                </a:lnTo>
                <a:lnTo>
                  <a:pt x="3301434" y="7727273"/>
                </a:lnTo>
                <a:lnTo>
                  <a:pt x="3302039" y="7703867"/>
                </a:lnTo>
                <a:lnTo>
                  <a:pt x="3305662" y="7680731"/>
                </a:lnTo>
                <a:lnTo>
                  <a:pt x="3314422" y="7646027"/>
                </a:lnTo>
                <a:lnTo>
                  <a:pt x="3328920" y="7604596"/>
                </a:lnTo>
                <a:lnTo>
                  <a:pt x="3334961" y="7587110"/>
                </a:lnTo>
                <a:lnTo>
                  <a:pt x="3341002" y="7572045"/>
                </a:lnTo>
                <a:lnTo>
                  <a:pt x="3344325" y="7555096"/>
                </a:lnTo>
                <a:lnTo>
                  <a:pt x="3339794" y="7542990"/>
                </a:lnTo>
                <a:lnTo>
                  <a:pt x="3334357" y="7535995"/>
                </a:lnTo>
                <a:lnTo>
                  <a:pt x="3321369" y="7520660"/>
                </a:lnTo>
                <a:lnTo>
                  <a:pt x="3298414" y="7489185"/>
                </a:lnTo>
                <a:lnTo>
                  <a:pt x="3279385" y="7456633"/>
                </a:lnTo>
                <a:lnTo>
                  <a:pt x="3263678" y="7423541"/>
                </a:lnTo>
                <a:lnTo>
                  <a:pt x="3252201" y="7389376"/>
                </a:lnTo>
                <a:lnTo>
                  <a:pt x="3243139" y="7354671"/>
                </a:lnTo>
                <a:lnTo>
                  <a:pt x="3237099" y="7318891"/>
                </a:lnTo>
                <a:lnTo>
                  <a:pt x="3234078" y="7282841"/>
                </a:lnTo>
                <a:lnTo>
                  <a:pt x="3233776" y="7264010"/>
                </a:lnTo>
                <a:lnTo>
                  <a:pt x="3232870" y="7193794"/>
                </a:lnTo>
                <a:lnTo>
                  <a:pt x="3228339" y="7088874"/>
                </a:lnTo>
                <a:lnTo>
                  <a:pt x="3219882" y="7019196"/>
                </a:lnTo>
                <a:lnTo>
                  <a:pt x="3213841" y="6984492"/>
                </a:lnTo>
                <a:lnTo>
                  <a:pt x="3205384" y="6944945"/>
                </a:lnTo>
                <a:lnTo>
                  <a:pt x="3185449" y="6865582"/>
                </a:lnTo>
                <a:lnTo>
                  <a:pt x="3162493" y="6787296"/>
                </a:lnTo>
                <a:lnTo>
                  <a:pt x="3136517" y="6709548"/>
                </a:lnTo>
                <a:lnTo>
                  <a:pt x="3108125" y="6632068"/>
                </a:lnTo>
                <a:lnTo>
                  <a:pt x="3077014" y="6555127"/>
                </a:lnTo>
                <a:lnTo>
                  <a:pt x="3027781" y="6440522"/>
                </a:lnTo>
                <a:lnTo>
                  <a:pt x="2992139" y="6364657"/>
                </a:lnTo>
                <a:lnTo>
                  <a:pt x="2984286" y="6347977"/>
                </a:lnTo>
                <a:lnTo>
                  <a:pt x="2966163" y="6316769"/>
                </a:lnTo>
                <a:lnTo>
                  <a:pt x="2945926" y="6287984"/>
                </a:lnTo>
                <a:lnTo>
                  <a:pt x="2923575" y="6260274"/>
                </a:lnTo>
                <a:lnTo>
                  <a:pt x="2899411" y="6234985"/>
                </a:lnTo>
                <a:lnTo>
                  <a:pt x="2873435" y="6210774"/>
                </a:lnTo>
                <a:lnTo>
                  <a:pt x="2832055" y="6176606"/>
                </a:lnTo>
                <a:lnTo>
                  <a:pt x="2771646" y="6135446"/>
                </a:lnTo>
                <a:lnTo>
                  <a:pt x="2707612" y="6097244"/>
                </a:lnTo>
                <a:lnTo>
                  <a:pt x="2607333" y="6042363"/>
                </a:lnTo>
                <a:lnTo>
                  <a:pt x="2539675" y="6006314"/>
                </a:lnTo>
                <a:lnTo>
                  <a:pt x="2529104" y="6052856"/>
                </a:lnTo>
                <a:lnTo>
                  <a:pt x="2514001" y="6121995"/>
                </a:lnTo>
                <a:lnTo>
                  <a:pt x="2502826" y="6167191"/>
                </a:lnTo>
                <a:lnTo>
                  <a:pt x="2496181" y="6189520"/>
                </a:lnTo>
                <a:lnTo>
                  <a:pt x="2473527" y="6261889"/>
                </a:lnTo>
                <a:lnTo>
                  <a:pt x="2449669" y="6345429"/>
                </a:lnTo>
                <a:lnTo>
                  <a:pt x="2487821" y="6361133"/>
                </a:lnTo>
                <a:lnTo>
                  <a:pt x="2515630" y="6370542"/>
                </a:lnTo>
                <a:lnTo>
                  <a:pt x="2529233" y="6375113"/>
                </a:lnTo>
                <a:lnTo>
                  <a:pt x="2554321" y="6386134"/>
                </a:lnTo>
                <a:lnTo>
                  <a:pt x="2576992" y="6399307"/>
                </a:lnTo>
                <a:lnTo>
                  <a:pt x="2597245" y="6414092"/>
                </a:lnTo>
                <a:lnTo>
                  <a:pt x="2625054" y="6438824"/>
                </a:lnTo>
                <a:lnTo>
                  <a:pt x="2658001" y="6476458"/>
                </a:lnTo>
                <a:lnTo>
                  <a:pt x="2673720" y="6496620"/>
                </a:lnTo>
                <a:lnTo>
                  <a:pt x="2690950" y="6518933"/>
                </a:lnTo>
                <a:lnTo>
                  <a:pt x="2728129" y="6562482"/>
                </a:lnTo>
                <a:lnTo>
                  <a:pt x="2768634" y="6604149"/>
                </a:lnTo>
                <a:lnTo>
                  <a:pt x="2810952" y="6645011"/>
                </a:lnTo>
                <a:lnTo>
                  <a:pt x="2832414" y="6664634"/>
                </a:lnTo>
                <a:lnTo>
                  <a:pt x="2849341" y="6679419"/>
                </a:lnTo>
                <a:lnTo>
                  <a:pt x="2881685" y="6709259"/>
                </a:lnTo>
                <a:lnTo>
                  <a:pt x="2910401" y="6740711"/>
                </a:lnTo>
                <a:lnTo>
                  <a:pt x="2927933" y="6767055"/>
                </a:lnTo>
                <a:lnTo>
                  <a:pt x="2937606" y="6785335"/>
                </a:lnTo>
                <a:lnTo>
                  <a:pt x="2941233" y="6795551"/>
                </a:lnTo>
                <a:lnTo>
                  <a:pt x="2944860" y="6804153"/>
                </a:lnTo>
                <a:lnTo>
                  <a:pt x="2955742" y="6815981"/>
                </a:lnTo>
                <a:lnTo>
                  <a:pt x="2968136" y="6824046"/>
                </a:lnTo>
                <a:lnTo>
                  <a:pt x="2978715" y="6831303"/>
                </a:lnTo>
                <a:lnTo>
                  <a:pt x="2982645" y="6835874"/>
                </a:lnTo>
                <a:lnTo>
                  <a:pt x="2983249" y="6837755"/>
                </a:lnTo>
                <a:lnTo>
                  <a:pt x="2982645" y="6840713"/>
                </a:lnTo>
                <a:lnTo>
                  <a:pt x="2977808" y="6845013"/>
                </a:lnTo>
                <a:lnTo>
                  <a:pt x="2973576" y="6846627"/>
                </a:lnTo>
                <a:lnTo>
                  <a:pt x="2961486" y="6839369"/>
                </a:lnTo>
                <a:lnTo>
                  <a:pt x="2944860" y="6829960"/>
                </a:lnTo>
                <a:lnTo>
                  <a:pt x="2941233" y="6843939"/>
                </a:lnTo>
                <a:lnTo>
                  <a:pt x="2937001" y="6871090"/>
                </a:lnTo>
                <a:lnTo>
                  <a:pt x="2934583" y="6897972"/>
                </a:lnTo>
                <a:lnTo>
                  <a:pt x="2934583" y="6924049"/>
                </a:lnTo>
                <a:lnTo>
                  <a:pt x="2937606" y="6949855"/>
                </a:lnTo>
                <a:lnTo>
                  <a:pt x="2942140" y="6975662"/>
                </a:lnTo>
                <a:lnTo>
                  <a:pt x="2948790" y="7001200"/>
                </a:lnTo>
                <a:lnTo>
                  <a:pt x="2957858" y="7026201"/>
                </a:lnTo>
                <a:lnTo>
                  <a:pt x="2962997" y="7038835"/>
                </a:lnTo>
                <a:lnTo>
                  <a:pt x="2955742" y="7029964"/>
                </a:lnTo>
                <a:lnTo>
                  <a:pt x="2943349" y="7012221"/>
                </a:lnTo>
                <a:lnTo>
                  <a:pt x="2933979" y="6993673"/>
                </a:lnTo>
                <a:lnTo>
                  <a:pt x="2927026" y="6974587"/>
                </a:lnTo>
                <a:lnTo>
                  <a:pt x="2920678" y="6945822"/>
                </a:lnTo>
                <a:lnTo>
                  <a:pt x="2918563" y="6906037"/>
                </a:lnTo>
                <a:lnTo>
                  <a:pt x="2919772" y="6885875"/>
                </a:lnTo>
                <a:lnTo>
                  <a:pt x="2920980" y="6872435"/>
                </a:lnTo>
                <a:lnTo>
                  <a:pt x="2920074" y="6846627"/>
                </a:lnTo>
                <a:lnTo>
                  <a:pt x="2916446" y="6821895"/>
                </a:lnTo>
                <a:lnTo>
                  <a:pt x="2909192" y="6798239"/>
                </a:lnTo>
                <a:lnTo>
                  <a:pt x="2898612" y="6775389"/>
                </a:lnTo>
                <a:lnTo>
                  <a:pt x="2885010" y="6753615"/>
                </a:lnTo>
                <a:lnTo>
                  <a:pt x="2867780" y="6733184"/>
                </a:lnTo>
                <a:lnTo>
                  <a:pt x="2847226" y="6713560"/>
                </a:lnTo>
                <a:lnTo>
                  <a:pt x="2835134" y="6704151"/>
                </a:lnTo>
                <a:lnTo>
                  <a:pt x="2758659" y="6643397"/>
                </a:lnTo>
                <a:lnTo>
                  <a:pt x="2687020" y="6584795"/>
                </a:lnTo>
                <a:lnTo>
                  <a:pt x="2696995" y="6643666"/>
                </a:lnTo>
                <a:lnTo>
                  <a:pt x="2708179" y="6708184"/>
                </a:lnTo>
                <a:lnTo>
                  <a:pt x="2701227" y="6709259"/>
                </a:lnTo>
                <a:lnTo>
                  <a:pt x="2694275" y="6710065"/>
                </a:lnTo>
                <a:lnTo>
                  <a:pt x="2690647" y="6701732"/>
                </a:lnTo>
                <a:lnTo>
                  <a:pt x="2687625" y="6693398"/>
                </a:lnTo>
                <a:lnTo>
                  <a:pt x="2675231" y="6647429"/>
                </a:lnTo>
                <a:lnTo>
                  <a:pt x="2657397" y="6578073"/>
                </a:lnTo>
                <a:lnTo>
                  <a:pt x="2642586" y="6532911"/>
                </a:lnTo>
                <a:lnTo>
                  <a:pt x="2632913" y="6510867"/>
                </a:lnTo>
                <a:lnTo>
                  <a:pt x="2626263" y="6497965"/>
                </a:lnTo>
                <a:lnTo>
                  <a:pt x="2608428" y="6471888"/>
                </a:lnTo>
                <a:lnTo>
                  <a:pt x="2585153" y="6448232"/>
                </a:lnTo>
                <a:lnTo>
                  <a:pt x="2558553" y="6428070"/>
                </a:lnTo>
                <a:lnTo>
                  <a:pt x="2544347" y="6420006"/>
                </a:lnTo>
                <a:lnTo>
                  <a:pt x="2460919" y="6376994"/>
                </a:lnTo>
                <a:lnTo>
                  <a:pt x="2443058" y="6368579"/>
                </a:lnTo>
                <a:lnTo>
                  <a:pt x="2442719" y="6369768"/>
                </a:lnTo>
                <a:lnTo>
                  <a:pt x="2425200" y="6442404"/>
                </a:lnTo>
                <a:lnTo>
                  <a:pt x="2411306" y="6515311"/>
                </a:lnTo>
                <a:lnTo>
                  <a:pt x="2400735" y="6588755"/>
                </a:lnTo>
                <a:lnTo>
                  <a:pt x="2395600" y="6662737"/>
                </a:lnTo>
                <a:lnTo>
                  <a:pt x="2395600" y="6736988"/>
                </a:lnTo>
                <a:lnTo>
                  <a:pt x="2398318" y="6774651"/>
                </a:lnTo>
                <a:lnTo>
                  <a:pt x="2401037" y="6801285"/>
                </a:lnTo>
                <a:lnTo>
                  <a:pt x="2409493" y="6839487"/>
                </a:lnTo>
                <a:lnTo>
                  <a:pt x="2417347" y="6863968"/>
                </a:lnTo>
                <a:lnTo>
                  <a:pt x="2427616" y="6887911"/>
                </a:lnTo>
                <a:lnTo>
                  <a:pt x="2440000" y="6911047"/>
                </a:lnTo>
                <a:lnTo>
                  <a:pt x="2455707" y="6933109"/>
                </a:lnTo>
                <a:lnTo>
                  <a:pt x="2474131" y="6954361"/>
                </a:lnTo>
                <a:lnTo>
                  <a:pt x="2484703" y="6964315"/>
                </a:lnTo>
                <a:lnTo>
                  <a:pt x="2520646" y="6998212"/>
                </a:lnTo>
                <a:lnTo>
                  <a:pt x="2596762" y="7062779"/>
                </a:lnTo>
                <a:lnTo>
                  <a:pt x="2635726" y="7093985"/>
                </a:lnTo>
                <a:lnTo>
                  <a:pt x="2653849" y="7108781"/>
                </a:lnTo>
                <a:lnTo>
                  <a:pt x="2687073" y="7139720"/>
                </a:lnTo>
                <a:lnTo>
                  <a:pt x="2716372" y="7171734"/>
                </a:lnTo>
                <a:lnTo>
                  <a:pt x="2742348" y="7205900"/>
                </a:lnTo>
                <a:lnTo>
                  <a:pt x="2754128" y="7223925"/>
                </a:lnTo>
                <a:lnTo>
                  <a:pt x="2812422" y="7232533"/>
                </a:lnTo>
                <a:lnTo>
                  <a:pt x="2907265" y="7249213"/>
                </a:lnTo>
                <a:lnTo>
                  <a:pt x="2977642" y="7265087"/>
                </a:lnTo>
                <a:lnTo>
                  <a:pt x="3028083" y="7279344"/>
                </a:lnTo>
                <a:lnTo>
                  <a:pt x="3061912" y="7291719"/>
                </a:lnTo>
                <a:lnTo>
                  <a:pt x="3082149" y="7302749"/>
                </a:lnTo>
                <a:lnTo>
                  <a:pt x="3093022" y="7311357"/>
                </a:lnTo>
                <a:lnTo>
                  <a:pt x="3097855" y="7318084"/>
                </a:lnTo>
                <a:lnTo>
                  <a:pt x="3099064" y="7319967"/>
                </a:lnTo>
                <a:lnTo>
                  <a:pt x="3096949" y="7321044"/>
                </a:lnTo>
                <a:lnTo>
                  <a:pt x="3071577" y="7318622"/>
                </a:lnTo>
                <a:lnTo>
                  <a:pt x="3001201" y="7308669"/>
                </a:lnTo>
                <a:lnTo>
                  <a:pt x="2881289" y="7290105"/>
                </a:lnTo>
                <a:lnTo>
                  <a:pt x="2810610" y="7279883"/>
                </a:lnTo>
                <a:lnTo>
                  <a:pt x="2784936" y="7277461"/>
                </a:lnTo>
                <a:lnTo>
                  <a:pt x="2783124" y="7278269"/>
                </a:lnTo>
                <a:lnTo>
                  <a:pt x="2789467" y="7292796"/>
                </a:lnTo>
                <a:lnTo>
                  <a:pt x="2795206" y="7307591"/>
                </a:lnTo>
                <a:lnTo>
                  <a:pt x="2807288" y="7339605"/>
                </a:lnTo>
                <a:lnTo>
                  <a:pt x="2833867" y="7402827"/>
                </a:lnTo>
                <a:lnTo>
                  <a:pt x="2876154" y="7497255"/>
                </a:lnTo>
                <a:lnTo>
                  <a:pt x="2903942" y="7560207"/>
                </a:lnTo>
                <a:lnTo>
                  <a:pt x="2905754" y="7566933"/>
                </a:lnTo>
                <a:lnTo>
                  <a:pt x="2905754" y="7573927"/>
                </a:lnTo>
                <a:lnTo>
                  <a:pt x="2902734" y="7574735"/>
                </a:lnTo>
                <a:lnTo>
                  <a:pt x="2900015" y="7575273"/>
                </a:lnTo>
                <a:lnTo>
                  <a:pt x="2861052" y="7506939"/>
                </a:lnTo>
                <a:lnTo>
                  <a:pt x="2821786" y="7438877"/>
                </a:lnTo>
                <a:lnTo>
                  <a:pt x="2815141" y="7439683"/>
                </a:lnTo>
                <a:lnTo>
                  <a:pt x="2808495" y="7440759"/>
                </a:lnTo>
                <a:lnTo>
                  <a:pt x="2810006" y="7481113"/>
                </a:lnTo>
                <a:lnTo>
                  <a:pt x="2808193" y="7562091"/>
                </a:lnTo>
                <a:lnTo>
                  <a:pt x="2798226" y="7683153"/>
                </a:lnTo>
                <a:lnTo>
                  <a:pt x="2791279" y="7763591"/>
                </a:lnTo>
                <a:lnTo>
                  <a:pt x="2789467" y="7782154"/>
                </a:lnTo>
                <a:lnTo>
                  <a:pt x="2784634" y="7795605"/>
                </a:lnTo>
                <a:lnTo>
                  <a:pt x="2781614" y="7798564"/>
                </a:lnTo>
                <a:lnTo>
                  <a:pt x="2777989" y="7796143"/>
                </a:lnTo>
                <a:lnTo>
                  <a:pt x="2774969" y="7789417"/>
                </a:lnTo>
                <a:lnTo>
                  <a:pt x="2771646" y="7772737"/>
                </a:lnTo>
                <a:lnTo>
                  <a:pt x="2771344" y="7757403"/>
                </a:lnTo>
                <a:lnTo>
                  <a:pt x="2773156" y="7685573"/>
                </a:lnTo>
                <a:lnTo>
                  <a:pt x="2777687" y="7577695"/>
                </a:lnTo>
                <a:lnTo>
                  <a:pt x="2777687" y="7505865"/>
                </a:lnTo>
                <a:lnTo>
                  <a:pt x="2775271" y="7469545"/>
                </a:lnTo>
                <a:lnTo>
                  <a:pt x="2772854" y="7441298"/>
                </a:lnTo>
                <a:lnTo>
                  <a:pt x="2763491" y="7386685"/>
                </a:lnTo>
                <a:lnTo>
                  <a:pt x="2748086" y="7334226"/>
                </a:lnTo>
                <a:lnTo>
                  <a:pt x="2727547" y="7284456"/>
                </a:lnTo>
                <a:lnTo>
                  <a:pt x="2700364" y="7236839"/>
                </a:lnTo>
                <a:lnTo>
                  <a:pt x="2667138" y="7191373"/>
                </a:lnTo>
                <a:lnTo>
                  <a:pt x="2627268" y="7148597"/>
                </a:lnTo>
                <a:lnTo>
                  <a:pt x="2580753" y="7107705"/>
                </a:lnTo>
                <a:lnTo>
                  <a:pt x="2554475" y="7088605"/>
                </a:lnTo>
                <a:lnTo>
                  <a:pt x="2525177" y="7067351"/>
                </a:lnTo>
                <a:lnTo>
                  <a:pt x="2468694" y="7023231"/>
                </a:lnTo>
                <a:lnTo>
                  <a:pt x="2429428" y="6987989"/>
                </a:lnTo>
                <a:lnTo>
                  <a:pt x="2405265" y="6963777"/>
                </a:lnTo>
                <a:lnTo>
                  <a:pt x="2382913" y="6937413"/>
                </a:lnTo>
                <a:lnTo>
                  <a:pt x="2362978" y="6910241"/>
                </a:lnTo>
                <a:lnTo>
                  <a:pt x="2353615" y="6895981"/>
                </a:lnTo>
                <a:lnTo>
                  <a:pt x="2348782" y="6893023"/>
                </a:lnTo>
                <a:lnTo>
                  <a:pt x="2327639" y="6884145"/>
                </a:lnTo>
                <a:lnTo>
                  <a:pt x="2376269" y="7021617"/>
                </a:lnTo>
                <a:lnTo>
                  <a:pt x="2421274" y="7149943"/>
                </a:lnTo>
                <a:lnTo>
                  <a:pt x="2432147" y="7181957"/>
                </a:lnTo>
                <a:lnTo>
                  <a:pt x="2451478" y="7246792"/>
                </a:lnTo>
                <a:lnTo>
                  <a:pt x="2461144" y="7296024"/>
                </a:lnTo>
                <a:lnTo>
                  <a:pt x="2465070" y="7329114"/>
                </a:lnTo>
                <a:lnTo>
                  <a:pt x="2466279" y="7362474"/>
                </a:lnTo>
                <a:lnTo>
                  <a:pt x="2464466" y="7396102"/>
                </a:lnTo>
                <a:lnTo>
                  <a:pt x="2461748" y="7413050"/>
                </a:lnTo>
                <a:lnTo>
                  <a:pt x="2452988" y="7373773"/>
                </a:lnTo>
                <a:lnTo>
                  <a:pt x="2430335" y="7296562"/>
                </a:lnTo>
                <a:lnTo>
                  <a:pt x="2401339" y="7221504"/>
                </a:lnTo>
                <a:lnTo>
                  <a:pt x="2368113" y="7147521"/>
                </a:lnTo>
                <a:lnTo>
                  <a:pt x="2349689" y="7110934"/>
                </a:lnTo>
                <a:lnTo>
                  <a:pt x="2342137" y="7112011"/>
                </a:lnTo>
                <a:lnTo>
                  <a:pt x="2334285" y="7112817"/>
                </a:lnTo>
                <a:lnTo>
                  <a:pt x="2329754" y="7136761"/>
                </a:lnTo>
                <a:lnTo>
                  <a:pt x="2317973" y="7183841"/>
                </a:lnTo>
                <a:lnTo>
                  <a:pt x="2295924" y="7254055"/>
                </a:lnTo>
                <a:lnTo>
                  <a:pt x="2263908" y="7347677"/>
                </a:lnTo>
                <a:lnTo>
                  <a:pt x="2242160" y="7417624"/>
                </a:lnTo>
                <a:lnTo>
                  <a:pt x="2229777" y="7465241"/>
                </a:lnTo>
                <a:lnTo>
                  <a:pt x="2225246" y="7488915"/>
                </a:lnTo>
                <a:lnTo>
                  <a:pt x="2219809" y="7488108"/>
                </a:lnTo>
                <a:lnTo>
                  <a:pt x="2203197" y="7482459"/>
                </a:lnTo>
                <a:lnTo>
                  <a:pt x="2195343" y="7478423"/>
                </a:lnTo>
                <a:lnTo>
                  <a:pt x="2194739" y="7476541"/>
                </a:lnTo>
                <a:lnTo>
                  <a:pt x="2197458" y="7457171"/>
                </a:lnTo>
                <a:lnTo>
                  <a:pt x="2206519" y="7418699"/>
                </a:lnTo>
                <a:lnTo>
                  <a:pt x="2225850" y="7360859"/>
                </a:lnTo>
                <a:lnTo>
                  <a:pt x="2256658" y="7284456"/>
                </a:lnTo>
                <a:lnTo>
                  <a:pt x="2275687" y="7226615"/>
                </a:lnTo>
                <a:lnTo>
                  <a:pt x="2284749" y="7187875"/>
                </a:lnTo>
                <a:lnTo>
                  <a:pt x="2287467" y="7168775"/>
                </a:lnTo>
                <a:lnTo>
                  <a:pt x="2290488" y="7146715"/>
                </a:lnTo>
                <a:lnTo>
                  <a:pt x="2302267" y="7103401"/>
                </a:lnTo>
                <a:lnTo>
                  <a:pt x="2309517" y="7071119"/>
                </a:lnTo>
                <a:lnTo>
                  <a:pt x="2311027" y="7049865"/>
                </a:lnTo>
                <a:lnTo>
                  <a:pt x="2308913" y="7028613"/>
                </a:lnTo>
                <a:lnTo>
                  <a:pt x="2301965" y="7007359"/>
                </a:lnTo>
                <a:lnTo>
                  <a:pt x="2295623" y="6996867"/>
                </a:lnTo>
                <a:lnTo>
                  <a:pt x="2287769" y="6984223"/>
                </a:lnTo>
                <a:lnTo>
                  <a:pt x="2274781" y="6958935"/>
                </a:lnTo>
                <a:lnTo>
                  <a:pt x="2265116" y="6933109"/>
                </a:lnTo>
                <a:lnTo>
                  <a:pt x="2258471" y="6906743"/>
                </a:lnTo>
                <a:lnTo>
                  <a:pt x="2254242" y="6880647"/>
                </a:lnTo>
                <a:lnTo>
                  <a:pt x="2252732" y="6854283"/>
                </a:lnTo>
                <a:lnTo>
                  <a:pt x="2253336" y="6827650"/>
                </a:lnTo>
                <a:lnTo>
                  <a:pt x="2256054" y="6801285"/>
                </a:lnTo>
                <a:lnTo>
                  <a:pt x="2258471" y="6787835"/>
                </a:lnTo>
                <a:lnTo>
                  <a:pt x="2286259" y="6637448"/>
                </a:lnTo>
                <a:lnTo>
                  <a:pt x="2330962" y="6411736"/>
                </a:lnTo>
                <a:lnTo>
                  <a:pt x="2362978" y="6261350"/>
                </a:lnTo>
                <a:lnTo>
                  <a:pt x="2380196" y="6186831"/>
                </a:lnTo>
                <a:lnTo>
                  <a:pt x="2389256" y="6147014"/>
                </a:lnTo>
                <a:lnTo>
                  <a:pt x="2399526" y="6088097"/>
                </a:lnTo>
                <a:lnTo>
                  <a:pt x="2404056" y="6049089"/>
                </a:lnTo>
                <a:lnTo>
                  <a:pt x="2405567" y="6010080"/>
                </a:lnTo>
                <a:lnTo>
                  <a:pt x="2404359" y="5971072"/>
                </a:lnTo>
                <a:lnTo>
                  <a:pt x="2400131" y="5931793"/>
                </a:lnTo>
                <a:lnTo>
                  <a:pt x="2391673" y="5892515"/>
                </a:lnTo>
                <a:lnTo>
                  <a:pt x="2385632" y="5872876"/>
                </a:lnTo>
                <a:lnTo>
                  <a:pt x="2381101" y="5859964"/>
                </a:lnTo>
                <a:lnTo>
                  <a:pt x="2377726" y="5852949"/>
                </a:lnTo>
                <a:lnTo>
                  <a:pt x="2395711" y="5850357"/>
                </a:lnTo>
                <a:lnTo>
                  <a:pt x="2426115" y="5842971"/>
                </a:lnTo>
                <a:lnTo>
                  <a:pt x="2454815" y="5832743"/>
                </a:lnTo>
                <a:lnTo>
                  <a:pt x="2481810" y="5820527"/>
                </a:lnTo>
                <a:lnTo>
                  <a:pt x="2506816" y="5805754"/>
                </a:lnTo>
                <a:lnTo>
                  <a:pt x="2528980" y="5789561"/>
                </a:lnTo>
                <a:lnTo>
                  <a:pt x="2548018" y="5771663"/>
                </a:lnTo>
                <a:lnTo>
                  <a:pt x="2556259" y="5762004"/>
                </a:lnTo>
                <a:lnTo>
                  <a:pt x="2554125" y="5759871"/>
                </a:lnTo>
                <a:lnTo>
                  <a:pt x="2578472" y="5758465"/>
                </a:lnTo>
                <a:lnTo>
                  <a:pt x="2631439" y="5749225"/>
                </a:lnTo>
                <a:lnTo>
                  <a:pt x="2631538" y="5749278"/>
                </a:lnTo>
                <a:lnTo>
                  <a:pt x="2634216" y="5761769"/>
                </a:lnTo>
                <a:lnTo>
                  <a:pt x="2644485" y="5815574"/>
                </a:lnTo>
                <a:lnTo>
                  <a:pt x="2648714" y="5842208"/>
                </a:lnTo>
                <a:lnTo>
                  <a:pt x="2650828" y="5854852"/>
                </a:lnTo>
                <a:lnTo>
                  <a:pt x="2656869" y="5878257"/>
                </a:lnTo>
                <a:lnTo>
                  <a:pt x="2666534" y="5899780"/>
                </a:lnTo>
                <a:lnTo>
                  <a:pt x="2678919" y="5918880"/>
                </a:lnTo>
                <a:lnTo>
                  <a:pt x="2694927" y="5936367"/>
                </a:lnTo>
                <a:lnTo>
                  <a:pt x="2714560" y="5952239"/>
                </a:lnTo>
                <a:lnTo>
                  <a:pt x="2738421" y="5965691"/>
                </a:lnTo>
                <a:lnTo>
                  <a:pt x="2766511" y="5977259"/>
                </a:lnTo>
                <a:lnTo>
                  <a:pt x="2782218" y="5982371"/>
                </a:lnTo>
                <a:lnTo>
                  <a:pt x="2814536" y="5992593"/>
                </a:lnTo>
                <a:lnTo>
                  <a:pt x="2874039" y="6016537"/>
                </a:lnTo>
                <a:lnTo>
                  <a:pt x="2927502" y="6045322"/>
                </a:lnTo>
                <a:lnTo>
                  <a:pt x="2975829" y="6078144"/>
                </a:lnTo>
                <a:lnTo>
                  <a:pt x="3018418" y="6115000"/>
                </a:lnTo>
                <a:lnTo>
                  <a:pt x="3029070" y="6126977"/>
                </a:lnTo>
                <a:lnTo>
                  <a:pt x="3045077" y="6127919"/>
                </a:lnTo>
                <a:lnTo>
                  <a:pt x="3121429" y="6135997"/>
                </a:lnTo>
                <a:lnTo>
                  <a:pt x="3194160" y="6147576"/>
                </a:lnTo>
                <a:lnTo>
                  <a:pt x="3265080" y="6161576"/>
                </a:lnTo>
                <a:lnTo>
                  <a:pt x="3336604" y="6178540"/>
                </a:lnTo>
                <a:lnTo>
                  <a:pt x="3447963" y="6208160"/>
                </a:lnTo>
                <a:lnTo>
                  <a:pt x="3530653" y="6231316"/>
                </a:lnTo>
                <a:lnTo>
                  <a:pt x="3552382" y="6237779"/>
                </a:lnTo>
                <a:lnTo>
                  <a:pt x="3602478" y="6258780"/>
                </a:lnTo>
                <a:lnTo>
                  <a:pt x="3686375" y="6301055"/>
                </a:lnTo>
                <a:lnTo>
                  <a:pt x="3775704" y="6347906"/>
                </a:lnTo>
                <a:lnTo>
                  <a:pt x="3834854" y="6375640"/>
                </a:lnTo>
                <a:lnTo>
                  <a:pt x="3877104" y="6392065"/>
                </a:lnTo>
                <a:lnTo>
                  <a:pt x="3904266" y="6400951"/>
                </a:lnTo>
                <a:lnTo>
                  <a:pt x="3929918" y="6406875"/>
                </a:lnTo>
                <a:lnTo>
                  <a:pt x="3954060" y="6409567"/>
                </a:lnTo>
                <a:lnTo>
                  <a:pt x="3965226" y="6409567"/>
                </a:lnTo>
                <a:lnTo>
                  <a:pt x="3950740" y="6416568"/>
                </a:lnTo>
                <a:lnTo>
                  <a:pt x="3922071" y="6425724"/>
                </a:lnTo>
                <a:lnTo>
                  <a:pt x="3892797" y="6428685"/>
                </a:lnTo>
                <a:lnTo>
                  <a:pt x="3863826" y="6427070"/>
                </a:lnTo>
                <a:lnTo>
                  <a:pt x="3834251" y="6420338"/>
                </a:lnTo>
                <a:lnTo>
                  <a:pt x="3804374" y="6410376"/>
                </a:lnTo>
                <a:lnTo>
                  <a:pt x="3758502" y="6389642"/>
                </a:lnTo>
                <a:lnTo>
                  <a:pt x="3664646" y="6336059"/>
                </a:lnTo>
                <a:lnTo>
                  <a:pt x="3581051" y="6289207"/>
                </a:lnTo>
                <a:lnTo>
                  <a:pt x="3546346" y="6272782"/>
                </a:lnTo>
                <a:lnTo>
                  <a:pt x="3510735" y="6258511"/>
                </a:lnTo>
                <a:lnTo>
                  <a:pt x="3473917" y="6246934"/>
                </a:lnTo>
                <a:lnTo>
                  <a:pt x="3455206" y="6242894"/>
                </a:lnTo>
                <a:lnTo>
                  <a:pt x="3403902" y="6232393"/>
                </a:lnTo>
                <a:lnTo>
                  <a:pt x="3297372" y="6210044"/>
                </a:lnTo>
                <a:lnTo>
                  <a:pt x="3208646" y="6194965"/>
                </a:lnTo>
                <a:lnTo>
                  <a:pt x="3143460" y="6186887"/>
                </a:lnTo>
                <a:lnTo>
                  <a:pt x="3071751" y="6180756"/>
                </a:lnTo>
                <a:lnTo>
                  <a:pt x="3086076" y="6201895"/>
                </a:lnTo>
                <a:lnTo>
                  <a:pt x="3111447" y="6251665"/>
                </a:lnTo>
                <a:lnTo>
                  <a:pt x="3121717" y="6278030"/>
                </a:lnTo>
                <a:lnTo>
                  <a:pt x="3128664" y="6295517"/>
                </a:lnTo>
                <a:lnTo>
                  <a:pt x="3146787" y="6329682"/>
                </a:lnTo>
                <a:lnTo>
                  <a:pt x="3155848" y="6346900"/>
                </a:lnTo>
                <a:lnTo>
                  <a:pt x="3162795" y="6360083"/>
                </a:lnTo>
                <a:lnTo>
                  <a:pt x="3178501" y="6385103"/>
                </a:lnTo>
                <a:lnTo>
                  <a:pt x="3196624" y="6409314"/>
                </a:lnTo>
                <a:lnTo>
                  <a:pt x="3215956" y="6431644"/>
                </a:lnTo>
                <a:lnTo>
                  <a:pt x="3238005" y="6452897"/>
                </a:lnTo>
                <a:lnTo>
                  <a:pt x="3261866" y="6472267"/>
                </a:lnTo>
                <a:lnTo>
                  <a:pt x="3288446" y="6490561"/>
                </a:lnTo>
                <a:lnTo>
                  <a:pt x="3317141" y="6506971"/>
                </a:lnTo>
                <a:lnTo>
                  <a:pt x="3332243" y="6514235"/>
                </a:lnTo>
                <a:lnTo>
                  <a:pt x="3376039" y="6534412"/>
                </a:lnTo>
                <a:lnTo>
                  <a:pt x="3465445" y="6571537"/>
                </a:lnTo>
                <a:lnTo>
                  <a:pt x="3510450" y="6589293"/>
                </a:lnTo>
                <a:lnTo>
                  <a:pt x="3564213" y="6609470"/>
                </a:lnTo>
                <a:lnTo>
                  <a:pt x="3672648" y="6648478"/>
                </a:lnTo>
                <a:lnTo>
                  <a:pt x="3727621" y="6666234"/>
                </a:lnTo>
                <a:lnTo>
                  <a:pt x="3741514" y="6670000"/>
                </a:lnTo>
                <a:lnTo>
                  <a:pt x="3770511" y="6676457"/>
                </a:lnTo>
                <a:lnTo>
                  <a:pt x="3814912" y="6682645"/>
                </a:lnTo>
                <a:lnTo>
                  <a:pt x="3844814" y="6684798"/>
                </a:lnTo>
                <a:lnTo>
                  <a:pt x="3883476" y="6685335"/>
                </a:lnTo>
                <a:lnTo>
                  <a:pt x="3941771" y="6683721"/>
                </a:lnTo>
                <a:lnTo>
                  <a:pt x="3980130" y="6683991"/>
                </a:lnTo>
                <a:lnTo>
                  <a:pt x="3999159" y="6685873"/>
                </a:lnTo>
                <a:lnTo>
                  <a:pt x="4036311" y="6690447"/>
                </a:lnTo>
                <a:lnTo>
                  <a:pt x="4118769" y="6698786"/>
                </a:lnTo>
                <a:lnTo>
                  <a:pt x="4183709" y="6701745"/>
                </a:lnTo>
                <a:lnTo>
                  <a:pt x="4227203" y="6701208"/>
                </a:lnTo>
                <a:lnTo>
                  <a:pt x="4269188" y="6697710"/>
                </a:lnTo>
                <a:lnTo>
                  <a:pt x="4309360" y="6690716"/>
                </a:lnTo>
                <a:lnTo>
                  <a:pt x="4328389" y="6685335"/>
                </a:lnTo>
                <a:lnTo>
                  <a:pt x="4307849" y="6694751"/>
                </a:lnTo>
                <a:lnTo>
                  <a:pt x="4261335" y="6711700"/>
                </a:lnTo>
                <a:lnTo>
                  <a:pt x="4233848" y="6718695"/>
                </a:lnTo>
                <a:lnTo>
                  <a:pt x="4224787" y="6718964"/>
                </a:lnTo>
                <a:lnTo>
                  <a:pt x="4169815" y="6717618"/>
                </a:lnTo>
                <a:lnTo>
                  <a:pt x="4058964" y="6711700"/>
                </a:lnTo>
                <a:lnTo>
                  <a:pt x="4003690" y="6709548"/>
                </a:lnTo>
                <a:lnTo>
                  <a:pt x="3916097" y="6708202"/>
                </a:lnTo>
                <a:lnTo>
                  <a:pt x="3828202" y="6709279"/>
                </a:lnTo>
                <a:lnTo>
                  <a:pt x="3826389" y="6715735"/>
                </a:lnTo>
                <a:lnTo>
                  <a:pt x="3823973" y="6722461"/>
                </a:lnTo>
                <a:lnTo>
                  <a:pt x="3907337" y="6756627"/>
                </a:lnTo>
                <a:lnTo>
                  <a:pt x="4074670" y="6824959"/>
                </a:lnTo>
                <a:lnTo>
                  <a:pt x="4156827" y="6861278"/>
                </a:lnTo>
                <a:lnTo>
                  <a:pt x="4177668" y="6870155"/>
                </a:lnTo>
                <a:lnTo>
                  <a:pt x="4219955" y="6885490"/>
                </a:lnTo>
                <a:lnTo>
                  <a:pt x="4262241" y="6897059"/>
                </a:lnTo>
                <a:lnTo>
                  <a:pt x="4305131" y="6905399"/>
                </a:lnTo>
                <a:lnTo>
                  <a:pt x="4348626" y="6910241"/>
                </a:lnTo>
                <a:lnTo>
                  <a:pt x="4393026" y="6911316"/>
                </a:lnTo>
                <a:lnTo>
                  <a:pt x="4437427" y="6909165"/>
                </a:lnTo>
                <a:lnTo>
                  <a:pt x="4483036" y="6903246"/>
                </a:lnTo>
                <a:lnTo>
                  <a:pt x="4505689" y="6899210"/>
                </a:lnTo>
                <a:lnTo>
                  <a:pt x="4518073" y="6897327"/>
                </a:lnTo>
                <a:lnTo>
                  <a:pt x="4530759" y="6896521"/>
                </a:lnTo>
                <a:lnTo>
                  <a:pt x="4532571" y="6902977"/>
                </a:lnTo>
                <a:lnTo>
                  <a:pt x="4534685" y="6909703"/>
                </a:lnTo>
                <a:lnTo>
                  <a:pt x="4496930" y="6916697"/>
                </a:lnTo>
                <a:lnTo>
                  <a:pt x="4441051" y="6927727"/>
                </a:lnTo>
                <a:lnTo>
                  <a:pt x="4403598" y="6933109"/>
                </a:lnTo>
                <a:lnTo>
                  <a:pt x="4384568" y="6934453"/>
                </a:lnTo>
                <a:lnTo>
                  <a:pt x="4352854" y="6934991"/>
                </a:lnTo>
                <a:lnTo>
                  <a:pt x="4290633" y="6933109"/>
                </a:lnTo>
                <a:lnTo>
                  <a:pt x="4230526" y="6926382"/>
                </a:lnTo>
                <a:lnTo>
                  <a:pt x="4171325" y="6915890"/>
                </a:lnTo>
                <a:lnTo>
                  <a:pt x="4113031" y="6901632"/>
                </a:lnTo>
                <a:lnTo>
                  <a:pt x="4056246" y="6884145"/>
                </a:lnTo>
                <a:lnTo>
                  <a:pt x="4000065" y="6864237"/>
                </a:lnTo>
                <a:lnTo>
                  <a:pt x="3945395" y="6841907"/>
                </a:lnTo>
                <a:lnTo>
                  <a:pt x="3917909" y="6830071"/>
                </a:lnTo>
                <a:lnTo>
                  <a:pt x="3824879" y="6787835"/>
                </a:lnTo>
                <a:lnTo>
                  <a:pt x="3732652" y="6745151"/>
                </a:lnTo>
                <a:lnTo>
                  <a:pt x="3733661" y="6744252"/>
                </a:lnTo>
                <a:lnTo>
                  <a:pt x="3732453" y="6745058"/>
                </a:lnTo>
                <a:lnTo>
                  <a:pt x="3731547" y="6746135"/>
                </a:lnTo>
                <a:lnTo>
                  <a:pt x="3732615" y="6745184"/>
                </a:lnTo>
                <a:lnTo>
                  <a:pt x="3752690" y="6760662"/>
                </a:lnTo>
                <a:lnTo>
                  <a:pt x="3791050" y="6793215"/>
                </a:lnTo>
                <a:lnTo>
                  <a:pt x="3829108" y="6826573"/>
                </a:lnTo>
                <a:lnTo>
                  <a:pt x="3867769" y="6859125"/>
                </a:lnTo>
                <a:lnTo>
                  <a:pt x="3888006" y="6874460"/>
                </a:lnTo>
                <a:lnTo>
                  <a:pt x="3865655" y="6864776"/>
                </a:lnTo>
                <a:lnTo>
                  <a:pt x="3822764" y="6842983"/>
                </a:lnTo>
                <a:lnTo>
                  <a:pt x="3782290" y="6820117"/>
                </a:lnTo>
                <a:lnTo>
                  <a:pt x="3743025" y="6794828"/>
                </a:lnTo>
                <a:lnTo>
                  <a:pt x="3724600" y="6781646"/>
                </a:lnTo>
                <a:lnTo>
                  <a:pt x="3706175" y="6768733"/>
                </a:lnTo>
                <a:lnTo>
                  <a:pt x="3669023" y="6743983"/>
                </a:lnTo>
                <a:lnTo>
                  <a:pt x="3611031" y="6709279"/>
                </a:lnTo>
                <a:lnTo>
                  <a:pt x="3530083" y="6667580"/>
                </a:lnTo>
                <a:lnTo>
                  <a:pt x="3445208" y="6630723"/>
                </a:lnTo>
                <a:lnTo>
                  <a:pt x="3400807" y="6614043"/>
                </a:lnTo>
                <a:lnTo>
                  <a:pt x="3374227" y="6603551"/>
                </a:lnTo>
                <a:lnTo>
                  <a:pt x="3322276" y="6579070"/>
                </a:lnTo>
                <a:lnTo>
                  <a:pt x="3246462" y="6538985"/>
                </a:lnTo>
                <a:lnTo>
                  <a:pt x="3196021" y="6512889"/>
                </a:lnTo>
                <a:lnTo>
                  <a:pt x="3188167" y="6509931"/>
                </a:lnTo>
                <a:lnTo>
                  <a:pt x="3177293" y="6507240"/>
                </a:lnTo>
                <a:lnTo>
                  <a:pt x="3188167" y="6545979"/>
                </a:lnTo>
                <a:lnTo>
                  <a:pt x="3212029" y="6622384"/>
                </a:lnTo>
                <a:lnTo>
                  <a:pt x="3249784" y="6735912"/>
                </a:lnTo>
                <a:lnTo>
                  <a:pt x="3284519" y="6848903"/>
                </a:lnTo>
                <a:lnTo>
                  <a:pt x="3303246" y="6923961"/>
                </a:lnTo>
                <a:lnTo>
                  <a:pt x="3317141" y="6999019"/>
                </a:lnTo>
                <a:lnTo>
                  <a:pt x="3322880" y="7055515"/>
                </a:lnTo>
                <a:lnTo>
                  <a:pt x="3324389" y="7093178"/>
                </a:lnTo>
                <a:lnTo>
                  <a:pt x="3324389" y="7112279"/>
                </a:lnTo>
                <a:lnTo>
                  <a:pt x="3369394" y="7121964"/>
                </a:lnTo>
                <a:lnTo>
                  <a:pt x="3432522" y="7134071"/>
                </a:lnTo>
                <a:lnTo>
                  <a:pt x="3460612" y="7142949"/>
                </a:lnTo>
                <a:lnTo>
                  <a:pt x="3477526" y="7150211"/>
                </a:lnTo>
                <a:lnTo>
                  <a:pt x="3485380" y="7154785"/>
                </a:lnTo>
                <a:lnTo>
                  <a:pt x="3498972" y="7162319"/>
                </a:lnTo>
                <a:lnTo>
                  <a:pt x="3527968" y="7175769"/>
                </a:lnTo>
                <a:lnTo>
                  <a:pt x="3558475" y="7186799"/>
                </a:lnTo>
                <a:lnTo>
                  <a:pt x="3590794" y="7195947"/>
                </a:lnTo>
                <a:lnTo>
                  <a:pt x="3623113" y="7202941"/>
                </a:lnTo>
                <a:lnTo>
                  <a:pt x="3656338" y="7207783"/>
                </a:lnTo>
                <a:lnTo>
                  <a:pt x="3706477" y="7212357"/>
                </a:lnTo>
                <a:lnTo>
                  <a:pt x="3772021" y="7212087"/>
                </a:lnTo>
                <a:lnTo>
                  <a:pt x="3832732" y="7206438"/>
                </a:lnTo>
                <a:lnTo>
                  <a:pt x="3885590" y="7196215"/>
                </a:lnTo>
                <a:lnTo>
                  <a:pt x="3918513" y="7186261"/>
                </a:lnTo>
                <a:lnTo>
                  <a:pt x="3936334" y="7178729"/>
                </a:lnTo>
                <a:lnTo>
                  <a:pt x="3943885" y="7174693"/>
                </a:lnTo>
                <a:lnTo>
                  <a:pt x="3947811" y="7175769"/>
                </a:lnTo>
                <a:lnTo>
                  <a:pt x="3951134" y="7179805"/>
                </a:lnTo>
                <a:lnTo>
                  <a:pt x="3951738" y="7183303"/>
                </a:lnTo>
                <a:lnTo>
                  <a:pt x="3950530" y="7185454"/>
                </a:lnTo>
                <a:lnTo>
                  <a:pt x="3945395" y="7188682"/>
                </a:lnTo>
                <a:lnTo>
                  <a:pt x="3926366" y="7196215"/>
                </a:lnTo>
                <a:lnTo>
                  <a:pt x="3915795" y="7201058"/>
                </a:lnTo>
                <a:lnTo>
                  <a:pt x="3913680" y="7203479"/>
                </a:lnTo>
                <a:lnTo>
                  <a:pt x="3981339" y="7195677"/>
                </a:lnTo>
                <a:lnTo>
                  <a:pt x="4129039" y="7175769"/>
                </a:lnTo>
                <a:lnTo>
                  <a:pt x="4192166" y="7168506"/>
                </a:lnTo>
                <a:lnTo>
                  <a:pt x="4192166" y="7170119"/>
                </a:lnTo>
                <a:lnTo>
                  <a:pt x="4187031" y="7176038"/>
                </a:lnTo>
                <a:lnTo>
                  <a:pt x="4177970" y="7183033"/>
                </a:lnTo>
                <a:lnTo>
                  <a:pt x="4165284" y="7188682"/>
                </a:lnTo>
                <a:lnTo>
                  <a:pt x="4158338" y="7190027"/>
                </a:lnTo>
                <a:lnTo>
                  <a:pt x="4044768" y="7211011"/>
                </a:lnTo>
                <a:lnTo>
                  <a:pt x="3933917" y="7231457"/>
                </a:lnTo>
                <a:lnTo>
                  <a:pt x="3945093" y="7234955"/>
                </a:lnTo>
                <a:lnTo>
                  <a:pt x="3957175" y="7238721"/>
                </a:lnTo>
                <a:lnTo>
                  <a:pt x="3634590" y="7238721"/>
                </a:lnTo>
                <a:lnTo>
                  <a:pt x="3775041" y="7360052"/>
                </a:lnTo>
                <a:lnTo>
                  <a:pt x="3919419" y="7484881"/>
                </a:lnTo>
                <a:lnTo>
                  <a:pt x="3927876" y="7491606"/>
                </a:lnTo>
                <a:lnTo>
                  <a:pt x="3945093" y="7504250"/>
                </a:lnTo>
                <a:lnTo>
                  <a:pt x="3962914" y="7514743"/>
                </a:lnTo>
                <a:lnTo>
                  <a:pt x="3982245" y="7523619"/>
                </a:lnTo>
                <a:lnTo>
                  <a:pt x="4012449" y="7534112"/>
                </a:lnTo>
                <a:lnTo>
                  <a:pt x="4056246" y="7542990"/>
                </a:lnTo>
                <a:lnTo>
                  <a:pt x="4079805" y="7544603"/>
                </a:lnTo>
                <a:lnTo>
                  <a:pt x="4303620" y="7556173"/>
                </a:lnTo>
                <a:lnTo>
                  <a:pt x="4528041" y="7567202"/>
                </a:lnTo>
                <a:lnTo>
                  <a:pt x="4528343" y="7569623"/>
                </a:lnTo>
                <a:lnTo>
                  <a:pt x="4528343" y="7572045"/>
                </a:lnTo>
                <a:lnTo>
                  <a:pt x="4175252" y="7572045"/>
                </a:lnTo>
                <a:lnTo>
                  <a:pt x="4266167" y="7621545"/>
                </a:lnTo>
                <a:lnTo>
                  <a:pt x="4351646" y="7668087"/>
                </a:lnTo>
                <a:lnTo>
                  <a:pt x="4363426" y="7674275"/>
                </a:lnTo>
                <a:lnTo>
                  <a:pt x="4388193" y="7685573"/>
                </a:lnTo>
                <a:lnTo>
                  <a:pt x="4413263" y="7694451"/>
                </a:lnTo>
                <a:lnTo>
                  <a:pt x="4438937" y="7701445"/>
                </a:lnTo>
                <a:lnTo>
                  <a:pt x="4465215" y="7706827"/>
                </a:lnTo>
                <a:lnTo>
                  <a:pt x="4492399" y="7709517"/>
                </a:lnTo>
                <a:lnTo>
                  <a:pt x="4520188" y="7709785"/>
                </a:lnTo>
                <a:lnTo>
                  <a:pt x="4548278" y="7708172"/>
                </a:lnTo>
                <a:lnTo>
                  <a:pt x="4562776" y="7706289"/>
                </a:lnTo>
                <a:lnTo>
                  <a:pt x="4585429" y="7702791"/>
                </a:lnTo>
                <a:lnTo>
                  <a:pt x="4631642" y="7697411"/>
                </a:lnTo>
                <a:lnTo>
                  <a:pt x="4654900" y="7696873"/>
                </a:lnTo>
                <a:lnTo>
                  <a:pt x="4663659" y="7697411"/>
                </a:lnTo>
                <a:lnTo>
                  <a:pt x="4673928" y="7699025"/>
                </a:lnTo>
                <a:close/>
                <a:moveTo>
                  <a:pt x="4772243" y="2114774"/>
                </a:moveTo>
                <a:lnTo>
                  <a:pt x="4702728" y="2107469"/>
                </a:lnTo>
                <a:lnTo>
                  <a:pt x="4615657" y="2101223"/>
                </a:lnTo>
                <a:lnTo>
                  <a:pt x="4580236" y="2100640"/>
                </a:lnTo>
                <a:lnTo>
                  <a:pt x="4544285" y="2102370"/>
                </a:lnTo>
                <a:lnTo>
                  <a:pt x="4508174" y="2106507"/>
                </a:lnTo>
                <a:lnTo>
                  <a:pt x="4489715" y="2109785"/>
                </a:lnTo>
                <a:lnTo>
                  <a:pt x="4542932" y="2163186"/>
                </a:lnTo>
                <a:lnTo>
                  <a:pt x="4647302" y="2260213"/>
                </a:lnTo>
                <a:lnTo>
                  <a:pt x="4724873" y="2330144"/>
                </a:lnTo>
                <a:lnTo>
                  <a:pt x="4744342" y="2350179"/>
                </a:lnTo>
                <a:lnTo>
                  <a:pt x="4745674" y="2352956"/>
                </a:lnTo>
                <a:lnTo>
                  <a:pt x="4738400" y="2350800"/>
                </a:lnTo>
                <a:lnTo>
                  <a:pt x="4725580" y="2343249"/>
                </a:lnTo>
                <a:lnTo>
                  <a:pt x="4698996" y="2326863"/>
                </a:lnTo>
                <a:lnTo>
                  <a:pt x="4647114" y="2292663"/>
                </a:lnTo>
                <a:lnTo>
                  <a:pt x="4596881" y="2256429"/>
                </a:lnTo>
                <a:lnTo>
                  <a:pt x="4549043" y="2218342"/>
                </a:lnTo>
                <a:lnTo>
                  <a:pt x="4525768" y="2198584"/>
                </a:lnTo>
                <a:lnTo>
                  <a:pt x="4502404" y="2179329"/>
                </a:lnTo>
                <a:lnTo>
                  <a:pt x="4453781" y="2145764"/>
                </a:lnTo>
                <a:lnTo>
                  <a:pt x="4415060" y="2124618"/>
                </a:lnTo>
                <a:lnTo>
                  <a:pt x="4388802" y="2112332"/>
                </a:lnTo>
                <a:lnTo>
                  <a:pt x="4361354" y="2101673"/>
                </a:lnTo>
                <a:lnTo>
                  <a:pt x="4333548" y="2092322"/>
                </a:lnTo>
                <a:lnTo>
                  <a:pt x="4304554" y="2084598"/>
                </a:lnTo>
                <a:lnTo>
                  <a:pt x="4275575" y="2078275"/>
                </a:lnTo>
                <a:lnTo>
                  <a:pt x="4245588" y="2073276"/>
                </a:lnTo>
                <a:lnTo>
                  <a:pt x="4214690" y="2069796"/>
                </a:lnTo>
                <a:lnTo>
                  <a:pt x="4167442" y="2067148"/>
                </a:lnTo>
                <a:lnTo>
                  <a:pt x="4102115" y="2068573"/>
                </a:lnTo>
                <a:lnTo>
                  <a:pt x="4067949" y="2071970"/>
                </a:lnTo>
                <a:lnTo>
                  <a:pt x="4033878" y="2075565"/>
                </a:lnTo>
                <a:lnTo>
                  <a:pt x="3999997" y="2079557"/>
                </a:lnTo>
                <a:lnTo>
                  <a:pt x="3944213" y="2086495"/>
                </a:lnTo>
                <a:lnTo>
                  <a:pt x="3860841" y="2094796"/>
                </a:lnTo>
                <a:lnTo>
                  <a:pt x="3805303" y="2098826"/>
                </a:lnTo>
                <a:lnTo>
                  <a:pt x="3750289" y="2099842"/>
                </a:lnTo>
                <a:lnTo>
                  <a:pt x="3695242" y="2098053"/>
                </a:lnTo>
                <a:lnTo>
                  <a:pt x="3640895" y="2092245"/>
                </a:lnTo>
                <a:lnTo>
                  <a:pt x="3586777" y="2082126"/>
                </a:lnTo>
                <a:lnTo>
                  <a:pt x="3559837" y="2075262"/>
                </a:lnTo>
                <a:lnTo>
                  <a:pt x="3558027" y="2079705"/>
                </a:lnTo>
                <a:lnTo>
                  <a:pt x="3555942" y="2084253"/>
                </a:lnTo>
                <a:lnTo>
                  <a:pt x="3564263" y="2088592"/>
                </a:lnTo>
                <a:lnTo>
                  <a:pt x="3581193" y="2097862"/>
                </a:lnTo>
                <a:lnTo>
                  <a:pt x="3590141" y="2100084"/>
                </a:lnTo>
                <a:lnTo>
                  <a:pt x="3608029" y="2103828"/>
                </a:lnTo>
                <a:lnTo>
                  <a:pt x="3642713" y="2113139"/>
                </a:lnTo>
                <a:lnTo>
                  <a:pt x="3675659" y="2124989"/>
                </a:lnTo>
                <a:lnTo>
                  <a:pt x="3707232" y="2138770"/>
                </a:lnTo>
                <a:lnTo>
                  <a:pt x="3751744" y="2162403"/>
                </a:lnTo>
                <a:lnTo>
                  <a:pt x="3807094" y="2199036"/>
                </a:lnTo>
                <a:lnTo>
                  <a:pt x="3833805" y="2218424"/>
                </a:lnTo>
                <a:lnTo>
                  <a:pt x="3858643" y="2236646"/>
                </a:lnTo>
                <a:lnTo>
                  <a:pt x="3911248" y="2268928"/>
                </a:lnTo>
                <a:lnTo>
                  <a:pt x="3953032" y="2289613"/>
                </a:lnTo>
                <a:lnTo>
                  <a:pt x="3982542" y="2301832"/>
                </a:lnTo>
                <a:lnTo>
                  <a:pt x="4012505" y="2312942"/>
                </a:lnTo>
                <a:lnTo>
                  <a:pt x="4043936" y="2322319"/>
                </a:lnTo>
                <a:lnTo>
                  <a:pt x="4059785" y="2326605"/>
                </a:lnTo>
                <a:lnTo>
                  <a:pt x="4079642" y="2331709"/>
                </a:lnTo>
                <a:lnTo>
                  <a:pt x="4116594" y="2344380"/>
                </a:lnTo>
                <a:lnTo>
                  <a:pt x="4149770" y="2360131"/>
                </a:lnTo>
                <a:lnTo>
                  <a:pt x="4178146" y="2378884"/>
                </a:lnTo>
                <a:lnTo>
                  <a:pt x="4202652" y="2400519"/>
                </a:lnTo>
                <a:lnTo>
                  <a:pt x="4222185" y="2426161"/>
                </a:lnTo>
                <a:lnTo>
                  <a:pt x="4237107" y="2455201"/>
                </a:lnTo>
                <a:lnTo>
                  <a:pt x="4246312" y="2488062"/>
                </a:lnTo>
                <a:lnTo>
                  <a:pt x="4248748" y="2506140"/>
                </a:lnTo>
                <a:lnTo>
                  <a:pt x="4251288" y="2525116"/>
                </a:lnTo>
                <a:lnTo>
                  <a:pt x="4256169" y="2553757"/>
                </a:lnTo>
                <a:lnTo>
                  <a:pt x="4256946" y="2573171"/>
                </a:lnTo>
                <a:lnTo>
                  <a:pt x="4255948" y="2583406"/>
                </a:lnTo>
                <a:lnTo>
                  <a:pt x="4242159" y="2539621"/>
                </a:lnTo>
                <a:lnTo>
                  <a:pt x="4229765" y="2496009"/>
                </a:lnTo>
                <a:lnTo>
                  <a:pt x="4226654" y="2484054"/>
                </a:lnTo>
                <a:lnTo>
                  <a:pt x="4218133" y="2462195"/>
                </a:lnTo>
                <a:lnTo>
                  <a:pt x="4207121" y="2441989"/>
                </a:lnTo>
                <a:lnTo>
                  <a:pt x="4193713" y="2423634"/>
                </a:lnTo>
                <a:lnTo>
                  <a:pt x="4177259" y="2407144"/>
                </a:lnTo>
                <a:lnTo>
                  <a:pt x="4158323" y="2393006"/>
                </a:lnTo>
                <a:lnTo>
                  <a:pt x="4136063" y="2380839"/>
                </a:lnTo>
                <a:lnTo>
                  <a:pt x="4111130" y="2370629"/>
                </a:lnTo>
                <a:lnTo>
                  <a:pt x="4097326" y="2366502"/>
                </a:lnTo>
                <a:lnTo>
                  <a:pt x="4066927" y="2357905"/>
                </a:lnTo>
                <a:lnTo>
                  <a:pt x="4006129" y="2340711"/>
                </a:lnTo>
                <a:lnTo>
                  <a:pt x="3976364" y="2330700"/>
                </a:lnTo>
                <a:lnTo>
                  <a:pt x="3953780" y="2322644"/>
                </a:lnTo>
                <a:lnTo>
                  <a:pt x="3909505" y="2303614"/>
                </a:lnTo>
                <a:lnTo>
                  <a:pt x="3887364" y="2293748"/>
                </a:lnTo>
                <a:lnTo>
                  <a:pt x="3899598" y="2323343"/>
                </a:lnTo>
                <a:lnTo>
                  <a:pt x="3912230" y="2355133"/>
                </a:lnTo>
                <a:lnTo>
                  <a:pt x="3899631" y="2334358"/>
                </a:lnTo>
                <a:lnTo>
                  <a:pt x="3871871" y="2296365"/>
                </a:lnTo>
                <a:lnTo>
                  <a:pt x="3839876" y="2261863"/>
                </a:lnTo>
                <a:lnTo>
                  <a:pt x="3803740" y="2231051"/>
                </a:lnTo>
                <a:lnTo>
                  <a:pt x="3764669" y="2203701"/>
                </a:lnTo>
                <a:lnTo>
                  <a:pt x="3721450" y="2179341"/>
                </a:lnTo>
                <a:lnTo>
                  <a:pt x="3675478" y="2158141"/>
                </a:lnTo>
                <a:lnTo>
                  <a:pt x="3626190" y="2139612"/>
                </a:lnTo>
                <a:lnTo>
                  <a:pt x="3600257" y="2131426"/>
                </a:lnTo>
                <a:lnTo>
                  <a:pt x="3578053" y="2124165"/>
                </a:lnTo>
                <a:lnTo>
                  <a:pt x="3534898" y="2105411"/>
                </a:lnTo>
                <a:lnTo>
                  <a:pt x="3514882" y="2094499"/>
                </a:lnTo>
                <a:lnTo>
                  <a:pt x="3488322" y="2080217"/>
                </a:lnTo>
                <a:lnTo>
                  <a:pt x="3448340" y="2062601"/>
                </a:lnTo>
                <a:lnTo>
                  <a:pt x="3420899" y="2052642"/>
                </a:lnTo>
                <a:lnTo>
                  <a:pt x="3393388" y="2044587"/>
                </a:lnTo>
                <a:lnTo>
                  <a:pt x="3365519" y="2037842"/>
                </a:lnTo>
                <a:lnTo>
                  <a:pt x="3337484" y="2032802"/>
                </a:lnTo>
                <a:lnTo>
                  <a:pt x="3309005" y="2029574"/>
                </a:lnTo>
                <a:lnTo>
                  <a:pt x="3280074" y="2027457"/>
                </a:lnTo>
                <a:lnTo>
                  <a:pt x="3250794" y="2027349"/>
                </a:lnTo>
                <a:lnTo>
                  <a:pt x="3221807" y="2028537"/>
                </a:lnTo>
                <a:lnTo>
                  <a:pt x="3191908" y="2031247"/>
                </a:lnTo>
                <a:lnTo>
                  <a:pt x="3147089" y="2037764"/>
                </a:lnTo>
                <a:lnTo>
                  <a:pt x="3086181" y="2051818"/>
                </a:lnTo>
                <a:lnTo>
                  <a:pt x="3054967" y="2061363"/>
                </a:lnTo>
                <a:lnTo>
                  <a:pt x="2994496" y="2081116"/>
                </a:lnTo>
                <a:lnTo>
                  <a:pt x="2921341" y="2105233"/>
                </a:lnTo>
                <a:lnTo>
                  <a:pt x="2943531" y="2127515"/>
                </a:lnTo>
                <a:lnTo>
                  <a:pt x="2973344" y="2158156"/>
                </a:lnTo>
                <a:lnTo>
                  <a:pt x="2993716" y="2175970"/>
                </a:lnTo>
                <a:lnTo>
                  <a:pt x="3004767" y="2183257"/>
                </a:lnTo>
                <a:lnTo>
                  <a:pt x="3044545" y="2207287"/>
                </a:lnTo>
                <a:lnTo>
                  <a:pt x="3105708" y="2240296"/>
                </a:lnTo>
                <a:lnTo>
                  <a:pt x="3147856" y="2260372"/>
                </a:lnTo>
                <a:lnTo>
                  <a:pt x="3191099" y="2278623"/>
                </a:lnTo>
                <a:lnTo>
                  <a:pt x="3235992" y="2294836"/>
                </a:lnTo>
                <a:lnTo>
                  <a:pt x="3282067" y="2308724"/>
                </a:lnTo>
                <a:lnTo>
                  <a:pt x="3329966" y="2319570"/>
                </a:lnTo>
                <a:lnTo>
                  <a:pt x="3354740" y="2323975"/>
                </a:lnTo>
                <a:lnTo>
                  <a:pt x="3371320" y="2327044"/>
                </a:lnTo>
                <a:lnTo>
                  <a:pt x="3403194" y="2334610"/>
                </a:lnTo>
                <a:lnTo>
                  <a:pt x="3433420" y="2344212"/>
                </a:lnTo>
                <a:lnTo>
                  <a:pt x="3461526" y="2355559"/>
                </a:lnTo>
                <a:lnTo>
                  <a:pt x="3488538" y="2368731"/>
                </a:lnTo>
                <a:lnTo>
                  <a:pt x="3513805" y="2383740"/>
                </a:lnTo>
                <a:lnTo>
                  <a:pt x="3538533" y="2400364"/>
                </a:lnTo>
                <a:lnTo>
                  <a:pt x="3561984" y="2419117"/>
                </a:lnTo>
                <a:lnTo>
                  <a:pt x="3573621" y="2428995"/>
                </a:lnTo>
                <a:lnTo>
                  <a:pt x="3594367" y="2446902"/>
                </a:lnTo>
                <a:lnTo>
                  <a:pt x="3640284" y="2479620"/>
                </a:lnTo>
                <a:lnTo>
                  <a:pt x="3689065" y="2510777"/>
                </a:lnTo>
                <a:lnTo>
                  <a:pt x="3736822" y="2541856"/>
                </a:lnTo>
                <a:lnTo>
                  <a:pt x="3759503" y="2558320"/>
                </a:lnTo>
                <a:lnTo>
                  <a:pt x="3777408" y="2571677"/>
                </a:lnTo>
                <a:lnTo>
                  <a:pt x="3810997" y="2599237"/>
                </a:lnTo>
                <a:lnTo>
                  <a:pt x="3859358" y="2642521"/>
                </a:lnTo>
                <a:lnTo>
                  <a:pt x="3890552" y="2671931"/>
                </a:lnTo>
                <a:lnTo>
                  <a:pt x="3892909" y="2674787"/>
                </a:lnTo>
                <a:lnTo>
                  <a:pt x="3892727" y="2683304"/>
                </a:lnTo>
                <a:lnTo>
                  <a:pt x="3890244" y="2693869"/>
                </a:lnTo>
                <a:lnTo>
                  <a:pt x="3888595" y="2704119"/>
                </a:lnTo>
                <a:lnTo>
                  <a:pt x="3889484" y="2708707"/>
                </a:lnTo>
                <a:lnTo>
                  <a:pt x="3895569" y="2728913"/>
                </a:lnTo>
                <a:lnTo>
                  <a:pt x="3901346" y="2762844"/>
                </a:lnTo>
                <a:lnTo>
                  <a:pt x="3901252" y="2779071"/>
                </a:lnTo>
                <a:lnTo>
                  <a:pt x="3899269" y="2784519"/>
                </a:lnTo>
                <a:lnTo>
                  <a:pt x="3895739" y="2784690"/>
                </a:lnTo>
                <a:lnTo>
                  <a:pt x="3890837" y="2778582"/>
                </a:lnTo>
                <a:lnTo>
                  <a:pt x="3887520" y="2773040"/>
                </a:lnTo>
                <a:lnTo>
                  <a:pt x="3880744" y="2757555"/>
                </a:lnTo>
                <a:lnTo>
                  <a:pt x="3871731" y="2725089"/>
                </a:lnTo>
                <a:lnTo>
                  <a:pt x="3868200" y="2708838"/>
                </a:lnTo>
                <a:lnTo>
                  <a:pt x="3865574" y="2698576"/>
                </a:lnTo>
                <a:lnTo>
                  <a:pt x="3858385" y="2679494"/>
                </a:lnTo>
                <a:lnTo>
                  <a:pt x="3849348" y="2661350"/>
                </a:lnTo>
                <a:lnTo>
                  <a:pt x="3838004" y="2644556"/>
                </a:lnTo>
                <a:lnTo>
                  <a:pt x="3824168" y="2629414"/>
                </a:lnTo>
                <a:lnTo>
                  <a:pt x="3808856" y="2615304"/>
                </a:lnTo>
                <a:lnTo>
                  <a:pt x="3791792" y="2602330"/>
                </a:lnTo>
                <a:lnTo>
                  <a:pt x="3772324" y="2590507"/>
                </a:lnTo>
                <a:lnTo>
                  <a:pt x="3762226" y="2585204"/>
                </a:lnTo>
                <a:lnTo>
                  <a:pt x="3687250" y="2547367"/>
                </a:lnTo>
                <a:lnTo>
                  <a:pt x="3607507" y="2507124"/>
                </a:lnTo>
                <a:lnTo>
                  <a:pt x="3718803" y="2739006"/>
                </a:lnTo>
                <a:lnTo>
                  <a:pt x="3716304" y="2739959"/>
                </a:lnTo>
                <a:lnTo>
                  <a:pt x="3713710" y="2740712"/>
                </a:lnTo>
                <a:lnTo>
                  <a:pt x="3631589" y="2597667"/>
                </a:lnTo>
                <a:lnTo>
                  <a:pt x="3549103" y="2455230"/>
                </a:lnTo>
                <a:lnTo>
                  <a:pt x="3540010" y="2440393"/>
                </a:lnTo>
                <a:lnTo>
                  <a:pt x="3517043" y="2415121"/>
                </a:lnTo>
                <a:lnTo>
                  <a:pt x="3496695" y="2399410"/>
                </a:lnTo>
                <a:lnTo>
                  <a:pt x="3481440" y="2390206"/>
                </a:lnTo>
                <a:lnTo>
                  <a:pt x="3464995" y="2382628"/>
                </a:lnTo>
                <a:lnTo>
                  <a:pt x="3446518" y="2376292"/>
                </a:lnTo>
                <a:lnTo>
                  <a:pt x="3436912" y="2373384"/>
                </a:lnTo>
                <a:lnTo>
                  <a:pt x="3262577" y="2327646"/>
                </a:lnTo>
                <a:lnTo>
                  <a:pt x="3093090" y="2283113"/>
                </a:lnTo>
                <a:lnTo>
                  <a:pt x="3194769" y="2494962"/>
                </a:lnTo>
                <a:lnTo>
                  <a:pt x="3187075" y="2488509"/>
                </a:lnTo>
                <a:lnTo>
                  <a:pt x="3179942" y="2482545"/>
                </a:lnTo>
                <a:lnTo>
                  <a:pt x="3193782" y="2563381"/>
                </a:lnTo>
                <a:lnTo>
                  <a:pt x="3207924" y="2646215"/>
                </a:lnTo>
                <a:lnTo>
                  <a:pt x="3208725" y="2651306"/>
                </a:lnTo>
                <a:lnTo>
                  <a:pt x="3206893" y="2661859"/>
                </a:lnTo>
                <a:lnTo>
                  <a:pt x="3202531" y="2670559"/>
                </a:lnTo>
                <a:lnTo>
                  <a:pt x="3198041" y="2676258"/>
                </a:lnTo>
                <a:lnTo>
                  <a:pt x="3196375" y="2676894"/>
                </a:lnTo>
                <a:lnTo>
                  <a:pt x="3183974" y="2632581"/>
                </a:lnTo>
                <a:lnTo>
                  <a:pt x="3157963" y="2527755"/>
                </a:lnTo>
                <a:lnTo>
                  <a:pt x="3144689" y="2480255"/>
                </a:lnTo>
                <a:lnTo>
                  <a:pt x="3142857" y="2482595"/>
                </a:lnTo>
                <a:lnTo>
                  <a:pt x="3141191" y="2491441"/>
                </a:lnTo>
                <a:lnTo>
                  <a:pt x="3139415" y="2506900"/>
                </a:lnTo>
                <a:lnTo>
                  <a:pt x="3137702" y="2511542"/>
                </a:lnTo>
                <a:lnTo>
                  <a:pt x="3135861" y="2513181"/>
                </a:lnTo>
                <a:lnTo>
                  <a:pt x="3132062" y="2514159"/>
                </a:lnTo>
                <a:lnTo>
                  <a:pt x="3126850" y="2513564"/>
                </a:lnTo>
                <a:lnTo>
                  <a:pt x="3124502" y="2511409"/>
                </a:lnTo>
                <a:lnTo>
                  <a:pt x="3126286" y="2504863"/>
                </a:lnTo>
                <a:lnTo>
                  <a:pt x="3128442" y="2490199"/>
                </a:lnTo>
                <a:lnTo>
                  <a:pt x="3128338" y="2464663"/>
                </a:lnTo>
                <a:lnTo>
                  <a:pt x="3122228" y="2425930"/>
                </a:lnTo>
                <a:lnTo>
                  <a:pt x="3108921" y="2383840"/>
                </a:lnTo>
                <a:lnTo>
                  <a:pt x="3088540" y="2340689"/>
                </a:lnTo>
                <a:lnTo>
                  <a:pt x="3068015" y="2309559"/>
                </a:lnTo>
                <a:lnTo>
                  <a:pt x="3052546" y="2289644"/>
                </a:lnTo>
                <a:lnTo>
                  <a:pt x="3035140" y="2271169"/>
                </a:lnTo>
                <a:lnTo>
                  <a:pt x="3015513" y="2253541"/>
                </a:lnTo>
                <a:lnTo>
                  <a:pt x="2994514" y="2237844"/>
                </a:lnTo>
                <a:lnTo>
                  <a:pt x="2971492" y="2224089"/>
                </a:lnTo>
                <a:lnTo>
                  <a:pt x="2959433" y="2218125"/>
                </a:lnTo>
                <a:lnTo>
                  <a:pt x="2952238" y="2214766"/>
                </a:lnTo>
                <a:lnTo>
                  <a:pt x="2939411" y="2206513"/>
                </a:lnTo>
                <a:lnTo>
                  <a:pt x="2921394" y="2191556"/>
                </a:lnTo>
                <a:lnTo>
                  <a:pt x="2889002" y="2154859"/>
                </a:lnTo>
                <a:lnTo>
                  <a:pt x="2864821" y="2129111"/>
                </a:lnTo>
                <a:lnTo>
                  <a:pt x="2845108" y="2136621"/>
                </a:lnTo>
                <a:lnTo>
                  <a:pt x="2807489" y="2149832"/>
                </a:lnTo>
                <a:lnTo>
                  <a:pt x="2807662" y="2170502"/>
                </a:lnTo>
                <a:lnTo>
                  <a:pt x="2810985" y="2242332"/>
                </a:lnTo>
                <a:lnTo>
                  <a:pt x="2812495" y="2261971"/>
                </a:lnTo>
                <a:lnTo>
                  <a:pt x="2818234" y="2301518"/>
                </a:lnTo>
                <a:lnTo>
                  <a:pt x="2830618" y="2360434"/>
                </a:lnTo>
                <a:lnTo>
                  <a:pt x="2837404" y="2396215"/>
                </a:lnTo>
                <a:lnTo>
                  <a:pt x="2837404" y="2805544"/>
                </a:lnTo>
                <a:lnTo>
                  <a:pt x="2812495" y="2861091"/>
                </a:lnTo>
                <a:lnTo>
                  <a:pt x="2760543" y="2967625"/>
                </a:lnTo>
                <a:lnTo>
                  <a:pt x="2718257" y="3043490"/>
                </a:lnTo>
                <a:lnTo>
                  <a:pt x="2706982" y="3061919"/>
                </a:lnTo>
                <a:lnTo>
                  <a:pt x="2697247" y="3058464"/>
                </a:lnTo>
                <a:cubicBezTo>
                  <a:pt x="2658311" y="3049357"/>
                  <a:pt x="2618686" y="3042412"/>
                  <a:pt x="2578473" y="3037743"/>
                </a:cubicBezTo>
                <a:lnTo>
                  <a:pt x="2573886" y="3037478"/>
                </a:lnTo>
                <a:lnTo>
                  <a:pt x="2575087" y="3036765"/>
                </a:lnTo>
                <a:lnTo>
                  <a:pt x="2590492" y="3024928"/>
                </a:lnTo>
                <a:lnTo>
                  <a:pt x="2602272" y="3012015"/>
                </a:lnTo>
                <a:lnTo>
                  <a:pt x="2606500" y="3005289"/>
                </a:lnTo>
                <a:lnTo>
                  <a:pt x="2625831" y="2970585"/>
                </a:lnTo>
                <a:lnTo>
                  <a:pt x="2660868" y="2901176"/>
                </a:lnTo>
                <a:lnTo>
                  <a:pt x="2692281" y="2831498"/>
                </a:lnTo>
                <a:lnTo>
                  <a:pt x="2718559" y="2760744"/>
                </a:lnTo>
                <a:lnTo>
                  <a:pt x="2738796" y="2688915"/>
                </a:lnTo>
                <a:lnTo>
                  <a:pt x="2752086" y="2616009"/>
                </a:lnTo>
                <a:lnTo>
                  <a:pt x="2757221" y="2560320"/>
                </a:lnTo>
                <a:lnTo>
                  <a:pt x="2758127" y="2522926"/>
                </a:lnTo>
                <a:lnTo>
                  <a:pt x="2756616" y="2484994"/>
                </a:lnTo>
                <a:lnTo>
                  <a:pt x="2752993" y="2446523"/>
                </a:lnTo>
                <a:lnTo>
                  <a:pt x="2750274" y="2427422"/>
                </a:lnTo>
                <a:lnTo>
                  <a:pt x="2742723" y="2377921"/>
                </a:lnTo>
                <a:lnTo>
                  <a:pt x="2731547" y="2278382"/>
                </a:lnTo>
                <a:lnTo>
                  <a:pt x="2723090" y="2178842"/>
                </a:lnTo>
                <a:lnTo>
                  <a:pt x="2717653" y="2079033"/>
                </a:lnTo>
                <a:lnTo>
                  <a:pt x="2715840" y="2029263"/>
                </a:lnTo>
                <a:lnTo>
                  <a:pt x="2715236" y="2009355"/>
                </a:lnTo>
                <a:lnTo>
                  <a:pt x="2718559" y="1970616"/>
                </a:lnTo>
                <a:lnTo>
                  <a:pt x="2727016" y="1933760"/>
                </a:lnTo>
                <a:lnTo>
                  <a:pt x="2740910" y="1898517"/>
                </a:lnTo>
                <a:lnTo>
                  <a:pt x="2759939" y="1864889"/>
                </a:lnTo>
                <a:lnTo>
                  <a:pt x="2784707" y="1833681"/>
                </a:lnTo>
                <a:lnTo>
                  <a:pt x="2815214" y="1804358"/>
                </a:lnTo>
                <a:lnTo>
                  <a:pt x="2851761" y="1776648"/>
                </a:lnTo>
                <a:lnTo>
                  <a:pt x="2872300" y="1764272"/>
                </a:lnTo>
                <a:lnTo>
                  <a:pt x="2885288" y="1756202"/>
                </a:lnTo>
                <a:lnTo>
                  <a:pt x="2909150" y="1737640"/>
                </a:lnTo>
                <a:lnTo>
                  <a:pt x="2942375" y="1707239"/>
                </a:lnTo>
                <a:lnTo>
                  <a:pt x="2964726" y="1687062"/>
                </a:lnTo>
                <a:lnTo>
                  <a:pt x="2971371" y="1680875"/>
                </a:lnTo>
                <a:lnTo>
                  <a:pt x="2978318" y="1668230"/>
                </a:lnTo>
                <a:lnTo>
                  <a:pt x="2979224" y="1655048"/>
                </a:lnTo>
                <a:lnTo>
                  <a:pt x="2974996" y="1639983"/>
                </a:lnTo>
                <a:lnTo>
                  <a:pt x="2971069" y="1631912"/>
                </a:lnTo>
                <a:lnTo>
                  <a:pt x="2930293" y="1546900"/>
                </a:lnTo>
                <a:lnTo>
                  <a:pt x="2852365" y="1375799"/>
                </a:lnTo>
                <a:lnTo>
                  <a:pt x="2813704" y="1290249"/>
                </a:lnTo>
                <a:lnTo>
                  <a:pt x="2818838" y="1288634"/>
                </a:lnTo>
                <a:lnTo>
                  <a:pt x="2823973" y="1286751"/>
                </a:lnTo>
                <a:lnTo>
                  <a:pt x="2851157" y="1331679"/>
                </a:lnTo>
                <a:lnTo>
                  <a:pt x="2878945" y="1376338"/>
                </a:lnTo>
                <a:lnTo>
                  <a:pt x="2882570" y="1347821"/>
                </a:lnTo>
                <a:lnTo>
                  <a:pt x="2887100" y="1291056"/>
                </a:lnTo>
                <a:lnTo>
                  <a:pt x="2889215" y="1234830"/>
                </a:lnTo>
                <a:lnTo>
                  <a:pt x="2889215" y="1179410"/>
                </a:lnTo>
                <a:lnTo>
                  <a:pt x="2888006" y="1151432"/>
                </a:lnTo>
                <a:lnTo>
                  <a:pt x="2885288" y="1096820"/>
                </a:lnTo>
                <a:lnTo>
                  <a:pt x="2875019" y="987057"/>
                </a:lnTo>
                <a:lnTo>
                  <a:pt x="2870488" y="932175"/>
                </a:lnTo>
                <a:lnTo>
                  <a:pt x="2875925" y="945089"/>
                </a:lnTo>
                <a:lnTo>
                  <a:pt x="2885288" y="971991"/>
                </a:lnTo>
                <a:lnTo>
                  <a:pt x="2892839" y="998894"/>
                </a:lnTo>
                <a:lnTo>
                  <a:pt x="2897672" y="1026065"/>
                </a:lnTo>
                <a:lnTo>
                  <a:pt x="2899485" y="1039517"/>
                </a:lnTo>
                <a:lnTo>
                  <a:pt x="2907639" y="1126681"/>
                </a:lnTo>
                <a:lnTo>
                  <a:pt x="2922440" y="1301548"/>
                </a:lnTo>
                <a:lnTo>
                  <a:pt x="2931501" y="1388713"/>
                </a:lnTo>
                <a:lnTo>
                  <a:pt x="2935428" y="1418036"/>
                </a:lnTo>
                <a:lnTo>
                  <a:pt x="2944489" y="1460811"/>
                </a:lnTo>
                <a:lnTo>
                  <a:pt x="2952644" y="1489328"/>
                </a:lnTo>
                <a:lnTo>
                  <a:pt x="2962914" y="1518114"/>
                </a:lnTo>
                <a:lnTo>
                  <a:pt x="2975600" y="1545824"/>
                </a:lnTo>
                <a:lnTo>
                  <a:pt x="2990702" y="1573802"/>
                </a:lnTo>
                <a:lnTo>
                  <a:pt x="3009127" y="1601243"/>
                </a:lnTo>
                <a:lnTo>
                  <a:pt x="3019094" y="1614963"/>
                </a:lnTo>
                <a:lnTo>
                  <a:pt x="3043560" y="1567077"/>
                </a:lnTo>
                <a:lnTo>
                  <a:pt x="3066516" y="1524571"/>
                </a:lnTo>
                <a:lnTo>
                  <a:pt x="3080711" y="1500089"/>
                </a:lnTo>
                <a:lnTo>
                  <a:pt x="3105177" y="1450320"/>
                </a:lnTo>
                <a:lnTo>
                  <a:pt x="3125414" y="1400012"/>
                </a:lnTo>
                <a:lnTo>
                  <a:pt x="3140818" y="1348896"/>
                </a:lnTo>
                <a:lnTo>
                  <a:pt x="3152599" y="1297244"/>
                </a:lnTo>
                <a:lnTo>
                  <a:pt x="3159848" y="1245321"/>
                </a:lnTo>
                <a:lnTo>
                  <a:pt x="3162868" y="1192323"/>
                </a:lnTo>
                <a:lnTo>
                  <a:pt x="3161659" y="1139057"/>
                </a:lnTo>
                <a:lnTo>
                  <a:pt x="3159244" y="1111885"/>
                </a:lnTo>
                <a:lnTo>
                  <a:pt x="3156223" y="1082830"/>
                </a:lnTo>
                <a:lnTo>
                  <a:pt x="3144745" y="1026334"/>
                </a:lnTo>
                <a:lnTo>
                  <a:pt x="3128133" y="972260"/>
                </a:lnTo>
                <a:lnTo>
                  <a:pt x="3104875" y="921145"/>
                </a:lnTo>
                <a:lnTo>
                  <a:pt x="3082524" y="884288"/>
                </a:lnTo>
                <a:lnTo>
                  <a:pt x="3065911" y="861153"/>
                </a:lnTo>
                <a:lnTo>
                  <a:pt x="3046883" y="838285"/>
                </a:lnTo>
                <a:lnTo>
                  <a:pt x="3026344" y="816494"/>
                </a:lnTo>
                <a:lnTo>
                  <a:pt x="3003388" y="795510"/>
                </a:lnTo>
                <a:lnTo>
                  <a:pt x="2978318" y="775333"/>
                </a:lnTo>
                <a:lnTo>
                  <a:pt x="2951738" y="755694"/>
                </a:lnTo>
                <a:lnTo>
                  <a:pt x="2922440" y="737131"/>
                </a:lnTo>
                <a:lnTo>
                  <a:pt x="2906733" y="728253"/>
                </a:lnTo>
                <a:lnTo>
                  <a:pt x="2888308" y="716955"/>
                </a:lnTo>
                <a:lnTo>
                  <a:pt x="2844210" y="685747"/>
                </a:lnTo>
                <a:lnTo>
                  <a:pt x="2774438" y="631942"/>
                </a:lnTo>
                <a:lnTo>
                  <a:pt x="2736984" y="605577"/>
                </a:lnTo>
                <a:lnTo>
                  <a:pt x="2705873" y="585132"/>
                </a:lnTo>
                <a:lnTo>
                  <a:pt x="2649088" y="550966"/>
                </a:lnTo>
                <a:lnTo>
                  <a:pt x="2576900" y="510612"/>
                </a:lnTo>
                <a:lnTo>
                  <a:pt x="2511960" y="477790"/>
                </a:lnTo>
                <a:lnTo>
                  <a:pt x="2489911" y="467030"/>
                </a:lnTo>
                <a:lnTo>
                  <a:pt x="2487796" y="464877"/>
                </a:lnTo>
                <a:lnTo>
                  <a:pt x="2491723" y="465684"/>
                </a:lnTo>
                <a:lnTo>
                  <a:pt x="2509846" y="469720"/>
                </a:lnTo>
                <a:lnTo>
                  <a:pt x="2553642" y="486130"/>
                </a:lnTo>
                <a:lnTo>
                  <a:pt x="2604989" y="509535"/>
                </a:lnTo>
                <a:lnTo>
                  <a:pt x="2659660" y="537514"/>
                </a:lnTo>
                <a:lnTo>
                  <a:pt x="2742421" y="583518"/>
                </a:lnTo>
                <a:lnTo>
                  <a:pt x="2835149" y="638668"/>
                </a:lnTo>
                <a:lnTo>
                  <a:pt x="2864145" y="656424"/>
                </a:lnTo>
                <a:lnTo>
                  <a:pt x="2875019" y="616339"/>
                </a:lnTo>
                <a:lnTo>
                  <a:pt x="2883778" y="583249"/>
                </a:lnTo>
                <a:lnTo>
                  <a:pt x="2897672" y="587284"/>
                </a:lnTo>
                <a:lnTo>
                  <a:pt x="2910650" y="590802"/>
                </a:lnTo>
                <a:lnTo>
                  <a:pt x="2905223" y="602080"/>
                </a:lnTo>
                <a:lnTo>
                  <a:pt x="2898880" y="623872"/>
                </a:lnTo>
                <a:lnTo>
                  <a:pt x="2897370" y="644587"/>
                </a:lnTo>
                <a:lnTo>
                  <a:pt x="2900995" y="663687"/>
                </a:lnTo>
                <a:lnTo>
                  <a:pt x="2909150" y="681711"/>
                </a:lnTo>
                <a:lnTo>
                  <a:pt x="2921836" y="698661"/>
                </a:lnTo>
                <a:lnTo>
                  <a:pt x="2938146" y="714533"/>
                </a:lnTo>
                <a:lnTo>
                  <a:pt x="2958987" y="729330"/>
                </a:lnTo>
                <a:lnTo>
                  <a:pt x="2970767" y="736594"/>
                </a:lnTo>
                <a:lnTo>
                  <a:pt x="2996139" y="753542"/>
                </a:lnTo>
                <a:lnTo>
                  <a:pt x="3020000" y="772912"/>
                </a:lnTo>
                <a:lnTo>
                  <a:pt x="3036009" y="785287"/>
                </a:lnTo>
                <a:lnTo>
                  <a:pt x="3066213" y="811652"/>
                </a:lnTo>
                <a:lnTo>
                  <a:pt x="3092794" y="839092"/>
                </a:lnTo>
                <a:lnTo>
                  <a:pt x="3116353" y="868146"/>
                </a:lnTo>
                <a:lnTo>
                  <a:pt x="3136590" y="898278"/>
                </a:lnTo>
                <a:lnTo>
                  <a:pt x="3153505" y="930023"/>
                </a:lnTo>
                <a:lnTo>
                  <a:pt x="3167096" y="963113"/>
                </a:lnTo>
                <a:lnTo>
                  <a:pt x="3177366" y="997818"/>
                </a:lnTo>
                <a:lnTo>
                  <a:pt x="3181293" y="1015574"/>
                </a:lnTo>
                <a:lnTo>
                  <a:pt x="3185219" y="1028756"/>
                </a:lnTo>
                <a:lnTo>
                  <a:pt x="3190958" y="1041400"/>
                </a:lnTo>
                <a:lnTo>
                  <a:pt x="3190354" y="992975"/>
                </a:lnTo>
                <a:lnTo>
                  <a:pt x="3193677" y="899623"/>
                </a:lnTo>
                <a:lnTo>
                  <a:pt x="3202738" y="811921"/>
                </a:lnTo>
                <a:lnTo>
                  <a:pt x="3217236" y="730674"/>
                </a:lnTo>
                <a:lnTo>
                  <a:pt x="3237171" y="655885"/>
                </a:lnTo>
                <a:lnTo>
                  <a:pt x="3255898" y="605040"/>
                </a:lnTo>
                <a:lnTo>
                  <a:pt x="3270094" y="573294"/>
                </a:lnTo>
                <a:lnTo>
                  <a:pt x="3285499" y="543970"/>
                </a:lnTo>
                <a:lnTo>
                  <a:pt x="3302111" y="516531"/>
                </a:lnTo>
                <a:lnTo>
                  <a:pt x="3320234" y="491780"/>
                </a:lnTo>
                <a:lnTo>
                  <a:pt x="3339564" y="468643"/>
                </a:lnTo>
                <a:lnTo>
                  <a:pt x="3349532" y="458690"/>
                </a:lnTo>
                <a:lnTo>
                  <a:pt x="3300601" y="564685"/>
                </a:lnTo>
                <a:lnTo>
                  <a:pt x="3255294" y="662880"/>
                </a:lnTo>
                <a:lnTo>
                  <a:pt x="3261033" y="665032"/>
                </a:lnTo>
                <a:lnTo>
                  <a:pt x="3267073" y="667185"/>
                </a:lnTo>
                <a:lnTo>
                  <a:pt x="3283686" y="647276"/>
                </a:lnTo>
                <a:lnTo>
                  <a:pt x="3301205" y="627906"/>
                </a:lnTo>
                <a:lnTo>
                  <a:pt x="3319932" y="609075"/>
                </a:lnTo>
                <a:lnTo>
                  <a:pt x="3343793" y="585670"/>
                </a:lnTo>
                <a:lnTo>
                  <a:pt x="3344095" y="596968"/>
                </a:lnTo>
                <a:lnTo>
                  <a:pt x="3343793" y="598852"/>
                </a:lnTo>
                <a:lnTo>
                  <a:pt x="3335034" y="611497"/>
                </a:lnTo>
                <a:lnTo>
                  <a:pt x="3325067" y="623334"/>
                </a:lnTo>
                <a:lnTo>
                  <a:pt x="3311474" y="637592"/>
                </a:lnTo>
                <a:lnTo>
                  <a:pt x="3288216" y="666378"/>
                </a:lnTo>
                <a:lnTo>
                  <a:pt x="3268886" y="696777"/>
                </a:lnTo>
                <a:lnTo>
                  <a:pt x="3253179" y="727446"/>
                </a:lnTo>
                <a:lnTo>
                  <a:pt x="3242004" y="759460"/>
                </a:lnTo>
                <a:lnTo>
                  <a:pt x="3234151" y="792282"/>
                </a:lnTo>
                <a:lnTo>
                  <a:pt x="3230224" y="825910"/>
                </a:lnTo>
                <a:lnTo>
                  <a:pt x="3230224" y="860345"/>
                </a:lnTo>
                <a:lnTo>
                  <a:pt x="3231432" y="878101"/>
                </a:lnTo>
                <a:lnTo>
                  <a:pt x="3233849" y="902851"/>
                </a:lnTo>
                <a:lnTo>
                  <a:pt x="3234097" y="906534"/>
                </a:lnTo>
                <a:lnTo>
                  <a:pt x="3250789" y="904764"/>
                </a:lnTo>
                <a:lnTo>
                  <a:pt x="3276153" y="898850"/>
                </a:lnTo>
                <a:lnTo>
                  <a:pt x="3301216" y="889979"/>
                </a:lnTo>
                <a:lnTo>
                  <a:pt x="3325071" y="879226"/>
                </a:lnTo>
                <a:lnTo>
                  <a:pt x="3347114" y="867128"/>
                </a:lnTo>
                <a:lnTo>
                  <a:pt x="3365836" y="854493"/>
                </a:lnTo>
                <a:lnTo>
                  <a:pt x="3380632" y="842396"/>
                </a:lnTo>
                <a:lnTo>
                  <a:pt x="3386067" y="836482"/>
                </a:lnTo>
                <a:lnTo>
                  <a:pt x="3402675" y="817395"/>
                </a:lnTo>
                <a:lnTo>
                  <a:pt x="3432267" y="776801"/>
                </a:lnTo>
                <a:lnTo>
                  <a:pt x="3472730" y="713894"/>
                </a:lnTo>
                <a:lnTo>
                  <a:pt x="3499605" y="671956"/>
                </a:lnTo>
                <a:lnTo>
                  <a:pt x="3505644" y="664698"/>
                </a:lnTo>
                <a:lnTo>
                  <a:pt x="3511683" y="657439"/>
                </a:lnTo>
                <a:lnTo>
                  <a:pt x="3518326" y="660128"/>
                </a:lnTo>
                <a:lnTo>
                  <a:pt x="3524969" y="662547"/>
                </a:lnTo>
                <a:lnTo>
                  <a:pt x="3492961" y="722227"/>
                </a:lnTo>
                <a:lnTo>
                  <a:pt x="3463671" y="776801"/>
                </a:lnTo>
                <a:lnTo>
                  <a:pt x="3554562" y="735670"/>
                </a:lnTo>
                <a:lnTo>
                  <a:pt x="3650283" y="694000"/>
                </a:lnTo>
                <a:lnTo>
                  <a:pt x="3665079" y="687280"/>
                </a:lnTo>
                <a:lnTo>
                  <a:pt x="3692256" y="673031"/>
                </a:lnTo>
                <a:lnTo>
                  <a:pt x="3716111" y="656633"/>
                </a:lnTo>
                <a:lnTo>
                  <a:pt x="3736946" y="638890"/>
                </a:lnTo>
                <a:lnTo>
                  <a:pt x="3754460" y="618996"/>
                </a:lnTo>
                <a:lnTo>
                  <a:pt x="3769256" y="597759"/>
                </a:lnTo>
                <a:lnTo>
                  <a:pt x="3781334" y="574908"/>
                </a:lnTo>
                <a:lnTo>
                  <a:pt x="3790393" y="549638"/>
                </a:lnTo>
                <a:lnTo>
                  <a:pt x="3794017" y="536734"/>
                </a:lnTo>
                <a:lnTo>
                  <a:pt x="3808511" y="490226"/>
                </a:lnTo>
                <a:lnTo>
                  <a:pt x="3833875" y="412802"/>
                </a:lnTo>
                <a:lnTo>
                  <a:pt x="3856523" y="351508"/>
                </a:lnTo>
                <a:lnTo>
                  <a:pt x="3876452" y="304462"/>
                </a:lnTo>
                <a:lnTo>
                  <a:pt x="3894872" y="268708"/>
                </a:lnTo>
                <a:lnTo>
                  <a:pt x="3912688" y="242362"/>
                </a:lnTo>
                <a:lnTo>
                  <a:pt x="3930503" y="222469"/>
                </a:lnTo>
                <a:lnTo>
                  <a:pt x="3949828" y="207145"/>
                </a:lnTo>
                <a:lnTo>
                  <a:pt x="3959793" y="200155"/>
                </a:lnTo>
                <a:lnTo>
                  <a:pt x="3949828" y="212791"/>
                </a:lnTo>
                <a:lnTo>
                  <a:pt x="3926578" y="251502"/>
                </a:lnTo>
                <a:lnTo>
                  <a:pt x="3901213" y="302312"/>
                </a:lnTo>
                <a:lnTo>
                  <a:pt x="3875546" y="360917"/>
                </a:lnTo>
                <a:lnTo>
                  <a:pt x="3851087" y="422480"/>
                </a:lnTo>
                <a:lnTo>
                  <a:pt x="3829346" y="482699"/>
                </a:lnTo>
                <a:lnTo>
                  <a:pt x="3812738" y="536734"/>
                </a:lnTo>
                <a:lnTo>
                  <a:pt x="3802169" y="580284"/>
                </a:lnTo>
                <a:lnTo>
                  <a:pt x="3800660" y="596146"/>
                </a:lnTo>
                <a:lnTo>
                  <a:pt x="3811229" y="591038"/>
                </a:lnTo>
                <a:lnTo>
                  <a:pt x="3869507" y="559853"/>
                </a:lnTo>
                <a:lnTo>
                  <a:pt x="3979119" y="498828"/>
                </a:lnTo>
                <a:lnTo>
                  <a:pt x="4008107" y="483773"/>
                </a:lnTo>
                <a:lnTo>
                  <a:pt x="4012032" y="486194"/>
                </a:lnTo>
                <a:lnTo>
                  <a:pt x="4015052" y="491570"/>
                </a:lnTo>
                <a:lnTo>
                  <a:pt x="4015052" y="494527"/>
                </a:lnTo>
                <a:lnTo>
                  <a:pt x="4013845" y="496140"/>
                </a:lnTo>
                <a:lnTo>
                  <a:pt x="4007201" y="501517"/>
                </a:lnTo>
                <a:lnTo>
                  <a:pt x="3975496" y="526787"/>
                </a:lnTo>
                <a:lnTo>
                  <a:pt x="3935636" y="553939"/>
                </a:lnTo>
                <a:lnTo>
                  <a:pt x="3901515" y="574101"/>
                </a:lnTo>
                <a:lnTo>
                  <a:pt x="3861052" y="595608"/>
                </a:lnTo>
                <a:lnTo>
                  <a:pt x="3812738" y="617652"/>
                </a:lnTo>
                <a:lnTo>
                  <a:pt x="3785864" y="628674"/>
                </a:lnTo>
                <a:lnTo>
                  <a:pt x="3778617" y="637547"/>
                </a:lnTo>
                <a:lnTo>
                  <a:pt x="3763216" y="653407"/>
                </a:lnTo>
                <a:lnTo>
                  <a:pt x="3737248" y="674645"/>
                </a:lnTo>
                <a:lnTo>
                  <a:pt x="3698597" y="699108"/>
                </a:lnTo>
                <a:lnTo>
                  <a:pt x="3656625" y="720884"/>
                </a:lnTo>
                <a:lnTo>
                  <a:pt x="3634581" y="731638"/>
                </a:lnTo>
                <a:lnTo>
                  <a:pt x="3606801" y="745885"/>
                </a:lnTo>
                <a:lnTo>
                  <a:pt x="3551240" y="775725"/>
                </a:lnTo>
                <a:lnTo>
                  <a:pt x="3497793" y="807448"/>
                </a:lnTo>
                <a:lnTo>
                  <a:pt x="3446460" y="841320"/>
                </a:lnTo>
                <a:lnTo>
                  <a:pt x="3421699" y="859333"/>
                </a:lnTo>
                <a:lnTo>
                  <a:pt x="3399957" y="875462"/>
                </a:lnTo>
                <a:lnTo>
                  <a:pt x="3354965" y="904496"/>
                </a:lnTo>
                <a:lnTo>
                  <a:pt x="3319334" y="922239"/>
                </a:lnTo>
                <a:lnTo>
                  <a:pt x="3293667" y="932186"/>
                </a:lnTo>
                <a:lnTo>
                  <a:pt x="3266793" y="939982"/>
                </a:lnTo>
                <a:lnTo>
                  <a:pt x="3238106" y="945090"/>
                </a:lnTo>
                <a:lnTo>
                  <a:pt x="3236712" y="945267"/>
                </a:lnTo>
                <a:lnTo>
                  <a:pt x="3237171" y="952083"/>
                </a:lnTo>
                <a:lnTo>
                  <a:pt x="3236869" y="976834"/>
                </a:lnTo>
                <a:lnTo>
                  <a:pt x="3234755" y="1050009"/>
                </a:lnTo>
                <a:lnTo>
                  <a:pt x="3231432" y="1159502"/>
                </a:lnTo>
                <a:lnTo>
                  <a:pt x="3225995" y="1232408"/>
                </a:lnTo>
                <a:lnTo>
                  <a:pt x="3221163" y="1268458"/>
                </a:lnTo>
                <a:lnTo>
                  <a:pt x="3216028" y="1299126"/>
                </a:lnTo>
                <a:lnTo>
                  <a:pt x="3201530" y="1360465"/>
                </a:lnTo>
                <a:lnTo>
                  <a:pt x="3174346" y="1451396"/>
                </a:lnTo>
                <a:lnTo>
                  <a:pt x="3156223" y="1511926"/>
                </a:lnTo>
                <a:lnTo>
                  <a:pt x="3171325" y="1503049"/>
                </a:lnTo>
                <a:lnTo>
                  <a:pt x="3201530" y="1483948"/>
                </a:lnTo>
                <a:lnTo>
                  <a:pt x="3229318" y="1462963"/>
                </a:lnTo>
                <a:lnTo>
                  <a:pt x="3246534" y="1445746"/>
                </a:lnTo>
                <a:lnTo>
                  <a:pt x="3255898" y="1433370"/>
                </a:lnTo>
                <a:lnTo>
                  <a:pt x="3259825" y="1426914"/>
                </a:lnTo>
                <a:lnTo>
                  <a:pt x="3288519" y="1376068"/>
                </a:lnTo>
                <a:lnTo>
                  <a:pt x="3344095" y="1285676"/>
                </a:lnTo>
                <a:lnTo>
                  <a:pt x="3386684" y="1221916"/>
                </a:lnTo>
                <a:lnTo>
                  <a:pt x="3432897" y="1158426"/>
                </a:lnTo>
                <a:lnTo>
                  <a:pt x="3482432" y="1097089"/>
                </a:lnTo>
                <a:lnTo>
                  <a:pt x="3534384" y="1040862"/>
                </a:lnTo>
                <a:lnTo>
                  <a:pt x="3573952" y="1004005"/>
                </a:lnTo>
                <a:lnTo>
                  <a:pt x="3600834" y="981946"/>
                </a:lnTo>
                <a:lnTo>
                  <a:pt x="3614124" y="971991"/>
                </a:lnTo>
                <a:lnTo>
                  <a:pt x="3577576" y="1016918"/>
                </a:lnTo>
                <a:lnTo>
                  <a:pt x="3452832" y="1176181"/>
                </a:lnTo>
                <a:lnTo>
                  <a:pt x="3403900" y="1243169"/>
                </a:lnTo>
                <a:lnTo>
                  <a:pt x="3361614" y="1305583"/>
                </a:lnTo>
                <a:lnTo>
                  <a:pt x="3337450" y="1345668"/>
                </a:lnTo>
                <a:lnTo>
                  <a:pt x="3325973" y="1368267"/>
                </a:lnTo>
                <a:lnTo>
                  <a:pt x="3322046" y="1378221"/>
                </a:lnTo>
                <a:lnTo>
                  <a:pt x="3313286" y="1400012"/>
                </a:lnTo>
                <a:lnTo>
                  <a:pt x="3289727" y="1440904"/>
                </a:lnTo>
                <a:lnTo>
                  <a:pt x="3259523" y="1477760"/>
                </a:lnTo>
                <a:lnTo>
                  <a:pt x="3223277" y="1512465"/>
                </a:lnTo>
                <a:lnTo>
                  <a:pt x="3202436" y="1528876"/>
                </a:lnTo>
                <a:lnTo>
                  <a:pt x="3184011" y="1542864"/>
                </a:lnTo>
                <a:lnTo>
                  <a:pt x="3148672" y="1572457"/>
                </a:lnTo>
                <a:lnTo>
                  <a:pt x="3115447" y="1603665"/>
                </a:lnTo>
                <a:lnTo>
                  <a:pt x="3085846" y="1637023"/>
                </a:lnTo>
                <a:lnTo>
                  <a:pt x="3071953" y="1653972"/>
                </a:lnTo>
                <a:lnTo>
                  <a:pt x="3053226" y="1678992"/>
                </a:lnTo>
                <a:lnTo>
                  <a:pt x="3013053" y="1726878"/>
                </a:lnTo>
                <a:lnTo>
                  <a:pt x="2968350" y="1771537"/>
                </a:lnTo>
                <a:lnTo>
                  <a:pt x="2930595" y="1802475"/>
                </a:lnTo>
                <a:lnTo>
                  <a:pt x="2903713" y="1821576"/>
                </a:lnTo>
                <a:lnTo>
                  <a:pt x="2889215" y="1830722"/>
                </a:lnTo>
                <a:lnTo>
                  <a:pt x="2879550" y="1836641"/>
                </a:lnTo>
                <a:lnTo>
                  <a:pt x="2862634" y="1849285"/>
                </a:lnTo>
                <a:lnTo>
                  <a:pt x="2847834" y="1862737"/>
                </a:lnTo>
                <a:lnTo>
                  <a:pt x="2834847" y="1877533"/>
                </a:lnTo>
                <a:lnTo>
                  <a:pt x="2824577" y="1893136"/>
                </a:lnTo>
                <a:lnTo>
                  <a:pt x="2816724" y="1909547"/>
                </a:lnTo>
                <a:lnTo>
                  <a:pt x="2811287" y="1927033"/>
                </a:lnTo>
                <a:lnTo>
                  <a:pt x="2808267" y="1944789"/>
                </a:lnTo>
                <a:lnTo>
                  <a:pt x="2807662" y="1954205"/>
                </a:lnTo>
                <a:lnTo>
                  <a:pt x="2806454" y="2026304"/>
                </a:lnTo>
                <a:lnTo>
                  <a:pt x="2806873" y="2076265"/>
                </a:lnTo>
                <a:lnTo>
                  <a:pt x="2810391" y="2075235"/>
                </a:lnTo>
                <a:lnTo>
                  <a:pt x="2920100" y="2036958"/>
                </a:lnTo>
                <a:lnTo>
                  <a:pt x="2992850" y="2009946"/>
                </a:lnTo>
                <a:lnTo>
                  <a:pt x="3012380" y="2002741"/>
                </a:lnTo>
                <a:lnTo>
                  <a:pt x="3050536" y="1990551"/>
                </a:lnTo>
                <a:lnTo>
                  <a:pt x="3089366" y="1980449"/>
                </a:lnTo>
                <a:lnTo>
                  <a:pt x="3128038" y="1972756"/>
                </a:lnTo>
                <a:lnTo>
                  <a:pt x="3166916" y="1966860"/>
                </a:lnTo>
                <a:lnTo>
                  <a:pt x="3206018" y="1964165"/>
                </a:lnTo>
                <a:lnTo>
                  <a:pt x="3245611" y="1963862"/>
                </a:lnTo>
                <a:lnTo>
                  <a:pt x="3285330" y="1966562"/>
                </a:lnTo>
                <a:lnTo>
                  <a:pt x="3305250" y="1969061"/>
                </a:lnTo>
                <a:lnTo>
                  <a:pt x="3314182" y="1969883"/>
                </a:lnTo>
                <a:lnTo>
                  <a:pt x="3323581" y="1968678"/>
                </a:lnTo>
                <a:lnTo>
                  <a:pt x="3331972" y="1957897"/>
                </a:lnTo>
                <a:lnTo>
                  <a:pt x="3346156" y="1943362"/>
                </a:lnTo>
                <a:lnTo>
                  <a:pt x="3368789" y="1923173"/>
                </a:lnTo>
                <a:lnTo>
                  <a:pt x="3427636" y="1875260"/>
                </a:lnTo>
                <a:lnTo>
                  <a:pt x="3472300" y="1835961"/>
                </a:lnTo>
                <a:lnTo>
                  <a:pt x="3497649" y="1809044"/>
                </a:lnTo>
                <a:lnTo>
                  <a:pt x="3516964" y="1782126"/>
                </a:lnTo>
                <a:lnTo>
                  <a:pt x="3525413" y="1762208"/>
                </a:lnTo>
                <a:lnTo>
                  <a:pt x="3528431" y="1749287"/>
                </a:lnTo>
                <a:lnTo>
                  <a:pt x="3528431" y="1742827"/>
                </a:lnTo>
                <a:lnTo>
                  <a:pt x="3527526" y="1666382"/>
                </a:lnTo>
                <a:lnTo>
                  <a:pt x="3527526" y="1597474"/>
                </a:lnTo>
                <a:lnTo>
                  <a:pt x="3529336" y="1599896"/>
                </a:lnTo>
                <a:lnTo>
                  <a:pt x="3544426" y="1618470"/>
                </a:lnTo>
                <a:lnTo>
                  <a:pt x="3553479" y="1591552"/>
                </a:lnTo>
                <a:lnTo>
                  <a:pt x="3561929" y="1551984"/>
                </a:lnTo>
                <a:lnTo>
                  <a:pt x="3564946" y="1526143"/>
                </a:lnTo>
                <a:lnTo>
                  <a:pt x="3566153" y="1500302"/>
                </a:lnTo>
                <a:lnTo>
                  <a:pt x="3565550" y="1474730"/>
                </a:lnTo>
                <a:lnTo>
                  <a:pt x="3562230" y="1449159"/>
                </a:lnTo>
                <a:lnTo>
                  <a:pt x="3556798" y="1423857"/>
                </a:lnTo>
                <a:lnTo>
                  <a:pt x="3553479" y="1411206"/>
                </a:lnTo>
                <a:lnTo>
                  <a:pt x="3560419" y="1424395"/>
                </a:lnTo>
                <a:lnTo>
                  <a:pt x="3571283" y="1451851"/>
                </a:lnTo>
                <a:lnTo>
                  <a:pt x="3579431" y="1478499"/>
                </a:lnTo>
                <a:lnTo>
                  <a:pt x="3585467" y="1505416"/>
                </a:lnTo>
                <a:lnTo>
                  <a:pt x="3589692" y="1546061"/>
                </a:lnTo>
                <a:lnTo>
                  <a:pt x="3588787" y="1599358"/>
                </a:lnTo>
                <a:lnTo>
                  <a:pt x="3582148" y="1652654"/>
                </a:lnTo>
                <a:lnTo>
                  <a:pt x="3572491" y="1705412"/>
                </a:lnTo>
                <a:lnTo>
                  <a:pt x="3561627" y="1757631"/>
                </a:lnTo>
                <a:lnTo>
                  <a:pt x="3551668" y="1809313"/>
                </a:lnTo>
                <a:lnTo>
                  <a:pt x="3547745" y="1835154"/>
                </a:lnTo>
                <a:lnTo>
                  <a:pt x="3625001" y="1802315"/>
                </a:lnTo>
                <a:lnTo>
                  <a:pt x="3661012" y="1786604"/>
                </a:lnTo>
                <a:lnTo>
                  <a:pt x="3666530" y="1780273"/>
                </a:lnTo>
                <a:lnTo>
                  <a:pt x="3680895" y="1760253"/>
                </a:lnTo>
                <a:lnTo>
                  <a:pt x="3689858" y="1747454"/>
                </a:lnTo>
                <a:lnTo>
                  <a:pt x="3712988" y="1713536"/>
                </a:lnTo>
                <a:lnTo>
                  <a:pt x="3728996" y="1682567"/>
                </a:lnTo>
                <a:lnTo>
                  <a:pt x="3737839" y="1659254"/>
                </a:lnTo>
                <a:lnTo>
                  <a:pt x="3743684" y="1633798"/>
                </a:lnTo>
                <a:lnTo>
                  <a:pt x="3746443" y="1606704"/>
                </a:lnTo>
                <a:lnTo>
                  <a:pt x="3745720" y="1592197"/>
                </a:lnTo>
                <a:lnTo>
                  <a:pt x="3746037" y="1587385"/>
                </a:lnTo>
                <a:lnTo>
                  <a:pt x="3748931" y="1580415"/>
                </a:lnTo>
                <a:lnTo>
                  <a:pt x="3755873" y="1577771"/>
                </a:lnTo>
                <a:lnTo>
                  <a:pt x="3765757" y="1580575"/>
                </a:lnTo>
                <a:lnTo>
                  <a:pt x="3771842" y="1584357"/>
                </a:lnTo>
                <a:lnTo>
                  <a:pt x="3768948" y="1615962"/>
                </a:lnTo>
                <a:lnTo>
                  <a:pt x="3766349" y="1665285"/>
                </a:lnTo>
                <a:lnTo>
                  <a:pt x="3788813" y="1646403"/>
                </a:lnTo>
                <a:lnTo>
                  <a:pt x="3818601" y="1617458"/>
                </a:lnTo>
                <a:lnTo>
                  <a:pt x="3836312" y="1597571"/>
                </a:lnTo>
                <a:lnTo>
                  <a:pt x="3852438" y="1577115"/>
                </a:lnTo>
                <a:lnTo>
                  <a:pt x="3866605" y="1555997"/>
                </a:lnTo>
                <a:lnTo>
                  <a:pt x="3879280" y="1534510"/>
                </a:lnTo>
                <a:lnTo>
                  <a:pt x="3889902" y="1512162"/>
                </a:lnTo>
                <a:lnTo>
                  <a:pt x="3894510" y="1500552"/>
                </a:lnTo>
                <a:lnTo>
                  <a:pt x="3891964" y="1513722"/>
                </a:lnTo>
                <a:lnTo>
                  <a:pt x="3885287" y="1539495"/>
                </a:lnTo>
                <a:lnTo>
                  <a:pt x="3875713" y="1564024"/>
                </a:lnTo>
                <a:lnTo>
                  <a:pt x="3864181" y="1587892"/>
                </a:lnTo>
                <a:lnTo>
                  <a:pt x="3843843" y="1622155"/>
                </a:lnTo>
                <a:lnTo>
                  <a:pt x="3811892" y="1665064"/>
                </a:lnTo>
                <a:lnTo>
                  <a:pt x="3775641" y="1705857"/>
                </a:lnTo>
                <a:lnTo>
                  <a:pt x="3737051" y="1745195"/>
                </a:lnTo>
                <a:lnTo>
                  <a:pt x="3722038" y="1759979"/>
                </a:lnTo>
                <a:lnTo>
                  <a:pt x="3736056" y="1753863"/>
                </a:lnTo>
                <a:lnTo>
                  <a:pt x="3811802" y="1717525"/>
                </a:lnTo>
                <a:lnTo>
                  <a:pt x="3826288" y="1710257"/>
                </a:lnTo>
                <a:lnTo>
                  <a:pt x="3853448" y="1690607"/>
                </a:lnTo>
                <a:lnTo>
                  <a:pt x="3877591" y="1667729"/>
                </a:lnTo>
                <a:lnTo>
                  <a:pt x="3896301" y="1642157"/>
                </a:lnTo>
                <a:lnTo>
                  <a:pt x="3903544" y="1629236"/>
                </a:lnTo>
                <a:lnTo>
                  <a:pt x="3914106" y="1607433"/>
                </a:lnTo>
                <a:lnTo>
                  <a:pt x="3930402" y="1562750"/>
                </a:lnTo>
                <a:lnTo>
                  <a:pt x="3950621" y="1493842"/>
                </a:lnTo>
                <a:lnTo>
                  <a:pt x="3964503" y="1447813"/>
                </a:lnTo>
                <a:lnTo>
                  <a:pt x="3967822" y="1439739"/>
                </a:lnTo>
                <a:lnTo>
                  <a:pt x="3971746" y="1431933"/>
                </a:lnTo>
                <a:lnTo>
                  <a:pt x="3978989" y="1433009"/>
                </a:lnTo>
                <a:lnTo>
                  <a:pt x="3985628" y="1434355"/>
                </a:lnTo>
                <a:lnTo>
                  <a:pt x="3972349" y="1498149"/>
                </a:lnTo>
                <a:lnTo>
                  <a:pt x="3959977" y="1557098"/>
                </a:lnTo>
                <a:lnTo>
                  <a:pt x="4033913" y="1500302"/>
                </a:lnTo>
                <a:lnTo>
                  <a:pt x="4112677" y="1441622"/>
                </a:lnTo>
                <a:lnTo>
                  <a:pt x="4124749" y="1432471"/>
                </a:lnTo>
                <a:lnTo>
                  <a:pt x="4145873" y="1413629"/>
                </a:lnTo>
                <a:lnTo>
                  <a:pt x="4163980" y="1393441"/>
                </a:lnTo>
                <a:lnTo>
                  <a:pt x="4178465" y="1372175"/>
                </a:lnTo>
                <a:lnTo>
                  <a:pt x="4189631" y="1349834"/>
                </a:lnTo>
                <a:lnTo>
                  <a:pt x="4197477" y="1326147"/>
                </a:lnTo>
                <a:lnTo>
                  <a:pt x="4202306" y="1301652"/>
                </a:lnTo>
                <a:lnTo>
                  <a:pt x="4203815" y="1275812"/>
                </a:lnTo>
                <a:lnTo>
                  <a:pt x="4203513" y="1262353"/>
                </a:lnTo>
                <a:lnTo>
                  <a:pt x="4202909" y="1242165"/>
                </a:lnTo>
                <a:lnTo>
                  <a:pt x="4206229" y="1202328"/>
                </a:lnTo>
                <a:lnTo>
                  <a:pt x="4214075" y="1173795"/>
                </a:lnTo>
                <a:lnTo>
                  <a:pt x="4221318" y="1154953"/>
                </a:lnTo>
                <a:lnTo>
                  <a:pt x="4231578" y="1136649"/>
                </a:lnTo>
                <a:lnTo>
                  <a:pt x="4244555" y="1118884"/>
                </a:lnTo>
                <a:lnTo>
                  <a:pt x="4252401" y="1110540"/>
                </a:lnTo>
                <a:lnTo>
                  <a:pt x="4246366" y="1122653"/>
                </a:lnTo>
                <a:lnTo>
                  <a:pt x="4236709" y="1147954"/>
                </a:lnTo>
                <a:lnTo>
                  <a:pt x="4228863" y="1172987"/>
                </a:lnTo>
                <a:lnTo>
                  <a:pt x="4223430" y="1198828"/>
                </a:lnTo>
                <a:lnTo>
                  <a:pt x="4219810" y="1224669"/>
                </a:lnTo>
                <a:lnTo>
                  <a:pt x="4218602" y="1250779"/>
                </a:lnTo>
                <a:lnTo>
                  <a:pt x="4219810" y="1277696"/>
                </a:lnTo>
                <a:lnTo>
                  <a:pt x="4223430" y="1304882"/>
                </a:lnTo>
                <a:lnTo>
                  <a:pt x="4226449" y="1318880"/>
                </a:lnTo>
                <a:lnTo>
                  <a:pt x="4243046" y="1309727"/>
                </a:lnTo>
                <a:lnTo>
                  <a:pt x="4255721" y="1302998"/>
                </a:lnTo>
                <a:lnTo>
                  <a:pt x="4259644" y="1304882"/>
                </a:lnTo>
                <a:lnTo>
                  <a:pt x="4264473" y="1308920"/>
                </a:lnTo>
                <a:lnTo>
                  <a:pt x="4265076" y="1312419"/>
                </a:lnTo>
                <a:lnTo>
                  <a:pt x="4264171" y="1314034"/>
                </a:lnTo>
                <a:lnTo>
                  <a:pt x="4260248" y="1318341"/>
                </a:lnTo>
                <a:lnTo>
                  <a:pt x="4249081" y="1325339"/>
                </a:lnTo>
                <a:lnTo>
                  <a:pt x="4236709" y="1333145"/>
                </a:lnTo>
                <a:lnTo>
                  <a:pt x="4225845" y="1344989"/>
                </a:lnTo>
                <a:lnTo>
                  <a:pt x="4221922" y="1353334"/>
                </a:lnTo>
                <a:lnTo>
                  <a:pt x="4217394" y="1363024"/>
                </a:lnTo>
                <a:lnTo>
                  <a:pt x="4207436" y="1381597"/>
                </a:lnTo>
                <a:lnTo>
                  <a:pt x="4189028" y="1407168"/>
                </a:lnTo>
                <a:lnTo>
                  <a:pt x="4158850" y="1438123"/>
                </a:lnTo>
                <a:lnTo>
                  <a:pt x="4125654" y="1467194"/>
                </a:lnTo>
                <a:lnTo>
                  <a:pt x="4108452" y="1481460"/>
                </a:lnTo>
                <a:lnTo>
                  <a:pt x="4085819" y="1500302"/>
                </a:lnTo>
                <a:lnTo>
                  <a:pt x="4042363" y="1539602"/>
                </a:lnTo>
                <a:lnTo>
                  <a:pt x="4000415" y="1580516"/>
                </a:lnTo>
                <a:lnTo>
                  <a:pt x="3961787" y="1623045"/>
                </a:lnTo>
                <a:lnTo>
                  <a:pt x="3943681" y="1645118"/>
                </a:lnTo>
                <a:lnTo>
                  <a:pt x="3927686" y="1664498"/>
                </a:lnTo>
                <a:lnTo>
                  <a:pt x="3893283" y="1701105"/>
                </a:lnTo>
                <a:lnTo>
                  <a:pt x="3864614" y="1724793"/>
                </a:lnTo>
                <a:lnTo>
                  <a:pt x="3843489" y="1739328"/>
                </a:lnTo>
                <a:lnTo>
                  <a:pt x="3820554" y="1751710"/>
                </a:lnTo>
                <a:lnTo>
                  <a:pt x="3795205" y="1762208"/>
                </a:lnTo>
                <a:lnTo>
                  <a:pt x="3781021" y="1766515"/>
                </a:lnTo>
                <a:lnTo>
                  <a:pt x="3753559" y="1774859"/>
                </a:lnTo>
                <a:lnTo>
                  <a:pt x="3700748" y="1794778"/>
                </a:lnTo>
                <a:lnTo>
                  <a:pt x="3676500" y="1805527"/>
                </a:lnTo>
                <a:lnTo>
                  <a:pt x="3659853" y="1822471"/>
                </a:lnTo>
                <a:lnTo>
                  <a:pt x="3642228" y="1841855"/>
                </a:lnTo>
                <a:lnTo>
                  <a:pt x="3731837" y="1842441"/>
                </a:lnTo>
                <a:lnTo>
                  <a:pt x="3867646" y="1843494"/>
                </a:lnTo>
                <a:lnTo>
                  <a:pt x="3958264" y="1842758"/>
                </a:lnTo>
                <a:lnTo>
                  <a:pt x="4004163" y="1841227"/>
                </a:lnTo>
                <a:lnTo>
                  <a:pt x="4019671" y="1840011"/>
                </a:lnTo>
                <a:lnTo>
                  <a:pt x="4051854" y="1833850"/>
                </a:lnTo>
                <a:lnTo>
                  <a:pt x="4083989" y="1823484"/>
                </a:lnTo>
                <a:lnTo>
                  <a:pt x="4113387" y="1809469"/>
                </a:lnTo>
                <a:lnTo>
                  <a:pt x="4126588" y="1801389"/>
                </a:lnTo>
                <a:lnTo>
                  <a:pt x="4147156" y="1787453"/>
                </a:lnTo>
                <a:lnTo>
                  <a:pt x="4186033" y="1756922"/>
                </a:lnTo>
                <a:lnTo>
                  <a:pt x="4242551" y="1708407"/>
                </a:lnTo>
                <a:lnTo>
                  <a:pt x="4279643" y="1676209"/>
                </a:lnTo>
                <a:lnTo>
                  <a:pt x="4287481" y="1670643"/>
                </a:lnTo>
                <a:lnTo>
                  <a:pt x="4295136" y="1665380"/>
                </a:lnTo>
                <a:lnTo>
                  <a:pt x="4299729" y="1668792"/>
                </a:lnTo>
                <a:lnTo>
                  <a:pt x="4304227" y="1672006"/>
                </a:lnTo>
                <a:lnTo>
                  <a:pt x="4256434" y="1719542"/>
                </a:lnTo>
                <a:lnTo>
                  <a:pt x="4212402" y="1762596"/>
                </a:lnTo>
                <a:lnTo>
                  <a:pt x="4302613" y="1742541"/>
                </a:lnTo>
                <a:lnTo>
                  <a:pt x="4397749" y="1722486"/>
                </a:lnTo>
                <a:lnTo>
                  <a:pt x="4412307" y="1719286"/>
                </a:lnTo>
                <a:lnTo>
                  <a:pt x="4440008" y="1711314"/>
                </a:lnTo>
                <a:lnTo>
                  <a:pt x="4465361" y="1701187"/>
                </a:lnTo>
                <a:lnTo>
                  <a:pt x="4489387" y="1688982"/>
                </a:lnTo>
                <a:lnTo>
                  <a:pt x="4511162" y="1674820"/>
                </a:lnTo>
                <a:lnTo>
                  <a:pt x="4530962" y="1658596"/>
                </a:lnTo>
                <a:lnTo>
                  <a:pt x="4549064" y="1640202"/>
                </a:lnTo>
                <a:lnTo>
                  <a:pt x="4565563" y="1619838"/>
                </a:lnTo>
                <a:lnTo>
                  <a:pt x="4573059" y="1608771"/>
                </a:lnTo>
                <a:lnTo>
                  <a:pt x="4584306" y="1592520"/>
                </a:lnTo>
                <a:lnTo>
                  <a:pt x="4610348" y="1561247"/>
                </a:lnTo>
                <a:lnTo>
                  <a:pt x="4633256" y="1540554"/>
                </a:lnTo>
                <a:lnTo>
                  <a:pt x="4650216" y="1527991"/>
                </a:lnTo>
                <a:lnTo>
                  <a:pt x="4668492" y="1516805"/>
                </a:lnTo>
                <a:lnTo>
                  <a:pt x="4689014" y="1506876"/>
                </a:lnTo>
                <a:lnTo>
                  <a:pt x="4699842" y="1502751"/>
                </a:lnTo>
                <a:lnTo>
                  <a:pt x="4688038" y="1511001"/>
                </a:lnTo>
                <a:lnTo>
                  <a:pt x="4665828" y="1527675"/>
                </a:lnTo>
                <a:lnTo>
                  <a:pt x="4644838" y="1545526"/>
                </a:lnTo>
                <a:lnTo>
                  <a:pt x="4625809" y="1564038"/>
                </a:lnTo>
                <a:lnTo>
                  <a:pt x="4608096" y="1583926"/>
                </a:lnTo>
                <a:lnTo>
                  <a:pt x="4591510" y="1604791"/>
                </a:lnTo>
                <a:lnTo>
                  <a:pt x="4576518" y="1626927"/>
                </a:lnTo>
                <a:lnTo>
                  <a:pt x="4563677" y="1650121"/>
                </a:lnTo>
                <a:lnTo>
                  <a:pt x="4557498" y="1662565"/>
                </a:lnTo>
                <a:lnTo>
                  <a:pt x="4575512" y="1661098"/>
                </a:lnTo>
                <a:lnTo>
                  <a:pt x="4589165" y="1660119"/>
                </a:lnTo>
                <a:lnTo>
                  <a:pt x="4591704" y="1662672"/>
                </a:lnTo>
                <a:lnTo>
                  <a:pt x="4592600" y="1667962"/>
                </a:lnTo>
                <a:lnTo>
                  <a:pt x="4591427" y="1670990"/>
                </a:lnTo>
                <a:lnTo>
                  <a:pt x="4589856" y="1671822"/>
                </a:lnTo>
                <a:lnTo>
                  <a:pt x="4584026" y="1674044"/>
                </a:lnTo>
                <a:lnTo>
                  <a:pt x="4571127" y="1675908"/>
                </a:lnTo>
                <a:lnTo>
                  <a:pt x="4557300" y="1677890"/>
                </a:lnTo>
                <a:lnTo>
                  <a:pt x="4541561" y="1683418"/>
                </a:lnTo>
                <a:lnTo>
                  <a:pt x="4533724" y="1688984"/>
                </a:lnTo>
                <a:lnTo>
                  <a:pt x="4524967" y="1695371"/>
                </a:lnTo>
                <a:lnTo>
                  <a:pt x="4506135" y="1706768"/>
                </a:lnTo>
                <a:lnTo>
                  <a:pt x="4476832" y="1720982"/>
                </a:lnTo>
                <a:lnTo>
                  <a:pt x="4435637" y="1735738"/>
                </a:lnTo>
                <a:lnTo>
                  <a:pt x="4393294" y="1747412"/>
                </a:lnTo>
                <a:lnTo>
                  <a:pt x="4371050" y="1753070"/>
                </a:lnTo>
                <a:lnTo>
                  <a:pt x="4342786" y="1760554"/>
                </a:lnTo>
                <a:lnTo>
                  <a:pt x="4286091" y="1777226"/>
                </a:lnTo>
                <a:lnTo>
                  <a:pt x="4229975" y="1795788"/>
                </a:lnTo>
                <a:lnTo>
                  <a:pt x="4175279" y="1816627"/>
                </a:lnTo>
                <a:lnTo>
                  <a:pt x="4148269" y="1828090"/>
                </a:lnTo>
                <a:lnTo>
                  <a:pt x="4124409" y="1838587"/>
                </a:lnTo>
                <a:lnTo>
                  <a:pt x="4076368" y="1856187"/>
                </a:lnTo>
                <a:lnTo>
                  <a:pt x="4040409" y="1865427"/>
                </a:lnTo>
                <a:lnTo>
                  <a:pt x="4015453" y="1869539"/>
                </a:lnTo>
                <a:lnTo>
                  <a:pt x="3990473" y="1871547"/>
                </a:lnTo>
                <a:lnTo>
                  <a:pt x="3964722" y="1871269"/>
                </a:lnTo>
                <a:lnTo>
                  <a:pt x="3951323" y="1870038"/>
                </a:lnTo>
                <a:lnTo>
                  <a:pt x="3925360" y="1867259"/>
                </a:lnTo>
                <a:lnTo>
                  <a:pt x="3873280" y="1864810"/>
                </a:lnTo>
                <a:lnTo>
                  <a:pt x="3820955" y="1865271"/>
                </a:lnTo>
                <a:lnTo>
                  <a:pt x="3769035" y="1868627"/>
                </a:lnTo>
                <a:lnTo>
                  <a:pt x="3717234" y="1874283"/>
                </a:lnTo>
                <a:lnTo>
                  <a:pt x="3665275" y="1882347"/>
                </a:lnTo>
                <a:lnTo>
                  <a:pt x="3588296" y="1897127"/>
                </a:lnTo>
                <a:lnTo>
                  <a:pt x="3536845" y="1908986"/>
                </a:lnTo>
                <a:lnTo>
                  <a:pt x="3527762" y="1911273"/>
                </a:lnTo>
                <a:lnTo>
                  <a:pt x="3510444" y="1916932"/>
                </a:lnTo>
                <a:lnTo>
                  <a:pt x="3484544" y="1927972"/>
                </a:lnTo>
                <a:lnTo>
                  <a:pt x="3435315" y="1955408"/>
                </a:lnTo>
                <a:lnTo>
                  <a:pt x="3416008" y="1967418"/>
                </a:lnTo>
                <a:lnTo>
                  <a:pt x="3405229" y="1975911"/>
                </a:lnTo>
                <a:lnTo>
                  <a:pt x="3462392" y="1990612"/>
                </a:lnTo>
                <a:lnTo>
                  <a:pt x="3550376" y="2011761"/>
                </a:lnTo>
                <a:lnTo>
                  <a:pt x="3609262" y="2024287"/>
                </a:lnTo>
                <a:lnTo>
                  <a:pt x="3668584" y="2034300"/>
                </a:lnTo>
                <a:lnTo>
                  <a:pt x="3728708" y="2041193"/>
                </a:lnTo>
                <a:lnTo>
                  <a:pt x="3789989" y="2043657"/>
                </a:lnTo>
                <a:lnTo>
                  <a:pt x="3852333" y="2041491"/>
                </a:lnTo>
                <a:lnTo>
                  <a:pt x="3884825" y="2038028"/>
                </a:lnTo>
                <a:lnTo>
                  <a:pt x="3923347" y="2033441"/>
                </a:lnTo>
                <a:lnTo>
                  <a:pt x="4001810" y="2026543"/>
                </a:lnTo>
                <a:lnTo>
                  <a:pt x="4119691" y="2020347"/>
                </a:lnTo>
                <a:lnTo>
                  <a:pt x="4198297" y="2017852"/>
                </a:lnTo>
                <a:lnTo>
                  <a:pt x="4213259" y="2017549"/>
                </a:lnTo>
                <a:lnTo>
                  <a:pt x="4243292" y="2018542"/>
                </a:lnTo>
                <a:lnTo>
                  <a:pt x="4272700" y="2021651"/>
                </a:lnTo>
                <a:lnTo>
                  <a:pt x="4301012" y="2026586"/>
                </a:lnTo>
                <a:lnTo>
                  <a:pt x="4329158" y="2033225"/>
                </a:lnTo>
                <a:lnTo>
                  <a:pt x="4356028" y="2041994"/>
                </a:lnTo>
                <a:lnTo>
                  <a:pt x="4383007" y="2052362"/>
                </a:lnTo>
                <a:lnTo>
                  <a:pt x="4408703" y="2064160"/>
                </a:lnTo>
                <a:lnTo>
                  <a:pt x="4421142" y="2070917"/>
                </a:lnTo>
                <a:lnTo>
                  <a:pt x="4430582" y="2075533"/>
                </a:lnTo>
                <a:lnTo>
                  <a:pt x="4451564" y="2081618"/>
                </a:lnTo>
                <a:lnTo>
                  <a:pt x="4486017" y="2087028"/>
                </a:lnTo>
                <a:lnTo>
                  <a:pt x="4508903" y="2088867"/>
                </a:lnTo>
                <a:lnTo>
                  <a:pt x="4536994" y="2090600"/>
                </a:lnTo>
                <a:lnTo>
                  <a:pt x="4593126" y="2089862"/>
                </a:lnTo>
                <a:lnTo>
                  <a:pt x="4650354" y="2087300"/>
                </a:lnTo>
                <a:lnTo>
                  <a:pt x="4707042" y="2086351"/>
                </a:lnTo>
                <a:lnTo>
                  <a:pt x="4734942" y="2087689"/>
                </a:lnTo>
                <a:lnTo>
                  <a:pt x="4740066" y="2088786"/>
                </a:lnTo>
                <a:lnTo>
                  <a:pt x="4749340" y="2095108"/>
                </a:lnTo>
                <a:lnTo>
                  <a:pt x="4762969" y="2108451"/>
                </a:lnTo>
                <a:close/>
              </a:path>
            </a:pathLst>
          </a:custGeom>
          <a:solidFill>
            <a:schemeClr val="tx1">
              <a:lumMod val="60000"/>
              <a:lumOff val="40000"/>
            </a:schemeClr>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7" name="Rectangle 6">
            <a:extLst>
              <a:ext uri="{FF2B5EF4-FFF2-40B4-BE49-F238E27FC236}">
                <a16:creationId xmlns:a16="http://schemas.microsoft.com/office/drawing/2014/main" id="{AEF4E8FE-BEB3-4621-87AC-2808784AFA37}"/>
              </a:ext>
            </a:extLst>
          </p:cNvPr>
          <p:cNvSpPr/>
          <p:nvPr/>
        </p:nvSpPr>
        <p:spPr>
          <a:xfrm>
            <a:off x="4485854" y="5132128"/>
            <a:ext cx="3220292" cy="1446550"/>
          </a:xfrm>
          <a:prstGeom prst="rect">
            <a:avLst/>
          </a:prstGeom>
        </p:spPr>
        <p:txBody>
          <a:bodyPr wrap="square">
            <a:spAutoFit/>
          </a:bodyPr>
          <a:lstStyle/>
          <a:p>
            <a:pPr algn="ctr"/>
            <a:r>
              <a:rPr lang="en-US" sz="4400" b="1" cap="all" dirty="0" smtClean="0">
                <a:solidFill>
                  <a:schemeClr val="accent5"/>
                </a:solidFill>
              </a:rPr>
              <a:t>ZDHC MRSL</a:t>
            </a:r>
            <a:endParaRPr lang="en-US" sz="4400" b="1" cap="all" dirty="0">
              <a:solidFill>
                <a:schemeClr val="accent5"/>
              </a:solidFill>
            </a:endParaRPr>
          </a:p>
        </p:txBody>
      </p:sp>
      <p:grpSp>
        <p:nvGrpSpPr>
          <p:cNvPr id="8" name="Group 7">
            <a:extLst>
              <a:ext uri="{FF2B5EF4-FFF2-40B4-BE49-F238E27FC236}">
                <a16:creationId xmlns:a16="http://schemas.microsoft.com/office/drawing/2014/main" id="{3FD0898C-621D-4B43-88D9-53646D1FB687}"/>
              </a:ext>
            </a:extLst>
          </p:cNvPr>
          <p:cNvGrpSpPr/>
          <p:nvPr/>
        </p:nvGrpSpPr>
        <p:grpSpPr>
          <a:xfrm>
            <a:off x="4655840" y="2492896"/>
            <a:ext cx="2865890" cy="2536478"/>
            <a:chOff x="4370934" y="2291427"/>
            <a:chExt cx="3418963" cy="3025979"/>
          </a:xfrm>
        </p:grpSpPr>
        <p:sp>
          <p:nvSpPr>
            <p:cNvPr id="9" name="Freeform 54">
              <a:extLst>
                <a:ext uri="{FF2B5EF4-FFF2-40B4-BE49-F238E27FC236}">
                  <a16:creationId xmlns:a16="http://schemas.microsoft.com/office/drawing/2014/main" id="{8507B0C7-EB3B-4FF3-9430-E9D9A5D99A8F}"/>
                </a:ext>
              </a:extLst>
            </p:cNvPr>
            <p:cNvSpPr>
              <a:spLocks/>
            </p:cNvSpPr>
            <p:nvPr/>
          </p:nvSpPr>
          <p:spPr bwMode="auto">
            <a:xfrm>
              <a:off x="6150204" y="3708880"/>
              <a:ext cx="1639693" cy="1608526"/>
            </a:xfrm>
            <a:custGeom>
              <a:avLst/>
              <a:gdLst>
                <a:gd name="T0" fmla="*/ 4287 w 4838"/>
                <a:gd name="T1" fmla="*/ 174 h 4745"/>
                <a:gd name="T2" fmla="*/ 3818 w 4838"/>
                <a:gd name="T3" fmla="*/ 301 h 4745"/>
                <a:gd name="T4" fmla="*/ 3447 w 4838"/>
                <a:gd name="T5" fmla="*/ 261 h 4745"/>
                <a:gd name="T6" fmla="*/ 3257 w 4838"/>
                <a:gd name="T7" fmla="*/ 585 h 4745"/>
                <a:gd name="T8" fmla="*/ 2944 w 4838"/>
                <a:gd name="T9" fmla="*/ 875 h 4745"/>
                <a:gd name="T10" fmla="*/ 2420 w 4838"/>
                <a:gd name="T11" fmla="*/ 998 h 4745"/>
                <a:gd name="T12" fmla="*/ 1891 w 4838"/>
                <a:gd name="T13" fmla="*/ 909 h 4745"/>
                <a:gd name="T14" fmla="*/ 1766 w 4838"/>
                <a:gd name="T15" fmla="*/ 990 h 4745"/>
                <a:gd name="T16" fmla="*/ 1269 w 4838"/>
                <a:gd name="T17" fmla="*/ 1150 h 4745"/>
                <a:gd name="T18" fmla="*/ 775 w 4838"/>
                <a:gd name="T19" fmla="*/ 1133 h 4745"/>
                <a:gd name="T20" fmla="*/ 287 w 4838"/>
                <a:gd name="T21" fmla="*/ 933 h 4745"/>
                <a:gd name="T22" fmla="*/ 22 w 4838"/>
                <a:gd name="T23" fmla="*/ 2755 h 4745"/>
                <a:gd name="T24" fmla="*/ 317 w 4838"/>
                <a:gd name="T25" fmla="*/ 3160 h 4745"/>
                <a:gd name="T26" fmla="*/ 644 w 4838"/>
                <a:gd name="T27" fmla="*/ 3307 h 4745"/>
                <a:gd name="T28" fmla="*/ 1109 w 4838"/>
                <a:gd name="T29" fmla="*/ 3298 h 4745"/>
                <a:gd name="T30" fmla="*/ 1151 w 4838"/>
                <a:gd name="T31" fmla="*/ 2952 h 4745"/>
                <a:gd name="T32" fmla="*/ 1460 w 4838"/>
                <a:gd name="T33" fmla="*/ 2736 h 4745"/>
                <a:gd name="T34" fmla="*/ 1297 w 4838"/>
                <a:gd name="T35" fmla="*/ 3241 h 4745"/>
                <a:gd name="T36" fmla="*/ 1416 w 4838"/>
                <a:gd name="T37" fmla="*/ 3619 h 4745"/>
                <a:gd name="T38" fmla="*/ 1493 w 4838"/>
                <a:gd name="T39" fmla="*/ 3965 h 4745"/>
                <a:gd name="T40" fmla="*/ 1164 w 4838"/>
                <a:gd name="T41" fmla="*/ 3543 h 4745"/>
                <a:gd name="T42" fmla="*/ 757 w 4838"/>
                <a:gd name="T43" fmla="*/ 3514 h 4745"/>
                <a:gd name="T44" fmla="*/ 276 w 4838"/>
                <a:gd name="T45" fmla="*/ 3362 h 4745"/>
                <a:gd name="T46" fmla="*/ 24 w 4838"/>
                <a:gd name="T47" fmla="*/ 3133 h 4745"/>
                <a:gd name="T48" fmla="*/ 37 w 4838"/>
                <a:gd name="T49" fmla="*/ 3702 h 4745"/>
                <a:gd name="T50" fmla="*/ 312 w 4838"/>
                <a:gd name="T51" fmla="*/ 4327 h 4745"/>
                <a:gd name="T52" fmla="*/ 775 w 4838"/>
                <a:gd name="T53" fmla="*/ 4660 h 4745"/>
                <a:gd name="T54" fmla="*/ 1336 w 4838"/>
                <a:gd name="T55" fmla="*/ 4744 h 4745"/>
                <a:gd name="T56" fmla="*/ 1905 w 4838"/>
                <a:gd name="T57" fmla="*/ 4626 h 4745"/>
                <a:gd name="T58" fmla="*/ 2392 w 4838"/>
                <a:gd name="T59" fmla="*/ 4346 h 4745"/>
                <a:gd name="T60" fmla="*/ 2687 w 4838"/>
                <a:gd name="T61" fmla="*/ 3994 h 4745"/>
                <a:gd name="T62" fmla="*/ 2833 w 4838"/>
                <a:gd name="T63" fmla="*/ 3679 h 4745"/>
                <a:gd name="T64" fmla="*/ 2862 w 4838"/>
                <a:gd name="T65" fmla="*/ 3321 h 4745"/>
                <a:gd name="T66" fmla="*/ 2631 w 4838"/>
                <a:gd name="T67" fmla="*/ 2784 h 4745"/>
                <a:gd name="T68" fmla="*/ 2309 w 4838"/>
                <a:gd name="T69" fmla="*/ 2626 h 4745"/>
                <a:gd name="T70" fmla="*/ 1906 w 4838"/>
                <a:gd name="T71" fmla="*/ 2880 h 4745"/>
                <a:gd name="T72" fmla="*/ 1914 w 4838"/>
                <a:gd name="T73" fmla="*/ 2672 h 4745"/>
                <a:gd name="T74" fmla="*/ 2331 w 4838"/>
                <a:gd name="T75" fmla="*/ 2275 h 4745"/>
                <a:gd name="T76" fmla="*/ 2421 w 4838"/>
                <a:gd name="T77" fmla="*/ 1709 h 4745"/>
                <a:gd name="T78" fmla="*/ 2611 w 4838"/>
                <a:gd name="T79" fmla="*/ 1926 h 4745"/>
                <a:gd name="T80" fmla="*/ 2558 w 4838"/>
                <a:gd name="T81" fmla="*/ 2428 h 4745"/>
                <a:gd name="T82" fmla="*/ 2989 w 4838"/>
                <a:gd name="T83" fmla="*/ 3038 h 4745"/>
                <a:gd name="T84" fmla="*/ 3053 w 4838"/>
                <a:gd name="T85" fmla="*/ 3501 h 4745"/>
                <a:gd name="T86" fmla="*/ 2989 w 4838"/>
                <a:gd name="T87" fmla="*/ 3982 h 4745"/>
                <a:gd name="T88" fmla="*/ 3674 w 4838"/>
                <a:gd name="T89" fmla="*/ 3563 h 4745"/>
                <a:gd name="T90" fmla="*/ 3930 w 4838"/>
                <a:gd name="T91" fmla="*/ 3150 h 4745"/>
                <a:gd name="T92" fmla="*/ 4003 w 4838"/>
                <a:gd name="T93" fmla="*/ 2852 h 4745"/>
                <a:gd name="T94" fmla="*/ 3953 w 4838"/>
                <a:gd name="T95" fmla="*/ 2265 h 4745"/>
                <a:gd name="T96" fmla="*/ 3713 w 4838"/>
                <a:gd name="T97" fmla="*/ 1898 h 4745"/>
                <a:gd name="T98" fmla="*/ 3099 w 4838"/>
                <a:gd name="T99" fmla="*/ 1576 h 4745"/>
                <a:gd name="T100" fmla="*/ 3476 w 4838"/>
                <a:gd name="T101" fmla="*/ 1513 h 4745"/>
                <a:gd name="T102" fmla="*/ 4029 w 4838"/>
                <a:gd name="T103" fmla="*/ 1989 h 4745"/>
                <a:gd name="T104" fmla="*/ 4193 w 4838"/>
                <a:gd name="T105" fmla="*/ 2447 h 4745"/>
                <a:gd name="T106" fmla="*/ 4448 w 4838"/>
                <a:gd name="T107" fmla="*/ 2161 h 4745"/>
                <a:gd name="T108" fmla="*/ 4517 w 4838"/>
                <a:gd name="T109" fmla="*/ 1755 h 4745"/>
                <a:gd name="T110" fmla="*/ 4602 w 4838"/>
                <a:gd name="T111" fmla="*/ 1452 h 4745"/>
                <a:gd name="T112" fmla="*/ 4832 w 4838"/>
                <a:gd name="T113" fmla="*/ 904 h 4745"/>
                <a:gd name="T114" fmla="*/ 4754 w 4838"/>
                <a:gd name="T115" fmla="*/ 357 h 4745"/>
                <a:gd name="T116" fmla="*/ 4505 w 4838"/>
                <a:gd name="T117" fmla="*/ 0 h 4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38" h="4745">
                  <a:moveTo>
                    <a:pt x="4505" y="0"/>
                  </a:moveTo>
                  <a:lnTo>
                    <a:pt x="4478" y="27"/>
                  </a:lnTo>
                  <a:lnTo>
                    <a:pt x="4421" y="81"/>
                  </a:lnTo>
                  <a:lnTo>
                    <a:pt x="4357" y="130"/>
                  </a:lnTo>
                  <a:lnTo>
                    <a:pt x="4287" y="174"/>
                  </a:lnTo>
                  <a:lnTo>
                    <a:pt x="4251" y="195"/>
                  </a:lnTo>
                  <a:lnTo>
                    <a:pt x="4189" y="226"/>
                  </a:lnTo>
                  <a:lnTo>
                    <a:pt x="4064" y="269"/>
                  </a:lnTo>
                  <a:lnTo>
                    <a:pt x="3940" y="292"/>
                  </a:lnTo>
                  <a:lnTo>
                    <a:pt x="3818" y="301"/>
                  </a:lnTo>
                  <a:lnTo>
                    <a:pt x="3761" y="300"/>
                  </a:lnTo>
                  <a:lnTo>
                    <a:pt x="3713" y="298"/>
                  </a:lnTo>
                  <a:lnTo>
                    <a:pt x="3620" y="292"/>
                  </a:lnTo>
                  <a:lnTo>
                    <a:pt x="3532" y="279"/>
                  </a:lnTo>
                  <a:lnTo>
                    <a:pt x="3447" y="261"/>
                  </a:lnTo>
                  <a:lnTo>
                    <a:pt x="3408" y="249"/>
                  </a:lnTo>
                  <a:lnTo>
                    <a:pt x="3392" y="302"/>
                  </a:lnTo>
                  <a:lnTo>
                    <a:pt x="3354" y="405"/>
                  </a:lnTo>
                  <a:lnTo>
                    <a:pt x="3309" y="499"/>
                  </a:lnTo>
                  <a:lnTo>
                    <a:pt x="3257" y="585"/>
                  </a:lnTo>
                  <a:lnTo>
                    <a:pt x="3200" y="664"/>
                  </a:lnTo>
                  <a:lnTo>
                    <a:pt x="3135" y="734"/>
                  </a:lnTo>
                  <a:lnTo>
                    <a:pt x="3064" y="797"/>
                  </a:lnTo>
                  <a:lnTo>
                    <a:pt x="2986" y="852"/>
                  </a:lnTo>
                  <a:lnTo>
                    <a:pt x="2944" y="875"/>
                  </a:lnTo>
                  <a:lnTo>
                    <a:pt x="2880" y="909"/>
                  </a:lnTo>
                  <a:lnTo>
                    <a:pt x="2747" y="955"/>
                  </a:lnTo>
                  <a:lnTo>
                    <a:pt x="2614" y="985"/>
                  </a:lnTo>
                  <a:lnTo>
                    <a:pt x="2483" y="998"/>
                  </a:lnTo>
                  <a:lnTo>
                    <a:pt x="2420" y="998"/>
                  </a:lnTo>
                  <a:lnTo>
                    <a:pt x="2366" y="998"/>
                  </a:lnTo>
                  <a:lnTo>
                    <a:pt x="2267" y="990"/>
                  </a:lnTo>
                  <a:lnTo>
                    <a:pt x="2131" y="972"/>
                  </a:lnTo>
                  <a:lnTo>
                    <a:pt x="1930" y="923"/>
                  </a:lnTo>
                  <a:lnTo>
                    <a:pt x="1891" y="909"/>
                  </a:lnTo>
                  <a:lnTo>
                    <a:pt x="1895" y="900"/>
                  </a:lnTo>
                  <a:lnTo>
                    <a:pt x="1892" y="901"/>
                  </a:lnTo>
                  <a:lnTo>
                    <a:pt x="1889" y="904"/>
                  </a:lnTo>
                  <a:lnTo>
                    <a:pt x="1849" y="935"/>
                  </a:lnTo>
                  <a:lnTo>
                    <a:pt x="1766" y="990"/>
                  </a:lnTo>
                  <a:lnTo>
                    <a:pt x="1677" y="1038"/>
                  </a:lnTo>
                  <a:lnTo>
                    <a:pt x="1582" y="1079"/>
                  </a:lnTo>
                  <a:lnTo>
                    <a:pt x="1484" y="1110"/>
                  </a:lnTo>
                  <a:lnTo>
                    <a:pt x="1379" y="1134"/>
                  </a:lnTo>
                  <a:lnTo>
                    <a:pt x="1269" y="1150"/>
                  </a:lnTo>
                  <a:lnTo>
                    <a:pt x="1153" y="1158"/>
                  </a:lnTo>
                  <a:lnTo>
                    <a:pt x="1094" y="1159"/>
                  </a:lnTo>
                  <a:lnTo>
                    <a:pt x="1017" y="1158"/>
                  </a:lnTo>
                  <a:lnTo>
                    <a:pt x="858" y="1145"/>
                  </a:lnTo>
                  <a:lnTo>
                    <a:pt x="775" y="1133"/>
                  </a:lnTo>
                  <a:lnTo>
                    <a:pt x="715" y="1123"/>
                  </a:lnTo>
                  <a:lnTo>
                    <a:pt x="600" y="1090"/>
                  </a:lnTo>
                  <a:lnTo>
                    <a:pt x="490" y="1048"/>
                  </a:lnTo>
                  <a:lnTo>
                    <a:pt x="386" y="994"/>
                  </a:lnTo>
                  <a:lnTo>
                    <a:pt x="287" y="933"/>
                  </a:lnTo>
                  <a:lnTo>
                    <a:pt x="197" y="866"/>
                  </a:lnTo>
                  <a:lnTo>
                    <a:pt x="72" y="760"/>
                  </a:lnTo>
                  <a:lnTo>
                    <a:pt x="0" y="688"/>
                  </a:lnTo>
                  <a:lnTo>
                    <a:pt x="0" y="2695"/>
                  </a:lnTo>
                  <a:lnTo>
                    <a:pt x="22" y="2755"/>
                  </a:lnTo>
                  <a:lnTo>
                    <a:pt x="84" y="2884"/>
                  </a:lnTo>
                  <a:lnTo>
                    <a:pt x="147" y="2981"/>
                  </a:lnTo>
                  <a:lnTo>
                    <a:pt x="197" y="3045"/>
                  </a:lnTo>
                  <a:lnTo>
                    <a:pt x="254" y="3104"/>
                  </a:lnTo>
                  <a:lnTo>
                    <a:pt x="317" y="3160"/>
                  </a:lnTo>
                  <a:lnTo>
                    <a:pt x="354" y="3185"/>
                  </a:lnTo>
                  <a:lnTo>
                    <a:pt x="390" y="3209"/>
                  </a:lnTo>
                  <a:lnTo>
                    <a:pt x="469" y="3251"/>
                  </a:lnTo>
                  <a:lnTo>
                    <a:pt x="554" y="3283"/>
                  </a:lnTo>
                  <a:lnTo>
                    <a:pt x="644" y="3307"/>
                  </a:lnTo>
                  <a:lnTo>
                    <a:pt x="738" y="3321"/>
                  </a:lnTo>
                  <a:lnTo>
                    <a:pt x="838" y="3326"/>
                  </a:lnTo>
                  <a:lnTo>
                    <a:pt x="942" y="3322"/>
                  </a:lnTo>
                  <a:lnTo>
                    <a:pt x="1052" y="3308"/>
                  </a:lnTo>
                  <a:lnTo>
                    <a:pt x="1109" y="3298"/>
                  </a:lnTo>
                  <a:lnTo>
                    <a:pt x="1107" y="3263"/>
                  </a:lnTo>
                  <a:lnTo>
                    <a:pt x="1107" y="3190"/>
                  </a:lnTo>
                  <a:lnTo>
                    <a:pt x="1114" y="3114"/>
                  </a:lnTo>
                  <a:lnTo>
                    <a:pt x="1129" y="3034"/>
                  </a:lnTo>
                  <a:lnTo>
                    <a:pt x="1151" y="2952"/>
                  </a:lnTo>
                  <a:lnTo>
                    <a:pt x="1182" y="2865"/>
                  </a:lnTo>
                  <a:lnTo>
                    <a:pt x="1222" y="2775"/>
                  </a:lnTo>
                  <a:lnTo>
                    <a:pt x="1271" y="2683"/>
                  </a:lnTo>
                  <a:lnTo>
                    <a:pt x="1300" y="2635"/>
                  </a:lnTo>
                  <a:lnTo>
                    <a:pt x="1460" y="2736"/>
                  </a:lnTo>
                  <a:lnTo>
                    <a:pt x="1423" y="2800"/>
                  </a:lnTo>
                  <a:lnTo>
                    <a:pt x="1363" y="2922"/>
                  </a:lnTo>
                  <a:lnTo>
                    <a:pt x="1324" y="3036"/>
                  </a:lnTo>
                  <a:lnTo>
                    <a:pt x="1302" y="3142"/>
                  </a:lnTo>
                  <a:lnTo>
                    <a:pt x="1297" y="3241"/>
                  </a:lnTo>
                  <a:lnTo>
                    <a:pt x="1304" y="3333"/>
                  </a:lnTo>
                  <a:lnTo>
                    <a:pt x="1320" y="3416"/>
                  </a:lnTo>
                  <a:lnTo>
                    <a:pt x="1348" y="3492"/>
                  </a:lnTo>
                  <a:lnTo>
                    <a:pt x="1380" y="3559"/>
                  </a:lnTo>
                  <a:lnTo>
                    <a:pt x="1416" y="3619"/>
                  </a:lnTo>
                  <a:lnTo>
                    <a:pt x="1475" y="3696"/>
                  </a:lnTo>
                  <a:lnTo>
                    <a:pt x="1581" y="3794"/>
                  </a:lnTo>
                  <a:lnTo>
                    <a:pt x="1606" y="3811"/>
                  </a:lnTo>
                  <a:lnTo>
                    <a:pt x="1503" y="3970"/>
                  </a:lnTo>
                  <a:lnTo>
                    <a:pt x="1493" y="3965"/>
                  </a:lnTo>
                  <a:lnTo>
                    <a:pt x="1415" y="3900"/>
                  </a:lnTo>
                  <a:lnTo>
                    <a:pt x="1330" y="3812"/>
                  </a:lnTo>
                  <a:lnTo>
                    <a:pt x="1270" y="3736"/>
                  </a:lnTo>
                  <a:lnTo>
                    <a:pt x="1213" y="3646"/>
                  </a:lnTo>
                  <a:lnTo>
                    <a:pt x="1164" y="3543"/>
                  </a:lnTo>
                  <a:lnTo>
                    <a:pt x="1144" y="3484"/>
                  </a:lnTo>
                  <a:lnTo>
                    <a:pt x="1065" y="3498"/>
                  </a:lnTo>
                  <a:lnTo>
                    <a:pt x="913" y="3514"/>
                  </a:lnTo>
                  <a:lnTo>
                    <a:pt x="841" y="3515"/>
                  </a:lnTo>
                  <a:lnTo>
                    <a:pt x="757" y="3514"/>
                  </a:lnTo>
                  <a:lnTo>
                    <a:pt x="596" y="3492"/>
                  </a:lnTo>
                  <a:lnTo>
                    <a:pt x="483" y="3461"/>
                  </a:lnTo>
                  <a:lnTo>
                    <a:pt x="412" y="3434"/>
                  </a:lnTo>
                  <a:lnTo>
                    <a:pt x="343" y="3400"/>
                  </a:lnTo>
                  <a:lnTo>
                    <a:pt x="276" y="3362"/>
                  </a:lnTo>
                  <a:lnTo>
                    <a:pt x="245" y="3340"/>
                  </a:lnTo>
                  <a:lnTo>
                    <a:pt x="207" y="3314"/>
                  </a:lnTo>
                  <a:lnTo>
                    <a:pt x="140" y="3257"/>
                  </a:lnTo>
                  <a:lnTo>
                    <a:pt x="79" y="3197"/>
                  </a:lnTo>
                  <a:lnTo>
                    <a:pt x="24" y="3133"/>
                  </a:lnTo>
                  <a:lnTo>
                    <a:pt x="0" y="3101"/>
                  </a:lnTo>
                  <a:lnTo>
                    <a:pt x="0" y="3266"/>
                  </a:lnTo>
                  <a:lnTo>
                    <a:pt x="1" y="3361"/>
                  </a:lnTo>
                  <a:lnTo>
                    <a:pt x="14" y="3539"/>
                  </a:lnTo>
                  <a:lnTo>
                    <a:pt x="37" y="3702"/>
                  </a:lnTo>
                  <a:lnTo>
                    <a:pt x="74" y="3852"/>
                  </a:lnTo>
                  <a:lnTo>
                    <a:pt x="119" y="3990"/>
                  </a:lnTo>
                  <a:lnTo>
                    <a:pt x="175" y="4114"/>
                  </a:lnTo>
                  <a:lnTo>
                    <a:pt x="239" y="4227"/>
                  </a:lnTo>
                  <a:lnTo>
                    <a:pt x="312" y="4327"/>
                  </a:lnTo>
                  <a:lnTo>
                    <a:pt x="392" y="4415"/>
                  </a:lnTo>
                  <a:lnTo>
                    <a:pt x="481" y="4493"/>
                  </a:lnTo>
                  <a:lnTo>
                    <a:pt x="574" y="4559"/>
                  </a:lnTo>
                  <a:lnTo>
                    <a:pt x="672" y="4614"/>
                  </a:lnTo>
                  <a:lnTo>
                    <a:pt x="775" y="4660"/>
                  </a:lnTo>
                  <a:lnTo>
                    <a:pt x="882" y="4695"/>
                  </a:lnTo>
                  <a:lnTo>
                    <a:pt x="993" y="4721"/>
                  </a:lnTo>
                  <a:lnTo>
                    <a:pt x="1105" y="4738"/>
                  </a:lnTo>
                  <a:lnTo>
                    <a:pt x="1221" y="4745"/>
                  </a:lnTo>
                  <a:lnTo>
                    <a:pt x="1336" y="4744"/>
                  </a:lnTo>
                  <a:lnTo>
                    <a:pt x="1453" y="4736"/>
                  </a:lnTo>
                  <a:lnTo>
                    <a:pt x="1568" y="4719"/>
                  </a:lnTo>
                  <a:lnTo>
                    <a:pt x="1682" y="4695"/>
                  </a:lnTo>
                  <a:lnTo>
                    <a:pt x="1795" y="4664"/>
                  </a:lnTo>
                  <a:lnTo>
                    <a:pt x="1905" y="4626"/>
                  </a:lnTo>
                  <a:lnTo>
                    <a:pt x="2013" y="4582"/>
                  </a:lnTo>
                  <a:lnTo>
                    <a:pt x="2115" y="4532"/>
                  </a:lnTo>
                  <a:lnTo>
                    <a:pt x="2213" y="4474"/>
                  </a:lnTo>
                  <a:lnTo>
                    <a:pt x="2305" y="4414"/>
                  </a:lnTo>
                  <a:lnTo>
                    <a:pt x="2392" y="4346"/>
                  </a:lnTo>
                  <a:lnTo>
                    <a:pt x="2473" y="4275"/>
                  </a:lnTo>
                  <a:lnTo>
                    <a:pt x="2544" y="4200"/>
                  </a:lnTo>
                  <a:lnTo>
                    <a:pt x="2609" y="4121"/>
                  </a:lnTo>
                  <a:lnTo>
                    <a:pt x="2663" y="4036"/>
                  </a:lnTo>
                  <a:lnTo>
                    <a:pt x="2687" y="3994"/>
                  </a:lnTo>
                  <a:lnTo>
                    <a:pt x="2693" y="3995"/>
                  </a:lnTo>
                  <a:lnTo>
                    <a:pt x="2700" y="3996"/>
                  </a:lnTo>
                  <a:lnTo>
                    <a:pt x="2735" y="3934"/>
                  </a:lnTo>
                  <a:lnTo>
                    <a:pt x="2797" y="3795"/>
                  </a:lnTo>
                  <a:lnTo>
                    <a:pt x="2833" y="3679"/>
                  </a:lnTo>
                  <a:lnTo>
                    <a:pt x="2851" y="3596"/>
                  </a:lnTo>
                  <a:lnTo>
                    <a:pt x="2863" y="3510"/>
                  </a:lnTo>
                  <a:lnTo>
                    <a:pt x="2867" y="3422"/>
                  </a:lnTo>
                  <a:lnTo>
                    <a:pt x="2865" y="3377"/>
                  </a:lnTo>
                  <a:lnTo>
                    <a:pt x="2862" y="3321"/>
                  </a:lnTo>
                  <a:lnTo>
                    <a:pt x="2842" y="3209"/>
                  </a:lnTo>
                  <a:lnTo>
                    <a:pt x="2810" y="3101"/>
                  </a:lnTo>
                  <a:lnTo>
                    <a:pt x="2763" y="2993"/>
                  </a:lnTo>
                  <a:lnTo>
                    <a:pt x="2705" y="2888"/>
                  </a:lnTo>
                  <a:lnTo>
                    <a:pt x="2631" y="2784"/>
                  </a:lnTo>
                  <a:lnTo>
                    <a:pt x="2545" y="2682"/>
                  </a:lnTo>
                  <a:lnTo>
                    <a:pt x="2447" y="2582"/>
                  </a:lnTo>
                  <a:lnTo>
                    <a:pt x="2391" y="2533"/>
                  </a:lnTo>
                  <a:lnTo>
                    <a:pt x="2366" y="2565"/>
                  </a:lnTo>
                  <a:lnTo>
                    <a:pt x="2309" y="2626"/>
                  </a:lnTo>
                  <a:lnTo>
                    <a:pt x="2246" y="2685"/>
                  </a:lnTo>
                  <a:lnTo>
                    <a:pt x="2175" y="2740"/>
                  </a:lnTo>
                  <a:lnTo>
                    <a:pt x="2094" y="2791"/>
                  </a:lnTo>
                  <a:lnTo>
                    <a:pt x="2005" y="2837"/>
                  </a:lnTo>
                  <a:lnTo>
                    <a:pt x="1906" y="2880"/>
                  </a:lnTo>
                  <a:lnTo>
                    <a:pt x="1797" y="2917"/>
                  </a:lnTo>
                  <a:lnTo>
                    <a:pt x="1739" y="2932"/>
                  </a:lnTo>
                  <a:lnTo>
                    <a:pt x="1692" y="2748"/>
                  </a:lnTo>
                  <a:lnTo>
                    <a:pt x="1773" y="2726"/>
                  </a:lnTo>
                  <a:lnTo>
                    <a:pt x="1914" y="2672"/>
                  </a:lnTo>
                  <a:lnTo>
                    <a:pt x="2033" y="2605"/>
                  </a:lnTo>
                  <a:lnTo>
                    <a:pt x="2133" y="2532"/>
                  </a:lnTo>
                  <a:lnTo>
                    <a:pt x="2216" y="2450"/>
                  </a:lnTo>
                  <a:lnTo>
                    <a:pt x="2281" y="2363"/>
                  </a:lnTo>
                  <a:lnTo>
                    <a:pt x="2331" y="2275"/>
                  </a:lnTo>
                  <a:lnTo>
                    <a:pt x="2370" y="2184"/>
                  </a:lnTo>
                  <a:lnTo>
                    <a:pt x="2398" y="2095"/>
                  </a:lnTo>
                  <a:lnTo>
                    <a:pt x="2414" y="2009"/>
                  </a:lnTo>
                  <a:lnTo>
                    <a:pt x="2427" y="1890"/>
                  </a:lnTo>
                  <a:lnTo>
                    <a:pt x="2421" y="1709"/>
                  </a:lnTo>
                  <a:lnTo>
                    <a:pt x="2414" y="1671"/>
                  </a:lnTo>
                  <a:lnTo>
                    <a:pt x="2600" y="1635"/>
                  </a:lnTo>
                  <a:lnTo>
                    <a:pt x="2602" y="1649"/>
                  </a:lnTo>
                  <a:lnTo>
                    <a:pt x="2614" y="1773"/>
                  </a:lnTo>
                  <a:lnTo>
                    <a:pt x="2611" y="1926"/>
                  </a:lnTo>
                  <a:lnTo>
                    <a:pt x="2597" y="2044"/>
                  </a:lnTo>
                  <a:lnTo>
                    <a:pt x="2570" y="2171"/>
                  </a:lnTo>
                  <a:lnTo>
                    <a:pt x="2525" y="2305"/>
                  </a:lnTo>
                  <a:lnTo>
                    <a:pt x="2493" y="2371"/>
                  </a:lnTo>
                  <a:lnTo>
                    <a:pt x="2558" y="2428"/>
                  </a:lnTo>
                  <a:lnTo>
                    <a:pt x="2676" y="2545"/>
                  </a:lnTo>
                  <a:lnTo>
                    <a:pt x="2777" y="2664"/>
                  </a:lnTo>
                  <a:lnTo>
                    <a:pt x="2864" y="2786"/>
                  </a:lnTo>
                  <a:lnTo>
                    <a:pt x="2934" y="2910"/>
                  </a:lnTo>
                  <a:lnTo>
                    <a:pt x="2989" y="3038"/>
                  </a:lnTo>
                  <a:lnTo>
                    <a:pt x="3027" y="3168"/>
                  </a:lnTo>
                  <a:lnTo>
                    <a:pt x="3051" y="3301"/>
                  </a:lnTo>
                  <a:lnTo>
                    <a:pt x="3055" y="3369"/>
                  </a:lnTo>
                  <a:lnTo>
                    <a:pt x="3056" y="3414"/>
                  </a:lnTo>
                  <a:lnTo>
                    <a:pt x="3053" y="3501"/>
                  </a:lnTo>
                  <a:lnTo>
                    <a:pt x="3039" y="3628"/>
                  </a:lnTo>
                  <a:lnTo>
                    <a:pt x="3000" y="3786"/>
                  </a:lnTo>
                  <a:lnTo>
                    <a:pt x="2947" y="3929"/>
                  </a:lnTo>
                  <a:lnTo>
                    <a:pt x="2916" y="3995"/>
                  </a:lnTo>
                  <a:lnTo>
                    <a:pt x="2989" y="3982"/>
                  </a:lnTo>
                  <a:lnTo>
                    <a:pt x="3139" y="3937"/>
                  </a:lnTo>
                  <a:lnTo>
                    <a:pt x="3289" y="3868"/>
                  </a:lnTo>
                  <a:lnTo>
                    <a:pt x="3437" y="3777"/>
                  </a:lnTo>
                  <a:lnTo>
                    <a:pt x="3577" y="3663"/>
                  </a:lnTo>
                  <a:lnTo>
                    <a:pt x="3674" y="3563"/>
                  </a:lnTo>
                  <a:lnTo>
                    <a:pt x="3735" y="3491"/>
                  </a:lnTo>
                  <a:lnTo>
                    <a:pt x="3791" y="3413"/>
                  </a:lnTo>
                  <a:lnTo>
                    <a:pt x="3843" y="3330"/>
                  </a:lnTo>
                  <a:lnTo>
                    <a:pt x="3889" y="3243"/>
                  </a:lnTo>
                  <a:lnTo>
                    <a:pt x="3930" y="3150"/>
                  </a:lnTo>
                  <a:lnTo>
                    <a:pt x="3948" y="3102"/>
                  </a:lnTo>
                  <a:lnTo>
                    <a:pt x="3945" y="3102"/>
                  </a:lnTo>
                  <a:lnTo>
                    <a:pt x="3952" y="3084"/>
                  </a:lnTo>
                  <a:lnTo>
                    <a:pt x="3983" y="2966"/>
                  </a:lnTo>
                  <a:lnTo>
                    <a:pt x="4003" y="2852"/>
                  </a:lnTo>
                  <a:lnTo>
                    <a:pt x="4016" y="2713"/>
                  </a:lnTo>
                  <a:lnTo>
                    <a:pt x="4014" y="2558"/>
                  </a:lnTo>
                  <a:lnTo>
                    <a:pt x="3998" y="2433"/>
                  </a:lnTo>
                  <a:lnTo>
                    <a:pt x="3979" y="2349"/>
                  </a:lnTo>
                  <a:lnTo>
                    <a:pt x="3953" y="2265"/>
                  </a:lnTo>
                  <a:lnTo>
                    <a:pt x="3918" y="2180"/>
                  </a:lnTo>
                  <a:lnTo>
                    <a:pt x="3897" y="2139"/>
                  </a:lnTo>
                  <a:lnTo>
                    <a:pt x="3867" y="2086"/>
                  </a:lnTo>
                  <a:lnTo>
                    <a:pt x="3796" y="1989"/>
                  </a:lnTo>
                  <a:lnTo>
                    <a:pt x="3713" y="1898"/>
                  </a:lnTo>
                  <a:lnTo>
                    <a:pt x="3616" y="1817"/>
                  </a:lnTo>
                  <a:lnTo>
                    <a:pt x="3506" y="1744"/>
                  </a:lnTo>
                  <a:lnTo>
                    <a:pt x="3383" y="1680"/>
                  </a:lnTo>
                  <a:lnTo>
                    <a:pt x="3248" y="1624"/>
                  </a:lnTo>
                  <a:lnTo>
                    <a:pt x="3099" y="1576"/>
                  </a:lnTo>
                  <a:lnTo>
                    <a:pt x="3020" y="1557"/>
                  </a:lnTo>
                  <a:lnTo>
                    <a:pt x="3064" y="1372"/>
                  </a:lnTo>
                  <a:lnTo>
                    <a:pt x="3153" y="1395"/>
                  </a:lnTo>
                  <a:lnTo>
                    <a:pt x="3322" y="1448"/>
                  </a:lnTo>
                  <a:lnTo>
                    <a:pt x="3476" y="1513"/>
                  </a:lnTo>
                  <a:lnTo>
                    <a:pt x="3615" y="1588"/>
                  </a:lnTo>
                  <a:lnTo>
                    <a:pt x="3740" y="1672"/>
                  </a:lnTo>
                  <a:lnTo>
                    <a:pt x="3852" y="1768"/>
                  </a:lnTo>
                  <a:lnTo>
                    <a:pt x="3948" y="1873"/>
                  </a:lnTo>
                  <a:lnTo>
                    <a:pt x="4029" y="1989"/>
                  </a:lnTo>
                  <a:lnTo>
                    <a:pt x="4064" y="2051"/>
                  </a:lnTo>
                  <a:lnTo>
                    <a:pt x="4093" y="2108"/>
                  </a:lnTo>
                  <a:lnTo>
                    <a:pt x="4140" y="2222"/>
                  </a:lnTo>
                  <a:lnTo>
                    <a:pt x="4172" y="2336"/>
                  </a:lnTo>
                  <a:lnTo>
                    <a:pt x="4193" y="2447"/>
                  </a:lnTo>
                  <a:lnTo>
                    <a:pt x="4199" y="2503"/>
                  </a:lnTo>
                  <a:lnTo>
                    <a:pt x="4237" y="2464"/>
                  </a:lnTo>
                  <a:lnTo>
                    <a:pt x="4313" y="2375"/>
                  </a:lnTo>
                  <a:lnTo>
                    <a:pt x="4386" y="2272"/>
                  </a:lnTo>
                  <a:lnTo>
                    <a:pt x="4448" y="2161"/>
                  </a:lnTo>
                  <a:lnTo>
                    <a:pt x="4496" y="2042"/>
                  </a:lnTo>
                  <a:lnTo>
                    <a:pt x="4518" y="1948"/>
                  </a:lnTo>
                  <a:lnTo>
                    <a:pt x="4524" y="1885"/>
                  </a:lnTo>
                  <a:lnTo>
                    <a:pt x="4524" y="1820"/>
                  </a:lnTo>
                  <a:lnTo>
                    <a:pt x="4517" y="1755"/>
                  </a:lnTo>
                  <a:lnTo>
                    <a:pt x="4500" y="1689"/>
                  </a:lnTo>
                  <a:lnTo>
                    <a:pt x="4474" y="1624"/>
                  </a:lnTo>
                  <a:lnTo>
                    <a:pt x="4457" y="1592"/>
                  </a:lnTo>
                  <a:lnTo>
                    <a:pt x="4510" y="1547"/>
                  </a:lnTo>
                  <a:lnTo>
                    <a:pt x="4602" y="1452"/>
                  </a:lnTo>
                  <a:lnTo>
                    <a:pt x="4677" y="1351"/>
                  </a:lnTo>
                  <a:lnTo>
                    <a:pt x="4737" y="1243"/>
                  </a:lnTo>
                  <a:lnTo>
                    <a:pt x="4782" y="1133"/>
                  </a:lnTo>
                  <a:lnTo>
                    <a:pt x="4814" y="1019"/>
                  </a:lnTo>
                  <a:lnTo>
                    <a:pt x="4832" y="904"/>
                  </a:lnTo>
                  <a:lnTo>
                    <a:pt x="4838" y="790"/>
                  </a:lnTo>
                  <a:lnTo>
                    <a:pt x="4832" y="676"/>
                  </a:lnTo>
                  <a:lnTo>
                    <a:pt x="4816" y="565"/>
                  </a:lnTo>
                  <a:lnTo>
                    <a:pt x="4790" y="458"/>
                  </a:lnTo>
                  <a:lnTo>
                    <a:pt x="4754" y="357"/>
                  </a:lnTo>
                  <a:lnTo>
                    <a:pt x="4711" y="262"/>
                  </a:lnTo>
                  <a:lnTo>
                    <a:pt x="4659" y="174"/>
                  </a:lnTo>
                  <a:lnTo>
                    <a:pt x="4602" y="96"/>
                  </a:lnTo>
                  <a:lnTo>
                    <a:pt x="4539" y="29"/>
                  </a:lnTo>
                  <a:lnTo>
                    <a:pt x="4505" y="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Shape 22">
              <a:extLst>
                <a:ext uri="{FF2B5EF4-FFF2-40B4-BE49-F238E27FC236}">
                  <a16:creationId xmlns:a16="http://schemas.microsoft.com/office/drawing/2014/main" id="{E243D26D-D8C3-4962-A0E5-7151E3532375}"/>
                </a:ext>
              </a:extLst>
            </p:cNvPr>
            <p:cNvSpPr>
              <a:spLocks/>
            </p:cNvSpPr>
            <p:nvPr/>
          </p:nvSpPr>
          <p:spPr bwMode="auto">
            <a:xfrm>
              <a:off x="6150204" y="2291427"/>
              <a:ext cx="1539414" cy="1745392"/>
            </a:xfrm>
            <a:custGeom>
              <a:avLst/>
              <a:gdLst>
                <a:gd name="connsiteX0" fmla="*/ 1075964 w 1539414"/>
                <a:gd name="connsiteY0" fmla="*/ 503700 h 1745392"/>
                <a:gd name="connsiteX1" fmla="*/ 1076641 w 1539414"/>
                <a:gd name="connsiteY1" fmla="*/ 503700 h 1745392"/>
                <a:gd name="connsiteX2" fmla="*/ 1075286 w 1539414"/>
                <a:gd name="connsiteY2" fmla="*/ 504039 h 1745392"/>
                <a:gd name="connsiteX3" fmla="*/ 1075261 w 1539414"/>
                <a:gd name="connsiteY3" fmla="*/ 503841 h 1745392"/>
                <a:gd name="connsiteX4" fmla="*/ 727360 w 1539414"/>
                <a:gd name="connsiteY4" fmla="*/ 210043 h 1745392"/>
                <a:gd name="connsiteX5" fmla="*/ 764287 w 1539414"/>
                <a:gd name="connsiteY5" fmla="*/ 211737 h 1745392"/>
                <a:gd name="connsiteX6" fmla="*/ 800536 w 1539414"/>
                <a:gd name="connsiteY6" fmla="*/ 218172 h 1745392"/>
                <a:gd name="connsiteX7" fmla="*/ 835430 w 1539414"/>
                <a:gd name="connsiteY7" fmla="*/ 228333 h 1745392"/>
                <a:gd name="connsiteX8" fmla="*/ 868970 w 1539414"/>
                <a:gd name="connsiteY8" fmla="*/ 242559 h 1745392"/>
                <a:gd name="connsiteX9" fmla="*/ 900476 w 1539414"/>
                <a:gd name="connsiteY9" fmla="*/ 259494 h 1745392"/>
                <a:gd name="connsiteX10" fmla="*/ 930289 w 1539414"/>
                <a:gd name="connsiteY10" fmla="*/ 279139 h 1745392"/>
                <a:gd name="connsiteX11" fmla="*/ 958069 w 1539414"/>
                <a:gd name="connsiteY11" fmla="*/ 301155 h 1745392"/>
                <a:gd name="connsiteX12" fmla="*/ 983477 w 1539414"/>
                <a:gd name="connsiteY12" fmla="*/ 325203 h 1745392"/>
                <a:gd name="connsiteX13" fmla="*/ 1006175 w 1539414"/>
                <a:gd name="connsiteY13" fmla="*/ 351283 h 1745392"/>
                <a:gd name="connsiteX14" fmla="*/ 1026163 w 1539414"/>
                <a:gd name="connsiteY14" fmla="*/ 378041 h 1745392"/>
                <a:gd name="connsiteX15" fmla="*/ 1043102 w 1539414"/>
                <a:gd name="connsiteY15" fmla="*/ 406153 h 1745392"/>
                <a:gd name="connsiteX16" fmla="*/ 1056653 w 1539414"/>
                <a:gd name="connsiteY16" fmla="*/ 434266 h 1745392"/>
                <a:gd name="connsiteX17" fmla="*/ 1066817 w 1539414"/>
                <a:gd name="connsiteY17" fmla="*/ 462378 h 1745392"/>
                <a:gd name="connsiteX18" fmla="*/ 1073592 w 1539414"/>
                <a:gd name="connsiteY18" fmla="*/ 490491 h 1745392"/>
                <a:gd name="connsiteX19" fmla="*/ 1075261 w 1539414"/>
                <a:gd name="connsiteY19" fmla="*/ 503841 h 1745392"/>
                <a:gd name="connsiteX20" fmla="*/ 1074270 w 1539414"/>
                <a:gd name="connsiteY20" fmla="*/ 504039 h 1745392"/>
                <a:gd name="connsiteX21" fmla="*/ 1075286 w 1539414"/>
                <a:gd name="connsiteY21" fmla="*/ 504039 h 1745392"/>
                <a:gd name="connsiteX22" fmla="*/ 1084772 w 1539414"/>
                <a:gd name="connsiteY22" fmla="*/ 552812 h 1745392"/>
                <a:gd name="connsiteX23" fmla="*/ 1094935 w 1539414"/>
                <a:gd name="connsiteY23" fmla="*/ 615134 h 1745392"/>
                <a:gd name="connsiteX24" fmla="*/ 1098662 w 1539414"/>
                <a:gd name="connsiteY24" fmla="*/ 652730 h 1745392"/>
                <a:gd name="connsiteX25" fmla="*/ 1099001 w 1539414"/>
                <a:gd name="connsiteY25" fmla="*/ 686601 h 1745392"/>
                <a:gd name="connsiteX26" fmla="*/ 1095613 w 1539414"/>
                <a:gd name="connsiteY26" fmla="*/ 718439 h 1745392"/>
                <a:gd name="connsiteX27" fmla="*/ 1088499 w 1539414"/>
                <a:gd name="connsiteY27" fmla="*/ 748245 h 1745392"/>
                <a:gd name="connsiteX28" fmla="*/ 1076641 w 1539414"/>
                <a:gd name="connsiteY28" fmla="*/ 776358 h 1745392"/>
                <a:gd name="connsiteX29" fmla="*/ 1068511 w 1539414"/>
                <a:gd name="connsiteY29" fmla="*/ 789906 h 1745392"/>
                <a:gd name="connsiteX30" fmla="*/ 1061735 w 1539414"/>
                <a:gd name="connsiteY30" fmla="*/ 801083 h 1745392"/>
                <a:gd name="connsiteX31" fmla="*/ 1045474 w 1539414"/>
                <a:gd name="connsiteY31" fmla="*/ 822421 h 1745392"/>
                <a:gd name="connsiteX32" fmla="*/ 1027518 w 1539414"/>
                <a:gd name="connsiteY32" fmla="*/ 840712 h 1745392"/>
                <a:gd name="connsiteX33" fmla="*/ 1008208 w 1539414"/>
                <a:gd name="connsiteY33" fmla="*/ 857308 h 1745392"/>
                <a:gd name="connsiteX34" fmla="*/ 977379 w 1539414"/>
                <a:gd name="connsiteY34" fmla="*/ 878985 h 1745392"/>
                <a:gd name="connsiteX35" fmla="*/ 935709 w 1539414"/>
                <a:gd name="connsiteY35" fmla="*/ 900324 h 1745392"/>
                <a:gd name="connsiteX36" fmla="*/ 895056 w 1539414"/>
                <a:gd name="connsiteY36" fmla="*/ 915904 h 1745392"/>
                <a:gd name="connsiteX37" fmla="*/ 860161 w 1539414"/>
                <a:gd name="connsiteY37" fmla="*/ 926065 h 1745392"/>
                <a:gd name="connsiteX38" fmla="*/ 822218 w 1539414"/>
                <a:gd name="connsiteY38" fmla="*/ 933517 h 1745392"/>
                <a:gd name="connsiteX39" fmla="*/ 816120 w 1539414"/>
                <a:gd name="connsiteY39" fmla="*/ 933855 h 1745392"/>
                <a:gd name="connsiteX40" fmla="*/ 822218 w 1539414"/>
                <a:gd name="connsiteY40" fmla="*/ 997871 h 1745392"/>
                <a:gd name="connsiteX41" fmla="*/ 831704 w 1539414"/>
                <a:gd name="connsiteY41" fmla="*/ 997193 h 1745392"/>
                <a:gd name="connsiteX42" fmla="*/ 877100 w 1539414"/>
                <a:gd name="connsiteY42" fmla="*/ 987709 h 1745392"/>
                <a:gd name="connsiteX43" fmla="*/ 918431 w 1539414"/>
                <a:gd name="connsiteY43" fmla="*/ 975855 h 1745392"/>
                <a:gd name="connsiteX44" fmla="*/ 965522 w 1539414"/>
                <a:gd name="connsiteY44" fmla="*/ 957565 h 1745392"/>
                <a:gd name="connsiteX45" fmla="*/ 1002449 w 1539414"/>
                <a:gd name="connsiteY45" fmla="*/ 938597 h 1745392"/>
                <a:gd name="connsiteX46" fmla="*/ 1026841 w 1539414"/>
                <a:gd name="connsiteY46" fmla="*/ 923356 h 1745392"/>
                <a:gd name="connsiteX47" fmla="*/ 1051233 w 1539414"/>
                <a:gd name="connsiteY47" fmla="*/ 905743 h 1745392"/>
                <a:gd name="connsiteX48" fmla="*/ 1073931 w 1539414"/>
                <a:gd name="connsiteY48" fmla="*/ 885421 h 1745392"/>
                <a:gd name="connsiteX49" fmla="*/ 1095613 w 1539414"/>
                <a:gd name="connsiteY49" fmla="*/ 863066 h 1745392"/>
                <a:gd name="connsiteX50" fmla="*/ 1114923 w 1539414"/>
                <a:gd name="connsiteY50" fmla="*/ 837325 h 1745392"/>
                <a:gd name="connsiteX51" fmla="*/ 1123393 w 1539414"/>
                <a:gd name="connsiteY51" fmla="*/ 823099 h 1745392"/>
                <a:gd name="connsiteX52" fmla="*/ 1132879 w 1539414"/>
                <a:gd name="connsiteY52" fmla="*/ 807518 h 1745392"/>
                <a:gd name="connsiteX53" fmla="*/ 1147785 w 1539414"/>
                <a:gd name="connsiteY53" fmla="*/ 773987 h 1745392"/>
                <a:gd name="connsiteX54" fmla="*/ 1158626 w 1539414"/>
                <a:gd name="connsiteY54" fmla="*/ 738761 h 1745392"/>
                <a:gd name="connsiteX55" fmla="*/ 1165402 w 1539414"/>
                <a:gd name="connsiteY55" fmla="*/ 701504 h 1745392"/>
                <a:gd name="connsiteX56" fmla="*/ 1167773 w 1539414"/>
                <a:gd name="connsiteY56" fmla="*/ 662553 h 1745392"/>
                <a:gd name="connsiteX57" fmla="*/ 1166079 w 1539414"/>
                <a:gd name="connsiteY57" fmla="*/ 621231 h 1745392"/>
                <a:gd name="connsiteX58" fmla="*/ 1160997 w 1539414"/>
                <a:gd name="connsiteY58" fmla="*/ 578215 h 1745392"/>
                <a:gd name="connsiteX59" fmla="*/ 1151173 w 1539414"/>
                <a:gd name="connsiteY59" fmla="*/ 533845 h 1745392"/>
                <a:gd name="connsiteX60" fmla="*/ 1144736 w 1539414"/>
                <a:gd name="connsiteY60" fmla="*/ 510474 h 1745392"/>
                <a:gd name="connsiteX61" fmla="*/ 1161336 w 1539414"/>
                <a:gd name="connsiteY61" fmla="*/ 514877 h 1745392"/>
                <a:gd name="connsiteX62" fmla="*/ 1193859 w 1539414"/>
                <a:gd name="connsiteY62" fmla="*/ 526732 h 1745392"/>
                <a:gd name="connsiteX63" fmla="*/ 1225027 w 1539414"/>
                <a:gd name="connsiteY63" fmla="*/ 542313 h 1745392"/>
                <a:gd name="connsiteX64" fmla="*/ 1254839 w 1539414"/>
                <a:gd name="connsiteY64" fmla="*/ 561619 h 1745392"/>
                <a:gd name="connsiteX65" fmla="*/ 1283297 w 1539414"/>
                <a:gd name="connsiteY65" fmla="*/ 583973 h 1745392"/>
                <a:gd name="connsiteX66" fmla="*/ 1309383 w 1539414"/>
                <a:gd name="connsiteY66" fmla="*/ 609037 h 1745392"/>
                <a:gd name="connsiteX67" fmla="*/ 1333436 w 1539414"/>
                <a:gd name="connsiteY67" fmla="*/ 637150 h 1745392"/>
                <a:gd name="connsiteX68" fmla="*/ 1355457 w 1539414"/>
                <a:gd name="connsiteY68" fmla="*/ 667633 h 1745392"/>
                <a:gd name="connsiteX69" fmla="*/ 1374429 w 1539414"/>
                <a:gd name="connsiteY69" fmla="*/ 700149 h 1745392"/>
                <a:gd name="connsiteX70" fmla="*/ 1390690 w 1539414"/>
                <a:gd name="connsiteY70" fmla="*/ 734358 h 1745392"/>
                <a:gd name="connsiteX71" fmla="*/ 1403225 w 1539414"/>
                <a:gd name="connsiteY71" fmla="*/ 770600 h 1745392"/>
                <a:gd name="connsiteX72" fmla="*/ 1413049 w 1539414"/>
                <a:gd name="connsiteY72" fmla="*/ 807857 h 1745392"/>
                <a:gd name="connsiteX73" fmla="*/ 1418470 w 1539414"/>
                <a:gd name="connsiteY73" fmla="*/ 846470 h 1745392"/>
                <a:gd name="connsiteX74" fmla="*/ 1420841 w 1539414"/>
                <a:gd name="connsiteY74" fmla="*/ 885421 h 1745392"/>
                <a:gd name="connsiteX75" fmla="*/ 1418470 w 1539414"/>
                <a:gd name="connsiteY75" fmla="*/ 925049 h 1745392"/>
                <a:gd name="connsiteX76" fmla="*/ 1412033 w 1539414"/>
                <a:gd name="connsiteY76" fmla="*/ 964678 h 1745392"/>
                <a:gd name="connsiteX77" fmla="*/ 1407290 w 1539414"/>
                <a:gd name="connsiteY77" fmla="*/ 984322 h 1745392"/>
                <a:gd name="connsiteX78" fmla="*/ 1416437 w 1539414"/>
                <a:gd name="connsiteY78" fmla="*/ 987371 h 1745392"/>
                <a:gd name="connsiteX79" fmla="*/ 1434054 w 1539414"/>
                <a:gd name="connsiteY79" fmla="*/ 994484 h 1745392"/>
                <a:gd name="connsiteX80" fmla="*/ 1450315 w 1539414"/>
                <a:gd name="connsiteY80" fmla="*/ 1003290 h 1745392"/>
                <a:gd name="connsiteX81" fmla="*/ 1464883 w 1539414"/>
                <a:gd name="connsiteY81" fmla="*/ 1013790 h 1745392"/>
                <a:gd name="connsiteX82" fmla="*/ 1483516 w 1539414"/>
                <a:gd name="connsiteY82" fmla="*/ 1031741 h 1745392"/>
                <a:gd name="connsiteX83" fmla="*/ 1504181 w 1539414"/>
                <a:gd name="connsiteY83" fmla="*/ 1060531 h 1745392"/>
                <a:gd name="connsiteX84" fmla="*/ 1519765 w 1539414"/>
                <a:gd name="connsiteY84" fmla="*/ 1094063 h 1745392"/>
                <a:gd name="connsiteX85" fmla="*/ 1530606 w 1539414"/>
                <a:gd name="connsiteY85" fmla="*/ 1129965 h 1745392"/>
                <a:gd name="connsiteX86" fmla="*/ 1536704 w 1539414"/>
                <a:gd name="connsiteY86" fmla="*/ 1167900 h 1745392"/>
                <a:gd name="connsiteX87" fmla="*/ 1539414 w 1539414"/>
                <a:gd name="connsiteY87" fmla="*/ 1206513 h 1745392"/>
                <a:gd name="connsiteX88" fmla="*/ 1539414 w 1539414"/>
                <a:gd name="connsiteY88" fmla="*/ 1225819 h 1745392"/>
                <a:gd name="connsiteX89" fmla="*/ 1538059 w 1539414"/>
                <a:gd name="connsiteY89" fmla="*/ 1240722 h 1745392"/>
                <a:gd name="connsiteX90" fmla="*/ 1532639 w 1539414"/>
                <a:gd name="connsiteY90" fmla="*/ 1270528 h 1745392"/>
                <a:gd name="connsiteX91" fmla="*/ 1528912 w 1539414"/>
                <a:gd name="connsiteY91" fmla="*/ 1285092 h 1745392"/>
                <a:gd name="connsiteX92" fmla="*/ 1525185 w 1539414"/>
                <a:gd name="connsiteY92" fmla="*/ 1296608 h 1745392"/>
                <a:gd name="connsiteX93" fmla="*/ 1516716 w 1539414"/>
                <a:gd name="connsiteY93" fmla="*/ 1318285 h 1745392"/>
                <a:gd name="connsiteX94" fmla="*/ 1505536 w 1539414"/>
                <a:gd name="connsiteY94" fmla="*/ 1338946 h 1745392"/>
                <a:gd name="connsiteX95" fmla="*/ 1493001 w 1539414"/>
                <a:gd name="connsiteY95" fmla="*/ 1357914 h 1745392"/>
                <a:gd name="connsiteX96" fmla="*/ 1478434 w 1539414"/>
                <a:gd name="connsiteY96" fmla="*/ 1375527 h 1745392"/>
                <a:gd name="connsiteX97" fmla="*/ 1461156 w 1539414"/>
                <a:gd name="connsiteY97" fmla="*/ 1391784 h 1745392"/>
                <a:gd name="connsiteX98" fmla="*/ 1442184 w 1539414"/>
                <a:gd name="connsiteY98" fmla="*/ 1406687 h 1745392"/>
                <a:gd name="connsiteX99" fmla="*/ 1421180 w 1539414"/>
                <a:gd name="connsiteY99" fmla="*/ 1420236 h 1745392"/>
                <a:gd name="connsiteX100" fmla="*/ 1410000 w 1539414"/>
                <a:gd name="connsiteY100" fmla="*/ 1426671 h 1745392"/>
                <a:gd name="connsiteX101" fmla="*/ 1398821 w 1539414"/>
                <a:gd name="connsiteY101" fmla="*/ 1432429 h 1745392"/>
                <a:gd name="connsiteX102" fmla="*/ 1376122 w 1539414"/>
                <a:gd name="connsiteY102" fmla="*/ 1441235 h 1745392"/>
                <a:gd name="connsiteX103" fmla="*/ 1341906 w 1539414"/>
                <a:gd name="connsiteY103" fmla="*/ 1450380 h 1745392"/>
                <a:gd name="connsiteX104" fmla="*/ 1296509 w 1539414"/>
                <a:gd name="connsiteY104" fmla="*/ 1454783 h 1745392"/>
                <a:gd name="connsiteX105" fmla="*/ 1253484 w 1539414"/>
                <a:gd name="connsiteY105" fmla="*/ 1453767 h 1745392"/>
                <a:gd name="connsiteX106" fmla="*/ 1215202 w 1539414"/>
                <a:gd name="connsiteY106" fmla="*/ 1448009 h 1745392"/>
                <a:gd name="connsiteX107" fmla="*/ 1183357 w 1539414"/>
                <a:gd name="connsiteY107" fmla="*/ 1440558 h 1745392"/>
                <a:gd name="connsiteX108" fmla="*/ 1150495 w 1539414"/>
                <a:gd name="connsiteY108" fmla="*/ 1430058 h 1745392"/>
                <a:gd name="connsiteX109" fmla="*/ 1145414 w 1539414"/>
                <a:gd name="connsiteY109" fmla="*/ 1427687 h 1745392"/>
                <a:gd name="connsiteX110" fmla="*/ 1121699 w 1539414"/>
                <a:gd name="connsiteY110" fmla="*/ 1417187 h 1745392"/>
                <a:gd name="connsiteX111" fmla="*/ 1108487 w 1539414"/>
                <a:gd name="connsiteY111" fmla="*/ 1409397 h 1745392"/>
                <a:gd name="connsiteX112" fmla="*/ 1084772 w 1539414"/>
                <a:gd name="connsiteY112" fmla="*/ 1390430 h 1745392"/>
                <a:gd name="connsiteX113" fmla="*/ 1074270 w 1539414"/>
                <a:gd name="connsiteY113" fmla="*/ 1379930 h 1745392"/>
                <a:gd name="connsiteX114" fmla="*/ 1061058 w 1539414"/>
                <a:gd name="connsiteY114" fmla="*/ 1364011 h 1745392"/>
                <a:gd name="connsiteX115" fmla="*/ 1040731 w 1539414"/>
                <a:gd name="connsiteY115" fmla="*/ 1331156 h 1745392"/>
                <a:gd name="connsiteX116" fmla="*/ 1026502 w 1539414"/>
                <a:gd name="connsiteY116" fmla="*/ 1297286 h 1745392"/>
                <a:gd name="connsiteX117" fmla="*/ 1017016 w 1539414"/>
                <a:gd name="connsiteY117" fmla="*/ 1264431 h 1745392"/>
                <a:gd name="connsiteX118" fmla="*/ 1010241 w 1539414"/>
                <a:gd name="connsiteY118" fmla="*/ 1220061 h 1745392"/>
                <a:gd name="connsiteX119" fmla="*/ 1009224 w 1539414"/>
                <a:gd name="connsiteY119" fmla="*/ 1182465 h 1745392"/>
                <a:gd name="connsiteX120" fmla="*/ 1009224 w 1539414"/>
                <a:gd name="connsiteY120" fmla="*/ 1178062 h 1745392"/>
                <a:gd name="connsiteX121" fmla="*/ 945195 w 1539414"/>
                <a:gd name="connsiteY121" fmla="*/ 1172642 h 1745392"/>
                <a:gd name="connsiteX122" fmla="*/ 944856 w 1539414"/>
                <a:gd name="connsiteY122" fmla="*/ 1178739 h 1745392"/>
                <a:gd name="connsiteX123" fmla="*/ 945195 w 1539414"/>
                <a:gd name="connsiteY123" fmla="*/ 1212271 h 1745392"/>
                <a:gd name="connsiteX124" fmla="*/ 947905 w 1539414"/>
                <a:gd name="connsiteY124" fmla="*/ 1243770 h 1745392"/>
                <a:gd name="connsiteX125" fmla="*/ 954342 w 1539414"/>
                <a:gd name="connsiteY125" fmla="*/ 1280689 h 1745392"/>
                <a:gd name="connsiteX126" fmla="*/ 966199 w 1539414"/>
                <a:gd name="connsiteY126" fmla="*/ 1320656 h 1745392"/>
                <a:gd name="connsiteX127" fmla="*/ 984493 w 1539414"/>
                <a:gd name="connsiteY127" fmla="*/ 1362317 h 1745392"/>
                <a:gd name="connsiteX128" fmla="*/ 1003126 w 1539414"/>
                <a:gd name="connsiteY128" fmla="*/ 1393139 h 1745392"/>
                <a:gd name="connsiteX129" fmla="*/ 1018033 w 1539414"/>
                <a:gd name="connsiteY129" fmla="*/ 1413123 h 1745392"/>
                <a:gd name="connsiteX130" fmla="*/ 1026502 w 1539414"/>
                <a:gd name="connsiteY130" fmla="*/ 1422945 h 1745392"/>
                <a:gd name="connsiteX131" fmla="*/ 1041747 w 1539414"/>
                <a:gd name="connsiteY131" fmla="*/ 1438187 h 1745392"/>
                <a:gd name="connsiteX132" fmla="*/ 1075964 w 1539414"/>
                <a:gd name="connsiteY132" fmla="*/ 1464945 h 1745392"/>
                <a:gd name="connsiteX133" fmla="*/ 1094935 w 1539414"/>
                <a:gd name="connsiteY133" fmla="*/ 1476461 h 1745392"/>
                <a:gd name="connsiteX134" fmla="*/ 1090531 w 1539414"/>
                <a:gd name="connsiteY134" fmla="*/ 1492380 h 1745392"/>
                <a:gd name="connsiteX135" fmla="*/ 1080029 w 1539414"/>
                <a:gd name="connsiteY135" fmla="*/ 1522186 h 1745392"/>
                <a:gd name="connsiteX136" fmla="*/ 1067494 w 1539414"/>
                <a:gd name="connsiteY136" fmla="*/ 1549621 h 1745392"/>
                <a:gd name="connsiteX137" fmla="*/ 1053266 w 1539414"/>
                <a:gd name="connsiteY137" fmla="*/ 1574685 h 1745392"/>
                <a:gd name="connsiteX138" fmla="*/ 1037343 w 1539414"/>
                <a:gd name="connsiteY138" fmla="*/ 1597717 h 1745392"/>
                <a:gd name="connsiteX139" fmla="*/ 1019388 w 1539414"/>
                <a:gd name="connsiteY139" fmla="*/ 1617700 h 1745392"/>
                <a:gd name="connsiteX140" fmla="*/ 999738 w 1539414"/>
                <a:gd name="connsiteY140" fmla="*/ 1635313 h 1745392"/>
                <a:gd name="connsiteX141" fmla="*/ 978057 w 1539414"/>
                <a:gd name="connsiteY141" fmla="*/ 1650555 h 1745392"/>
                <a:gd name="connsiteX142" fmla="*/ 966877 w 1539414"/>
                <a:gd name="connsiteY142" fmla="*/ 1657329 h 1745392"/>
                <a:gd name="connsiteX143" fmla="*/ 947905 w 1539414"/>
                <a:gd name="connsiteY143" fmla="*/ 1666813 h 1745392"/>
                <a:gd name="connsiteX144" fmla="*/ 909284 w 1539414"/>
                <a:gd name="connsiteY144" fmla="*/ 1680700 h 1745392"/>
                <a:gd name="connsiteX145" fmla="*/ 869647 w 1539414"/>
                <a:gd name="connsiteY145" fmla="*/ 1688490 h 1745392"/>
                <a:gd name="connsiteX146" fmla="*/ 830688 w 1539414"/>
                <a:gd name="connsiteY146" fmla="*/ 1691538 h 1745392"/>
                <a:gd name="connsiteX147" fmla="*/ 793422 w 1539414"/>
                <a:gd name="connsiteY147" fmla="*/ 1690522 h 1745392"/>
                <a:gd name="connsiteX148" fmla="*/ 758527 w 1539414"/>
                <a:gd name="connsiteY148" fmla="*/ 1687135 h 1745392"/>
                <a:gd name="connsiteX149" fmla="*/ 713131 w 1539414"/>
                <a:gd name="connsiteY149" fmla="*/ 1679345 h 1745392"/>
                <a:gd name="connsiteX150" fmla="*/ 690433 w 1539414"/>
                <a:gd name="connsiteY150" fmla="*/ 1673587 h 1745392"/>
                <a:gd name="connsiteX151" fmla="*/ 706355 w 1539414"/>
                <a:gd name="connsiteY151" fmla="*/ 1653264 h 1745392"/>
                <a:gd name="connsiteX152" fmla="*/ 731764 w 1539414"/>
                <a:gd name="connsiteY152" fmla="*/ 1612959 h 1745392"/>
                <a:gd name="connsiteX153" fmla="*/ 751752 w 1539414"/>
                <a:gd name="connsiteY153" fmla="*/ 1572653 h 1745392"/>
                <a:gd name="connsiteX154" fmla="*/ 765642 w 1539414"/>
                <a:gd name="connsiteY154" fmla="*/ 1534379 h 1745392"/>
                <a:gd name="connsiteX155" fmla="*/ 779193 w 1539414"/>
                <a:gd name="connsiteY155" fmla="*/ 1484251 h 1745392"/>
                <a:gd name="connsiteX156" fmla="*/ 785969 w 1539414"/>
                <a:gd name="connsiteY156" fmla="*/ 1440897 h 1745392"/>
                <a:gd name="connsiteX157" fmla="*/ 786307 w 1539414"/>
                <a:gd name="connsiteY157" fmla="*/ 1434800 h 1745392"/>
                <a:gd name="connsiteX158" fmla="*/ 722278 w 1539414"/>
                <a:gd name="connsiteY158" fmla="*/ 1431074 h 1745392"/>
                <a:gd name="connsiteX159" fmla="*/ 721939 w 1539414"/>
                <a:gd name="connsiteY159" fmla="*/ 1436493 h 1745392"/>
                <a:gd name="connsiteX160" fmla="*/ 716519 w 1539414"/>
                <a:gd name="connsiteY160" fmla="*/ 1469348 h 1745392"/>
                <a:gd name="connsiteX161" fmla="*/ 708727 w 1539414"/>
                <a:gd name="connsiteY161" fmla="*/ 1501186 h 1745392"/>
                <a:gd name="connsiteX162" fmla="*/ 696192 w 1539414"/>
                <a:gd name="connsiteY162" fmla="*/ 1537766 h 1745392"/>
                <a:gd name="connsiteX163" fmla="*/ 677898 w 1539414"/>
                <a:gd name="connsiteY163" fmla="*/ 1577733 h 1745392"/>
                <a:gd name="connsiteX164" fmla="*/ 652490 w 1539414"/>
                <a:gd name="connsiteY164" fmla="*/ 1618378 h 1745392"/>
                <a:gd name="connsiteX165" fmla="*/ 628097 w 1539414"/>
                <a:gd name="connsiteY165" fmla="*/ 1647168 h 1745392"/>
                <a:gd name="connsiteX166" fmla="*/ 609465 w 1539414"/>
                <a:gd name="connsiteY166" fmla="*/ 1665797 h 1745392"/>
                <a:gd name="connsiteX167" fmla="*/ 598962 w 1539414"/>
                <a:gd name="connsiteY167" fmla="*/ 1673925 h 1745392"/>
                <a:gd name="connsiteX168" fmla="*/ 584395 w 1539414"/>
                <a:gd name="connsiteY168" fmla="*/ 1685780 h 1745392"/>
                <a:gd name="connsiteX169" fmla="*/ 551872 w 1539414"/>
                <a:gd name="connsiteY169" fmla="*/ 1705764 h 1745392"/>
                <a:gd name="connsiteX170" fmla="*/ 516639 w 1539414"/>
                <a:gd name="connsiteY170" fmla="*/ 1721344 h 1745392"/>
                <a:gd name="connsiteX171" fmla="*/ 478357 w 1539414"/>
                <a:gd name="connsiteY171" fmla="*/ 1733199 h 1745392"/>
                <a:gd name="connsiteX172" fmla="*/ 437703 w 1539414"/>
                <a:gd name="connsiteY172" fmla="*/ 1740989 h 1745392"/>
                <a:gd name="connsiteX173" fmla="*/ 393662 w 1539414"/>
                <a:gd name="connsiteY173" fmla="*/ 1745053 h 1745392"/>
                <a:gd name="connsiteX174" fmla="*/ 347249 w 1539414"/>
                <a:gd name="connsiteY174" fmla="*/ 1745392 h 1745392"/>
                <a:gd name="connsiteX175" fmla="*/ 298126 w 1539414"/>
                <a:gd name="connsiteY175" fmla="*/ 1741666 h 1745392"/>
                <a:gd name="connsiteX176" fmla="*/ 272040 w 1539414"/>
                <a:gd name="connsiteY176" fmla="*/ 1737602 h 1745392"/>
                <a:gd name="connsiteX177" fmla="*/ 249681 w 1539414"/>
                <a:gd name="connsiteY177" fmla="*/ 1733538 h 1745392"/>
                <a:gd name="connsiteX178" fmla="*/ 206317 w 1539414"/>
                <a:gd name="connsiteY178" fmla="*/ 1719651 h 1745392"/>
                <a:gd name="connsiteX179" fmla="*/ 166002 w 1539414"/>
                <a:gd name="connsiteY179" fmla="*/ 1700344 h 1745392"/>
                <a:gd name="connsiteX180" fmla="*/ 128059 w 1539414"/>
                <a:gd name="connsiteY180" fmla="*/ 1676635 h 1745392"/>
                <a:gd name="connsiteX181" fmla="*/ 93503 w 1539414"/>
                <a:gd name="connsiteY181" fmla="*/ 1649877 h 1745392"/>
                <a:gd name="connsiteX182" fmla="*/ 61658 w 1539414"/>
                <a:gd name="connsiteY182" fmla="*/ 1621426 h 1745392"/>
                <a:gd name="connsiteX183" fmla="*/ 21005 w 1539414"/>
                <a:gd name="connsiteY183" fmla="*/ 1578749 h 1745392"/>
                <a:gd name="connsiteX184" fmla="*/ 0 w 1539414"/>
                <a:gd name="connsiteY184" fmla="*/ 1552669 h 1745392"/>
                <a:gd name="connsiteX185" fmla="*/ 0 w 1539414"/>
                <a:gd name="connsiteY185" fmla="*/ 652392 h 1745392"/>
                <a:gd name="connsiteX186" fmla="*/ 27103 w 1539414"/>
                <a:gd name="connsiteY186" fmla="*/ 647650 h 1745392"/>
                <a:gd name="connsiteX187" fmla="*/ 79275 w 1539414"/>
                <a:gd name="connsiteY187" fmla="*/ 641553 h 1745392"/>
                <a:gd name="connsiteX188" fmla="*/ 128059 w 1539414"/>
                <a:gd name="connsiteY188" fmla="*/ 639860 h 1745392"/>
                <a:gd name="connsiteX189" fmla="*/ 173794 w 1539414"/>
                <a:gd name="connsiteY189" fmla="*/ 642231 h 1745392"/>
                <a:gd name="connsiteX190" fmla="*/ 216480 w 1539414"/>
                <a:gd name="connsiteY190" fmla="*/ 649343 h 1745392"/>
                <a:gd name="connsiteX191" fmla="*/ 255440 w 1539414"/>
                <a:gd name="connsiteY191" fmla="*/ 660859 h 1745392"/>
                <a:gd name="connsiteX192" fmla="*/ 291351 w 1539414"/>
                <a:gd name="connsiteY192" fmla="*/ 676440 h 1745392"/>
                <a:gd name="connsiteX193" fmla="*/ 323873 w 1539414"/>
                <a:gd name="connsiteY193" fmla="*/ 697101 h 1745392"/>
                <a:gd name="connsiteX194" fmla="*/ 338441 w 1539414"/>
                <a:gd name="connsiteY194" fmla="*/ 708955 h 1745392"/>
                <a:gd name="connsiteX195" fmla="*/ 348604 w 1539414"/>
                <a:gd name="connsiteY195" fmla="*/ 717762 h 1745392"/>
                <a:gd name="connsiteX196" fmla="*/ 366898 w 1539414"/>
                <a:gd name="connsiteY196" fmla="*/ 736729 h 1745392"/>
                <a:gd name="connsiteX197" fmla="*/ 383160 w 1539414"/>
                <a:gd name="connsiteY197" fmla="*/ 757051 h 1745392"/>
                <a:gd name="connsiteX198" fmla="*/ 397389 w 1539414"/>
                <a:gd name="connsiteY198" fmla="*/ 778390 h 1745392"/>
                <a:gd name="connsiteX199" fmla="*/ 415344 w 1539414"/>
                <a:gd name="connsiteY199" fmla="*/ 811244 h 1745392"/>
                <a:gd name="connsiteX200" fmla="*/ 432960 w 1539414"/>
                <a:gd name="connsiteY200" fmla="*/ 856631 h 1745392"/>
                <a:gd name="connsiteX201" fmla="*/ 445156 w 1539414"/>
                <a:gd name="connsiteY201" fmla="*/ 901001 h 1745392"/>
                <a:gd name="connsiteX202" fmla="*/ 452948 w 1539414"/>
                <a:gd name="connsiteY202" fmla="*/ 942662 h 1745392"/>
                <a:gd name="connsiteX203" fmla="*/ 458369 w 1539414"/>
                <a:gd name="connsiteY203" fmla="*/ 996177 h 1745392"/>
                <a:gd name="connsiteX204" fmla="*/ 458708 w 1539414"/>
                <a:gd name="connsiteY204" fmla="*/ 1019886 h 1745392"/>
                <a:gd name="connsiteX205" fmla="*/ 439397 w 1539414"/>
                <a:gd name="connsiteY205" fmla="*/ 1025983 h 1745392"/>
                <a:gd name="connsiteX206" fmla="*/ 404842 w 1539414"/>
                <a:gd name="connsiteY206" fmla="*/ 1041225 h 1745392"/>
                <a:gd name="connsiteX207" fmla="*/ 375029 w 1539414"/>
                <a:gd name="connsiteY207" fmla="*/ 1059515 h 1745392"/>
                <a:gd name="connsiteX208" fmla="*/ 348943 w 1539414"/>
                <a:gd name="connsiteY208" fmla="*/ 1078144 h 1745392"/>
                <a:gd name="connsiteX209" fmla="*/ 319131 w 1539414"/>
                <a:gd name="connsiteY209" fmla="*/ 1104901 h 1745392"/>
                <a:gd name="connsiteX210" fmla="*/ 297110 w 1539414"/>
                <a:gd name="connsiteY210" fmla="*/ 1129965 h 1745392"/>
                <a:gd name="connsiteX211" fmla="*/ 295077 w 1539414"/>
                <a:gd name="connsiteY211" fmla="*/ 1133014 h 1745392"/>
                <a:gd name="connsiteX212" fmla="*/ 347588 w 1539414"/>
                <a:gd name="connsiteY212" fmla="*/ 1169933 h 1745392"/>
                <a:gd name="connsiteX213" fmla="*/ 353686 w 1539414"/>
                <a:gd name="connsiteY213" fmla="*/ 1161804 h 1745392"/>
                <a:gd name="connsiteX214" fmla="*/ 388919 w 1539414"/>
                <a:gd name="connsiteY214" fmla="*/ 1127595 h 1745392"/>
                <a:gd name="connsiteX215" fmla="*/ 415344 w 1539414"/>
                <a:gd name="connsiteY215" fmla="*/ 1108627 h 1745392"/>
                <a:gd name="connsiteX216" fmla="*/ 436009 w 1539414"/>
                <a:gd name="connsiteY216" fmla="*/ 1097111 h 1745392"/>
                <a:gd name="connsiteX217" fmla="*/ 459724 w 1539414"/>
                <a:gd name="connsiteY217" fmla="*/ 1086950 h 1745392"/>
                <a:gd name="connsiteX218" fmla="*/ 485471 w 1539414"/>
                <a:gd name="connsiteY218" fmla="*/ 1079160 h 1745392"/>
                <a:gd name="connsiteX219" fmla="*/ 513929 w 1539414"/>
                <a:gd name="connsiteY219" fmla="*/ 1074418 h 1745392"/>
                <a:gd name="connsiteX220" fmla="*/ 544758 w 1539414"/>
                <a:gd name="connsiteY220" fmla="*/ 1073402 h 1745392"/>
                <a:gd name="connsiteX221" fmla="*/ 578297 w 1539414"/>
                <a:gd name="connsiteY221" fmla="*/ 1076450 h 1745392"/>
                <a:gd name="connsiteX222" fmla="*/ 614207 w 1539414"/>
                <a:gd name="connsiteY222" fmla="*/ 1085256 h 1745392"/>
                <a:gd name="connsiteX223" fmla="*/ 651812 w 1539414"/>
                <a:gd name="connsiteY223" fmla="*/ 1100159 h 1745392"/>
                <a:gd name="connsiteX224" fmla="*/ 692465 w 1539414"/>
                <a:gd name="connsiteY224" fmla="*/ 1121837 h 1745392"/>
                <a:gd name="connsiteX225" fmla="*/ 713470 w 1539414"/>
                <a:gd name="connsiteY225" fmla="*/ 1135723 h 1745392"/>
                <a:gd name="connsiteX226" fmla="*/ 749719 w 1539414"/>
                <a:gd name="connsiteY226" fmla="*/ 1082547 h 1745392"/>
                <a:gd name="connsiteX227" fmla="*/ 733797 w 1539414"/>
                <a:gd name="connsiteY227" fmla="*/ 1072047 h 1745392"/>
                <a:gd name="connsiteX228" fmla="*/ 702290 w 1539414"/>
                <a:gd name="connsiteY228" fmla="*/ 1053757 h 1745392"/>
                <a:gd name="connsiteX229" fmla="*/ 671800 w 1539414"/>
                <a:gd name="connsiteY229" fmla="*/ 1038854 h 1745392"/>
                <a:gd name="connsiteX230" fmla="*/ 642326 w 1539414"/>
                <a:gd name="connsiteY230" fmla="*/ 1026999 h 1745392"/>
                <a:gd name="connsiteX231" fmla="*/ 613869 w 1539414"/>
                <a:gd name="connsiteY231" fmla="*/ 1018532 h 1745392"/>
                <a:gd name="connsiteX232" fmla="*/ 586428 w 1539414"/>
                <a:gd name="connsiteY232" fmla="*/ 1012435 h 1745392"/>
                <a:gd name="connsiteX233" fmla="*/ 560341 w 1539414"/>
                <a:gd name="connsiteY233" fmla="*/ 1009387 h 1745392"/>
                <a:gd name="connsiteX234" fmla="*/ 535272 w 1539414"/>
                <a:gd name="connsiteY234" fmla="*/ 1008370 h 1745392"/>
                <a:gd name="connsiteX235" fmla="*/ 522737 w 1539414"/>
                <a:gd name="connsiteY235" fmla="*/ 1009048 h 1745392"/>
                <a:gd name="connsiteX236" fmla="*/ 522398 w 1539414"/>
                <a:gd name="connsiteY236" fmla="*/ 989064 h 1745392"/>
                <a:gd name="connsiteX237" fmla="*/ 517655 w 1539414"/>
                <a:gd name="connsiteY237" fmla="*/ 936904 h 1745392"/>
                <a:gd name="connsiteX238" fmla="*/ 505798 w 1539414"/>
                <a:gd name="connsiteY238" fmla="*/ 874582 h 1745392"/>
                <a:gd name="connsiteX239" fmla="*/ 489875 w 1539414"/>
                <a:gd name="connsiteY239" fmla="*/ 824454 h 1745392"/>
                <a:gd name="connsiteX240" fmla="*/ 476324 w 1539414"/>
                <a:gd name="connsiteY240" fmla="*/ 790583 h 1745392"/>
                <a:gd name="connsiteX241" fmla="*/ 468532 w 1539414"/>
                <a:gd name="connsiteY241" fmla="*/ 773987 h 1745392"/>
                <a:gd name="connsiteX242" fmla="*/ 492924 w 1539414"/>
                <a:gd name="connsiteY242" fmla="*/ 759084 h 1745392"/>
                <a:gd name="connsiteX243" fmla="*/ 537304 w 1539414"/>
                <a:gd name="connsiteY243" fmla="*/ 727584 h 1745392"/>
                <a:gd name="connsiteX244" fmla="*/ 568472 w 1539414"/>
                <a:gd name="connsiteY244" fmla="*/ 700826 h 1745392"/>
                <a:gd name="connsiteX245" fmla="*/ 599301 w 1539414"/>
                <a:gd name="connsiteY245" fmla="*/ 669666 h 1745392"/>
                <a:gd name="connsiteX246" fmla="*/ 629114 w 1539414"/>
                <a:gd name="connsiteY246" fmla="*/ 633424 h 1745392"/>
                <a:gd name="connsiteX247" fmla="*/ 655877 w 1539414"/>
                <a:gd name="connsiteY247" fmla="*/ 592780 h 1745392"/>
                <a:gd name="connsiteX248" fmla="*/ 678576 w 1539414"/>
                <a:gd name="connsiteY248" fmla="*/ 547054 h 1745392"/>
                <a:gd name="connsiteX249" fmla="*/ 687384 w 1539414"/>
                <a:gd name="connsiteY249" fmla="*/ 521990 h 1745392"/>
                <a:gd name="connsiteX250" fmla="*/ 693143 w 1539414"/>
                <a:gd name="connsiteY250" fmla="*/ 504378 h 1745392"/>
                <a:gd name="connsiteX251" fmla="*/ 701613 w 1539414"/>
                <a:gd name="connsiteY251" fmla="*/ 468136 h 1745392"/>
                <a:gd name="connsiteX252" fmla="*/ 706355 w 1539414"/>
                <a:gd name="connsiteY252" fmla="*/ 431556 h 1745392"/>
                <a:gd name="connsiteX253" fmla="*/ 707711 w 1539414"/>
                <a:gd name="connsiteY253" fmla="*/ 393960 h 1745392"/>
                <a:gd name="connsiteX254" fmla="*/ 705678 w 1539414"/>
                <a:gd name="connsiteY254" fmla="*/ 355686 h 1745392"/>
                <a:gd name="connsiteX255" fmla="*/ 699919 w 1539414"/>
                <a:gd name="connsiteY255" fmla="*/ 316735 h 1745392"/>
                <a:gd name="connsiteX256" fmla="*/ 690433 w 1539414"/>
                <a:gd name="connsiteY256" fmla="*/ 277107 h 1745392"/>
                <a:gd name="connsiteX257" fmla="*/ 678237 w 1539414"/>
                <a:gd name="connsiteY257" fmla="*/ 236801 h 1745392"/>
                <a:gd name="connsiteX258" fmla="*/ 670445 w 1539414"/>
                <a:gd name="connsiteY258" fmla="*/ 216140 h 1745392"/>
                <a:gd name="connsiteX259" fmla="*/ 689755 w 1539414"/>
                <a:gd name="connsiteY259" fmla="*/ 212414 h 1745392"/>
                <a:gd name="connsiteX260" fmla="*/ 262894 w 1539414"/>
                <a:gd name="connsiteY260" fmla="*/ 0 h 1745392"/>
                <a:gd name="connsiteX261" fmla="*/ 280510 w 1539414"/>
                <a:gd name="connsiteY261" fmla="*/ 0 h 1745392"/>
                <a:gd name="connsiteX262" fmla="*/ 294400 w 1539414"/>
                <a:gd name="connsiteY262" fmla="*/ 0 h 1745392"/>
                <a:gd name="connsiteX263" fmla="*/ 321164 w 1539414"/>
                <a:gd name="connsiteY263" fmla="*/ 2033 h 1745392"/>
                <a:gd name="connsiteX264" fmla="*/ 360123 w 1539414"/>
                <a:gd name="connsiteY264" fmla="*/ 9147 h 1745392"/>
                <a:gd name="connsiteX265" fmla="*/ 406875 w 1539414"/>
                <a:gd name="connsiteY265" fmla="*/ 25070 h 1745392"/>
                <a:gd name="connsiteX266" fmla="*/ 449900 w 1539414"/>
                <a:gd name="connsiteY266" fmla="*/ 46752 h 1745392"/>
                <a:gd name="connsiteX267" fmla="*/ 487843 w 1539414"/>
                <a:gd name="connsiteY267" fmla="*/ 73177 h 1745392"/>
                <a:gd name="connsiteX268" fmla="*/ 521044 w 1539414"/>
                <a:gd name="connsiteY268" fmla="*/ 102312 h 1745392"/>
                <a:gd name="connsiteX269" fmla="*/ 549501 w 1539414"/>
                <a:gd name="connsiteY269" fmla="*/ 132802 h 1745392"/>
                <a:gd name="connsiteX270" fmla="*/ 573216 w 1539414"/>
                <a:gd name="connsiteY270" fmla="*/ 163969 h 1745392"/>
                <a:gd name="connsiteX271" fmla="*/ 583041 w 1539414"/>
                <a:gd name="connsiteY271" fmla="*/ 179215 h 1745392"/>
                <a:gd name="connsiteX272" fmla="*/ 593882 w 1539414"/>
                <a:gd name="connsiteY272" fmla="*/ 201574 h 1745392"/>
                <a:gd name="connsiteX273" fmla="*/ 612514 w 1539414"/>
                <a:gd name="connsiteY273" fmla="*/ 244938 h 1745392"/>
                <a:gd name="connsiteX274" fmla="*/ 627082 w 1539414"/>
                <a:gd name="connsiteY274" fmla="*/ 286947 h 1745392"/>
                <a:gd name="connsiteX275" fmla="*/ 636568 w 1539414"/>
                <a:gd name="connsiteY275" fmla="*/ 328278 h 1745392"/>
                <a:gd name="connsiteX276" fmla="*/ 642327 w 1539414"/>
                <a:gd name="connsiteY276" fmla="*/ 368592 h 1745392"/>
                <a:gd name="connsiteX277" fmla="*/ 643682 w 1539414"/>
                <a:gd name="connsiteY277" fmla="*/ 408230 h 1745392"/>
                <a:gd name="connsiteX278" fmla="*/ 639956 w 1539414"/>
                <a:gd name="connsiteY278" fmla="*/ 446512 h 1745392"/>
                <a:gd name="connsiteX279" fmla="*/ 632502 w 1539414"/>
                <a:gd name="connsiteY279" fmla="*/ 483439 h 1745392"/>
                <a:gd name="connsiteX280" fmla="*/ 627082 w 1539414"/>
                <a:gd name="connsiteY280" fmla="*/ 501394 h 1745392"/>
                <a:gd name="connsiteX281" fmla="*/ 618951 w 1539414"/>
                <a:gd name="connsiteY281" fmla="*/ 522737 h 1745392"/>
                <a:gd name="connsiteX282" fmla="*/ 599302 w 1539414"/>
                <a:gd name="connsiteY282" fmla="*/ 562374 h 1745392"/>
                <a:gd name="connsiteX283" fmla="*/ 575926 w 1539414"/>
                <a:gd name="connsiteY283" fmla="*/ 597607 h 1745392"/>
                <a:gd name="connsiteX284" fmla="*/ 549501 w 1539414"/>
                <a:gd name="connsiteY284" fmla="*/ 628775 h 1745392"/>
                <a:gd name="connsiteX285" fmla="*/ 522399 w 1539414"/>
                <a:gd name="connsiteY285" fmla="*/ 655878 h 1745392"/>
                <a:gd name="connsiteX286" fmla="*/ 494619 w 1539414"/>
                <a:gd name="connsiteY286" fmla="*/ 678915 h 1745392"/>
                <a:gd name="connsiteX287" fmla="*/ 455998 w 1539414"/>
                <a:gd name="connsiteY287" fmla="*/ 707033 h 1745392"/>
                <a:gd name="connsiteX288" fmla="*/ 434655 w 1539414"/>
                <a:gd name="connsiteY288" fmla="*/ 719568 h 1745392"/>
                <a:gd name="connsiteX289" fmla="*/ 422798 w 1539414"/>
                <a:gd name="connsiteY289" fmla="*/ 703646 h 1745392"/>
                <a:gd name="connsiteX290" fmla="*/ 396034 w 1539414"/>
                <a:gd name="connsiteY290" fmla="*/ 674510 h 1745392"/>
                <a:gd name="connsiteX291" fmla="*/ 380450 w 1539414"/>
                <a:gd name="connsiteY291" fmla="*/ 660620 h 1745392"/>
                <a:gd name="connsiteX292" fmla="*/ 363172 w 1539414"/>
                <a:gd name="connsiteY292" fmla="*/ 646731 h 1745392"/>
                <a:gd name="connsiteX293" fmla="*/ 325568 w 1539414"/>
                <a:gd name="connsiteY293" fmla="*/ 622677 h 1745392"/>
                <a:gd name="connsiteX294" fmla="*/ 284575 w 1539414"/>
                <a:gd name="connsiteY294" fmla="*/ 603706 h 1745392"/>
                <a:gd name="connsiteX295" fmla="*/ 240195 w 1539414"/>
                <a:gd name="connsiteY295" fmla="*/ 589138 h 1745392"/>
                <a:gd name="connsiteX296" fmla="*/ 192766 w 1539414"/>
                <a:gd name="connsiteY296" fmla="*/ 579991 h 1745392"/>
                <a:gd name="connsiteX297" fmla="*/ 141610 w 1539414"/>
                <a:gd name="connsiteY297" fmla="*/ 575926 h 1745392"/>
                <a:gd name="connsiteX298" fmla="*/ 87405 w 1539414"/>
                <a:gd name="connsiteY298" fmla="*/ 576942 h 1745392"/>
                <a:gd name="connsiteX299" fmla="*/ 29813 w 1539414"/>
                <a:gd name="connsiteY299" fmla="*/ 582701 h 1745392"/>
                <a:gd name="connsiteX300" fmla="*/ 0 w 1539414"/>
                <a:gd name="connsiteY300" fmla="*/ 587783 h 1745392"/>
                <a:gd name="connsiteX301" fmla="*/ 0 w 1539414"/>
                <a:gd name="connsiteY301" fmla="*/ 353347 h 1745392"/>
                <a:gd name="connsiteX302" fmla="*/ 0 w 1539414"/>
                <a:gd name="connsiteY302" fmla="*/ 334376 h 1745392"/>
                <a:gd name="connsiteX303" fmla="*/ 2033 w 1539414"/>
                <a:gd name="connsiteY303" fmla="*/ 298465 h 1745392"/>
                <a:gd name="connsiteX304" fmla="*/ 6437 w 1539414"/>
                <a:gd name="connsiteY304" fmla="*/ 263232 h 1745392"/>
                <a:gd name="connsiteX305" fmla="*/ 13213 w 1539414"/>
                <a:gd name="connsiteY305" fmla="*/ 230032 h 1745392"/>
                <a:gd name="connsiteX306" fmla="*/ 21682 w 1539414"/>
                <a:gd name="connsiteY306" fmla="*/ 197847 h 1745392"/>
                <a:gd name="connsiteX307" fmla="*/ 32862 w 1539414"/>
                <a:gd name="connsiteY307" fmla="*/ 168035 h 1745392"/>
                <a:gd name="connsiteX308" fmla="*/ 45397 w 1539414"/>
                <a:gd name="connsiteY308" fmla="*/ 139916 h 1745392"/>
                <a:gd name="connsiteX309" fmla="*/ 60981 w 1539414"/>
                <a:gd name="connsiteY309" fmla="*/ 114169 h 1745392"/>
                <a:gd name="connsiteX310" fmla="*/ 78597 w 1539414"/>
                <a:gd name="connsiteY310" fmla="*/ 89777 h 1745392"/>
                <a:gd name="connsiteX311" fmla="*/ 98246 w 1539414"/>
                <a:gd name="connsiteY311" fmla="*/ 68772 h 1745392"/>
                <a:gd name="connsiteX312" fmla="*/ 120267 w 1539414"/>
                <a:gd name="connsiteY312" fmla="*/ 50139 h 1745392"/>
                <a:gd name="connsiteX313" fmla="*/ 144321 w 1539414"/>
                <a:gd name="connsiteY313" fmla="*/ 33878 h 1745392"/>
                <a:gd name="connsiteX314" fmla="*/ 170745 w 1539414"/>
                <a:gd name="connsiteY314" fmla="*/ 20666 h 1745392"/>
                <a:gd name="connsiteX315" fmla="*/ 199203 w 1539414"/>
                <a:gd name="connsiteY315" fmla="*/ 10502 h 1745392"/>
                <a:gd name="connsiteX316" fmla="*/ 230032 w 1539414"/>
                <a:gd name="connsiteY316" fmla="*/ 3388 h 17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Lst>
              <a:rect l="l" t="t" r="r" b="b"/>
              <a:pathLst>
                <a:path w="1539414" h="1745392">
                  <a:moveTo>
                    <a:pt x="1075964" y="503700"/>
                  </a:moveTo>
                  <a:lnTo>
                    <a:pt x="1076641" y="503700"/>
                  </a:lnTo>
                  <a:lnTo>
                    <a:pt x="1075286" y="504039"/>
                  </a:lnTo>
                  <a:lnTo>
                    <a:pt x="1075261" y="503841"/>
                  </a:lnTo>
                  <a:close/>
                  <a:moveTo>
                    <a:pt x="727360" y="210043"/>
                  </a:moveTo>
                  <a:lnTo>
                    <a:pt x="764287" y="211737"/>
                  </a:lnTo>
                  <a:lnTo>
                    <a:pt x="800536" y="218172"/>
                  </a:lnTo>
                  <a:lnTo>
                    <a:pt x="835430" y="228333"/>
                  </a:lnTo>
                  <a:lnTo>
                    <a:pt x="868970" y="242559"/>
                  </a:lnTo>
                  <a:lnTo>
                    <a:pt x="900476" y="259494"/>
                  </a:lnTo>
                  <a:lnTo>
                    <a:pt x="930289" y="279139"/>
                  </a:lnTo>
                  <a:lnTo>
                    <a:pt x="958069" y="301155"/>
                  </a:lnTo>
                  <a:lnTo>
                    <a:pt x="983477" y="325203"/>
                  </a:lnTo>
                  <a:lnTo>
                    <a:pt x="1006175" y="351283"/>
                  </a:lnTo>
                  <a:lnTo>
                    <a:pt x="1026163" y="378041"/>
                  </a:lnTo>
                  <a:lnTo>
                    <a:pt x="1043102" y="406153"/>
                  </a:lnTo>
                  <a:lnTo>
                    <a:pt x="1056653" y="434266"/>
                  </a:lnTo>
                  <a:lnTo>
                    <a:pt x="1066817" y="462378"/>
                  </a:lnTo>
                  <a:lnTo>
                    <a:pt x="1073592" y="490491"/>
                  </a:lnTo>
                  <a:lnTo>
                    <a:pt x="1075261" y="503841"/>
                  </a:lnTo>
                  <a:lnTo>
                    <a:pt x="1074270" y="504039"/>
                  </a:lnTo>
                  <a:lnTo>
                    <a:pt x="1075286" y="504039"/>
                  </a:lnTo>
                  <a:lnTo>
                    <a:pt x="1084772" y="552812"/>
                  </a:lnTo>
                  <a:lnTo>
                    <a:pt x="1094935" y="615134"/>
                  </a:lnTo>
                  <a:lnTo>
                    <a:pt x="1098662" y="652730"/>
                  </a:lnTo>
                  <a:lnTo>
                    <a:pt x="1099001" y="686601"/>
                  </a:lnTo>
                  <a:lnTo>
                    <a:pt x="1095613" y="718439"/>
                  </a:lnTo>
                  <a:lnTo>
                    <a:pt x="1088499" y="748245"/>
                  </a:lnTo>
                  <a:lnTo>
                    <a:pt x="1076641" y="776358"/>
                  </a:lnTo>
                  <a:lnTo>
                    <a:pt x="1068511" y="789906"/>
                  </a:lnTo>
                  <a:lnTo>
                    <a:pt x="1061735" y="801083"/>
                  </a:lnTo>
                  <a:lnTo>
                    <a:pt x="1045474" y="822421"/>
                  </a:lnTo>
                  <a:lnTo>
                    <a:pt x="1027518" y="840712"/>
                  </a:lnTo>
                  <a:lnTo>
                    <a:pt x="1008208" y="857308"/>
                  </a:lnTo>
                  <a:lnTo>
                    <a:pt x="977379" y="878985"/>
                  </a:lnTo>
                  <a:lnTo>
                    <a:pt x="935709" y="900324"/>
                  </a:lnTo>
                  <a:lnTo>
                    <a:pt x="895056" y="915904"/>
                  </a:lnTo>
                  <a:lnTo>
                    <a:pt x="860161" y="926065"/>
                  </a:lnTo>
                  <a:lnTo>
                    <a:pt x="822218" y="933517"/>
                  </a:lnTo>
                  <a:lnTo>
                    <a:pt x="816120" y="933855"/>
                  </a:lnTo>
                  <a:lnTo>
                    <a:pt x="822218" y="997871"/>
                  </a:lnTo>
                  <a:lnTo>
                    <a:pt x="831704" y="997193"/>
                  </a:lnTo>
                  <a:lnTo>
                    <a:pt x="877100" y="987709"/>
                  </a:lnTo>
                  <a:lnTo>
                    <a:pt x="918431" y="975855"/>
                  </a:lnTo>
                  <a:lnTo>
                    <a:pt x="965522" y="957565"/>
                  </a:lnTo>
                  <a:lnTo>
                    <a:pt x="1002449" y="938597"/>
                  </a:lnTo>
                  <a:lnTo>
                    <a:pt x="1026841" y="923356"/>
                  </a:lnTo>
                  <a:lnTo>
                    <a:pt x="1051233" y="905743"/>
                  </a:lnTo>
                  <a:lnTo>
                    <a:pt x="1073931" y="885421"/>
                  </a:lnTo>
                  <a:lnTo>
                    <a:pt x="1095613" y="863066"/>
                  </a:lnTo>
                  <a:lnTo>
                    <a:pt x="1114923" y="837325"/>
                  </a:lnTo>
                  <a:lnTo>
                    <a:pt x="1123393" y="823099"/>
                  </a:lnTo>
                  <a:lnTo>
                    <a:pt x="1132879" y="807518"/>
                  </a:lnTo>
                  <a:lnTo>
                    <a:pt x="1147785" y="773987"/>
                  </a:lnTo>
                  <a:lnTo>
                    <a:pt x="1158626" y="738761"/>
                  </a:lnTo>
                  <a:lnTo>
                    <a:pt x="1165402" y="701504"/>
                  </a:lnTo>
                  <a:lnTo>
                    <a:pt x="1167773" y="662553"/>
                  </a:lnTo>
                  <a:lnTo>
                    <a:pt x="1166079" y="621231"/>
                  </a:lnTo>
                  <a:lnTo>
                    <a:pt x="1160997" y="578215"/>
                  </a:lnTo>
                  <a:lnTo>
                    <a:pt x="1151173" y="533845"/>
                  </a:lnTo>
                  <a:lnTo>
                    <a:pt x="1144736" y="510474"/>
                  </a:lnTo>
                  <a:lnTo>
                    <a:pt x="1161336" y="514877"/>
                  </a:lnTo>
                  <a:lnTo>
                    <a:pt x="1193859" y="526732"/>
                  </a:lnTo>
                  <a:lnTo>
                    <a:pt x="1225027" y="542313"/>
                  </a:lnTo>
                  <a:lnTo>
                    <a:pt x="1254839" y="561619"/>
                  </a:lnTo>
                  <a:lnTo>
                    <a:pt x="1283297" y="583973"/>
                  </a:lnTo>
                  <a:lnTo>
                    <a:pt x="1309383" y="609037"/>
                  </a:lnTo>
                  <a:lnTo>
                    <a:pt x="1333436" y="637150"/>
                  </a:lnTo>
                  <a:lnTo>
                    <a:pt x="1355457" y="667633"/>
                  </a:lnTo>
                  <a:lnTo>
                    <a:pt x="1374429" y="700149"/>
                  </a:lnTo>
                  <a:lnTo>
                    <a:pt x="1390690" y="734358"/>
                  </a:lnTo>
                  <a:lnTo>
                    <a:pt x="1403225" y="770600"/>
                  </a:lnTo>
                  <a:lnTo>
                    <a:pt x="1413049" y="807857"/>
                  </a:lnTo>
                  <a:lnTo>
                    <a:pt x="1418470" y="846470"/>
                  </a:lnTo>
                  <a:lnTo>
                    <a:pt x="1420841" y="885421"/>
                  </a:lnTo>
                  <a:lnTo>
                    <a:pt x="1418470" y="925049"/>
                  </a:lnTo>
                  <a:lnTo>
                    <a:pt x="1412033" y="964678"/>
                  </a:lnTo>
                  <a:lnTo>
                    <a:pt x="1407290" y="984322"/>
                  </a:lnTo>
                  <a:lnTo>
                    <a:pt x="1416437" y="987371"/>
                  </a:lnTo>
                  <a:lnTo>
                    <a:pt x="1434054" y="994484"/>
                  </a:lnTo>
                  <a:lnTo>
                    <a:pt x="1450315" y="1003290"/>
                  </a:lnTo>
                  <a:lnTo>
                    <a:pt x="1464883" y="1013790"/>
                  </a:lnTo>
                  <a:lnTo>
                    <a:pt x="1483516" y="1031741"/>
                  </a:lnTo>
                  <a:lnTo>
                    <a:pt x="1504181" y="1060531"/>
                  </a:lnTo>
                  <a:lnTo>
                    <a:pt x="1519765" y="1094063"/>
                  </a:lnTo>
                  <a:lnTo>
                    <a:pt x="1530606" y="1129965"/>
                  </a:lnTo>
                  <a:lnTo>
                    <a:pt x="1536704" y="1167900"/>
                  </a:lnTo>
                  <a:lnTo>
                    <a:pt x="1539414" y="1206513"/>
                  </a:lnTo>
                  <a:lnTo>
                    <a:pt x="1539414" y="1225819"/>
                  </a:lnTo>
                  <a:lnTo>
                    <a:pt x="1538059" y="1240722"/>
                  </a:lnTo>
                  <a:lnTo>
                    <a:pt x="1532639" y="1270528"/>
                  </a:lnTo>
                  <a:lnTo>
                    <a:pt x="1528912" y="1285092"/>
                  </a:lnTo>
                  <a:lnTo>
                    <a:pt x="1525185" y="1296608"/>
                  </a:lnTo>
                  <a:lnTo>
                    <a:pt x="1516716" y="1318285"/>
                  </a:lnTo>
                  <a:lnTo>
                    <a:pt x="1505536" y="1338946"/>
                  </a:lnTo>
                  <a:lnTo>
                    <a:pt x="1493001" y="1357914"/>
                  </a:lnTo>
                  <a:lnTo>
                    <a:pt x="1478434" y="1375527"/>
                  </a:lnTo>
                  <a:lnTo>
                    <a:pt x="1461156" y="1391784"/>
                  </a:lnTo>
                  <a:lnTo>
                    <a:pt x="1442184" y="1406687"/>
                  </a:lnTo>
                  <a:lnTo>
                    <a:pt x="1421180" y="1420236"/>
                  </a:lnTo>
                  <a:lnTo>
                    <a:pt x="1410000" y="1426671"/>
                  </a:lnTo>
                  <a:lnTo>
                    <a:pt x="1398821" y="1432429"/>
                  </a:lnTo>
                  <a:lnTo>
                    <a:pt x="1376122" y="1441235"/>
                  </a:lnTo>
                  <a:lnTo>
                    <a:pt x="1341906" y="1450380"/>
                  </a:lnTo>
                  <a:lnTo>
                    <a:pt x="1296509" y="1454783"/>
                  </a:lnTo>
                  <a:lnTo>
                    <a:pt x="1253484" y="1453767"/>
                  </a:lnTo>
                  <a:lnTo>
                    <a:pt x="1215202" y="1448009"/>
                  </a:lnTo>
                  <a:lnTo>
                    <a:pt x="1183357" y="1440558"/>
                  </a:lnTo>
                  <a:lnTo>
                    <a:pt x="1150495" y="1430058"/>
                  </a:lnTo>
                  <a:lnTo>
                    <a:pt x="1145414" y="1427687"/>
                  </a:lnTo>
                  <a:lnTo>
                    <a:pt x="1121699" y="1417187"/>
                  </a:lnTo>
                  <a:lnTo>
                    <a:pt x="1108487" y="1409397"/>
                  </a:lnTo>
                  <a:lnTo>
                    <a:pt x="1084772" y="1390430"/>
                  </a:lnTo>
                  <a:lnTo>
                    <a:pt x="1074270" y="1379930"/>
                  </a:lnTo>
                  <a:lnTo>
                    <a:pt x="1061058" y="1364011"/>
                  </a:lnTo>
                  <a:lnTo>
                    <a:pt x="1040731" y="1331156"/>
                  </a:lnTo>
                  <a:lnTo>
                    <a:pt x="1026502" y="1297286"/>
                  </a:lnTo>
                  <a:lnTo>
                    <a:pt x="1017016" y="1264431"/>
                  </a:lnTo>
                  <a:lnTo>
                    <a:pt x="1010241" y="1220061"/>
                  </a:lnTo>
                  <a:lnTo>
                    <a:pt x="1009224" y="1182465"/>
                  </a:lnTo>
                  <a:lnTo>
                    <a:pt x="1009224" y="1178062"/>
                  </a:lnTo>
                  <a:lnTo>
                    <a:pt x="945195" y="1172642"/>
                  </a:lnTo>
                  <a:lnTo>
                    <a:pt x="944856" y="1178739"/>
                  </a:lnTo>
                  <a:lnTo>
                    <a:pt x="945195" y="1212271"/>
                  </a:lnTo>
                  <a:lnTo>
                    <a:pt x="947905" y="1243770"/>
                  </a:lnTo>
                  <a:lnTo>
                    <a:pt x="954342" y="1280689"/>
                  </a:lnTo>
                  <a:lnTo>
                    <a:pt x="966199" y="1320656"/>
                  </a:lnTo>
                  <a:lnTo>
                    <a:pt x="984493" y="1362317"/>
                  </a:lnTo>
                  <a:lnTo>
                    <a:pt x="1003126" y="1393139"/>
                  </a:lnTo>
                  <a:lnTo>
                    <a:pt x="1018033" y="1413123"/>
                  </a:lnTo>
                  <a:lnTo>
                    <a:pt x="1026502" y="1422945"/>
                  </a:lnTo>
                  <a:lnTo>
                    <a:pt x="1041747" y="1438187"/>
                  </a:lnTo>
                  <a:lnTo>
                    <a:pt x="1075964" y="1464945"/>
                  </a:lnTo>
                  <a:lnTo>
                    <a:pt x="1094935" y="1476461"/>
                  </a:lnTo>
                  <a:lnTo>
                    <a:pt x="1090531" y="1492380"/>
                  </a:lnTo>
                  <a:lnTo>
                    <a:pt x="1080029" y="1522186"/>
                  </a:lnTo>
                  <a:lnTo>
                    <a:pt x="1067494" y="1549621"/>
                  </a:lnTo>
                  <a:lnTo>
                    <a:pt x="1053266" y="1574685"/>
                  </a:lnTo>
                  <a:lnTo>
                    <a:pt x="1037343" y="1597717"/>
                  </a:lnTo>
                  <a:lnTo>
                    <a:pt x="1019388" y="1617700"/>
                  </a:lnTo>
                  <a:lnTo>
                    <a:pt x="999738" y="1635313"/>
                  </a:lnTo>
                  <a:lnTo>
                    <a:pt x="978057" y="1650555"/>
                  </a:lnTo>
                  <a:lnTo>
                    <a:pt x="966877" y="1657329"/>
                  </a:lnTo>
                  <a:lnTo>
                    <a:pt x="947905" y="1666813"/>
                  </a:lnTo>
                  <a:lnTo>
                    <a:pt x="909284" y="1680700"/>
                  </a:lnTo>
                  <a:lnTo>
                    <a:pt x="869647" y="1688490"/>
                  </a:lnTo>
                  <a:lnTo>
                    <a:pt x="830688" y="1691538"/>
                  </a:lnTo>
                  <a:lnTo>
                    <a:pt x="793422" y="1690522"/>
                  </a:lnTo>
                  <a:lnTo>
                    <a:pt x="758527" y="1687135"/>
                  </a:lnTo>
                  <a:lnTo>
                    <a:pt x="713131" y="1679345"/>
                  </a:lnTo>
                  <a:lnTo>
                    <a:pt x="690433" y="1673587"/>
                  </a:lnTo>
                  <a:lnTo>
                    <a:pt x="706355" y="1653264"/>
                  </a:lnTo>
                  <a:lnTo>
                    <a:pt x="731764" y="1612959"/>
                  </a:lnTo>
                  <a:lnTo>
                    <a:pt x="751752" y="1572653"/>
                  </a:lnTo>
                  <a:lnTo>
                    <a:pt x="765642" y="1534379"/>
                  </a:lnTo>
                  <a:lnTo>
                    <a:pt x="779193" y="1484251"/>
                  </a:lnTo>
                  <a:lnTo>
                    <a:pt x="785969" y="1440897"/>
                  </a:lnTo>
                  <a:lnTo>
                    <a:pt x="786307" y="1434800"/>
                  </a:lnTo>
                  <a:lnTo>
                    <a:pt x="722278" y="1431074"/>
                  </a:lnTo>
                  <a:lnTo>
                    <a:pt x="721939" y="1436493"/>
                  </a:lnTo>
                  <a:lnTo>
                    <a:pt x="716519" y="1469348"/>
                  </a:lnTo>
                  <a:lnTo>
                    <a:pt x="708727" y="1501186"/>
                  </a:lnTo>
                  <a:lnTo>
                    <a:pt x="696192" y="1537766"/>
                  </a:lnTo>
                  <a:lnTo>
                    <a:pt x="677898" y="1577733"/>
                  </a:lnTo>
                  <a:lnTo>
                    <a:pt x="652490" y="1618378"/>
                  </a:lnTo>
                  <a:lnTo>
                    <a:pt x="628097" y="1647168"/>
                  </a:lnTo>
                  <a:lnTo>
                    <a:pt x="609465" y="1665797"/>
                  </a:lnTo>
                  <a:lnTo>
                    <a:pt x="598962" y="1673925"/>
                  </a:lnTo>
                  <a:lnTo>
                    <a:pt x="584395" y="1685780"/>
                  </a:lnTo>
                  <a:lnTo>
                    <a:pt x="551872" y="1705764"/>
                  </a:lnTo>
                  <a:lnTo>
                    <a:pt x="516639" y="1721344"/>
                  </a:lnTo>
                  <a:lnTo>
                    <a:pt x="478357" y="1733199"/>
                  </a:lnTo>
                  <a:lnTo>
                    <a:pt x="437703" y="1740989"/>
                  </a:lnTo>
                  <a:lnTo>
                    <a:pt x="393662" y="1745053"/>
                  </a:lnTo>
                  <a:lnTo>
                    <a:pt x="347249" y="1745392"/>
                  </a:lnTo>
                  <a:lnTo>
                    <a:pt x="298126" y="1741666"/>
                  </a:lnTo>
                  <a:lnTo>
                    <a:pt x="272040" y="1737602"/>
                  </a:lnTo>
                  <a:lnTo>
                    <a:pt x="249681" y="1733538"/>
                  </a:lnTo>
                  <a:lnTo>
                    <a:pt x="206317" y="1719651"/>
                  </a:lnTo>
                  <a:lnTo>
                    <a:pt x="166002" y="1700344"/>
                  </a:lnTo>
                  <a:lnTo>
                    <a:pt x="128059" y="1676635"/>
                  </a:lnTo>
                  <a:lnTo>
                    <a:pt x="93503" y="1649877"/>
                  </a:lnTo>
                  <a:lnTo>
                    <a:pt x="61658" y="1621426"/>
                  </a:lnTo>
                  <a:lnTo>
                    <a:pt x="21005" y="1578749"/>
                  </a:lnTo>
                  <a:lnTo>
                    <a:pt x="0" y="1552669"/>
                  </a:lnTo>
                  <a:lnTo>
                    <a:pt x="0" y="652392"/>
                  </a:lnTo>
                  <a:lnTo>
                    <a:pt x="27103" y="647650"/>
                  </a:lnTo>
                  <a:lnTo>
                    <a:pt x="79275" y="641553"/>
                  </a:lnTo>
                  <a:lnTo>
                    <a:pt x="128059" y="639860"/>
                  </a:lnTo>
                  <a:lnTo>
                    <a:pt x="173794" y="642231"/>
                  </a:lnTo>
                  <a:lnTo>
                    <a:pt x="216480" y="649343"/>
                  </a:lnTo>
                  <a:lnTo>
                    <a:pt x="255440" y="660859"/>
                  </a:lnTo>
                  <a:lnTo>
                    <a:pt x="291351" y="676440"/>
                  </a:lnTo>
                  <a:lnTo>
                    <a:pt x="323873" y="697101"/>
                  </a:lnTo>
                  <a:lnTo>
                    <a:pt x="338441" y="708955"/>
                  </a:lnTo>
                  <a:lnTo>
                    <a:pt x="348604" y="717762"/>
                  </a:lnTo>
                  <a:lnTo>
                    <a:pt x="366898" y="736729"/>
                  </a:lnTo>
                  <a:lnTo>
                    <a:pt x="383160" y="757051"/>
                  </a:lnTo>
                  <a:lnTo>
                    <a:pt x="397389" y="778390"/>
                  </a:lnTo>
                  <a:lnTo>
                    <a:pt x="415344" y="811244"/>
                  </a:lnTo>
                  <a:lnTo>
                    <a:pt x="432960" y="856631"/>
                  </a:lnTo>
                  <a:lnTo>
                    <a:pt x="445156" y="901001"/>
                  </a:lnTo>
                  <a:lnTo>
                    <a:pt x="452948" y="942662"/>
                  </a:lnTo>
                  <a:lnTo>
                    <a:pt x="458369" y="996177"/>
                  </a:lnTo>
                  <a:lnTo>
                    <a:pt x="458708" y="1019886"/>
                  </a:lnTo>
                  <a:lnTo>
                    <a:pt x="439397" y="1025983"/>
                  </a:lnTo>
                  <a:lnTo>
                    <a:pt x="404842" y="1041225"/>
                  </a:lnTo>
                  <a:lnTo>
                    <a:pt x="375029" y="1059515"/>
                  </a:lnTo>
                  <a:lnTo>
                    <a:pt x="348943" y="1078144"/>
                  </a:lnTo>
                  <a:lnTo>
                    <a:pt x="319131" y="1104901"/>
                  </a:lnTo>
                  <a:lnTo>
                    <a:pt x="297110" y="1129965"/>
                  </a:lnTo>
                  <a:lnTo>
                    <a:pt x="295077" y="1133014"/>
                  </a:lnTo>
                  <a:lnTo>
                    <a:pt x="347588" y="1169933"/>
                  </a:lnTo>
                  <a:lnTo>
                    <a:pt x="353686" y="1161804"/>
                  </a:lnTo>
                  <a:lnTo>
                    <a:pt x="388919" y="1127595"/>
                  </a:lnTo>
                  <a:lnTo>
                    <a:pt x="415344" y="1108627"/>
                  </a:lnTo>
                  <a:lnTo>
                    <a:pt x="436009" y="1097111"/>
                  </a:lnTo>
                  <a:lnTo>
                    <a:pt x="459724" y="1086950"/>
                  </a:lnTo>
                  <a:lnTo>
                    <a:pt x="485471" y="1079160"/>
                  </a:lnTo>
                  <a:lnTo>
                    <a:pt x="513929" y="1074418"/>
                  </a:lnTo>
                  <a:lnTo>
                    <a:pt x="544758" y="1073402"/>
                  </a:lnTo>
                  <a:lnTo>
                    <a:pt x="578297" y="1076450"/>
                  </a:lnTo>
                  <a:lnTo>
                    <a:pt x="614207" y="1085256"/>
                  </a:lnTo>
                  <a:lnTo>
                    <a:pt x="651812" y="1100159"/>
                  </a:lnTo>
                  <a:lnTo>
                    <a:pt x="692465" y="1121837"/>
                  </a:lnTo>
                  <a:lnTo>
                    <a:pt x="713470" y="1135723"/>
                  </a:lnTo>
                  <a:lnTo>
                    <a:pt x="749719" y="1082547"/>
                  </a:lnTo>
                  <a:lnTo>
                    <a:pt x="733797" y="1072047"/>
                  </a:lnTo>
                  <a:lnTo>
                    <a:pt x="702290" y="1053757"/>
                  </a:lnTo>
                  <a:lnTo>
                    <a:pt x="671800" y="1038854"/>
                  </a:lnTo>
                  <a:lnTo>
                    <a:pt x="642326" y="1026999"/>
                  </a:lnTo>
                  <a:lnTo>
                    <a:pt x="613869" y="1018532"/>
                  </a:lnTo>
                  <a:lnTo>
                    <a:pt x="586428" y="1012435"/>
                  </a:lnTo>
                  <a:lnTo>
                    <a:pt x="560341" y="1009387"/>
                  </a:lnTo>
                  <a:lnTo>
                    <a:pt x="535272" y="1008370"/>
                  </a:lnTo>
                  <a:lnTo>
                    <a:pt x="522737" y="1009048"/>
                  </a:lnTo>
                  <a:lnTo>
                    <a:pt x="522398" y="989064"/>
                  </a:lnTo>
                  <a:lnTo>
                    <a:pt x="517655" y="936904"/>
                  </a:lnTo>
                  <a:lnTo>
                    <a:pt x="505798" y="874582"/>
                  </a:lnTo>
                  <a:lnTo>
                    <a:pt x="489875" y="824454"/>
                  </a:lnTo>
                  <a:lnTo>
                    <a:pt x="476324" y="790583"/>
                  </a:lnTo>
                  <a:lnTo>
                    <a:pt x="468532" y="773987"/>
                  </a:lnTo>
                  <a:lnTo>
                    <a:pt x="492924" y="759084"/>
                  </a:lnTo>
                  <a:lnTo>
                    <a:pt x="537304" y="727584"/>
                  </a:lnTo>
                  <a:lnTo>
                    <a:pt x="568472" y="700826"/>
                  </a:lnTo>
                  <a:lnTo>
                    <a:pt x="599301" y="669666"/>
                  </a:lnTo>
                  <a:lnTo>
                    <a:pt x="629114" y="633424"/>
                  </a:lnTo>
                  <a:lnTo>
                    <a:pt x="655877" y="592780"/>
                  </a:lnTo>
                  <a:lnTo>
                    <a:pt x="678576" y="547054"/>
                  </a:lnTo>
                  <a:lnTo>
                    <a:pt x="687384" y="521990"/>
                  </a:lnTo>
                  <a:lnTo>
                    <a:pt x="693143" y="504378"/>
                  </a:lnTo>
                  <a:lnTo>
                    <a:pt x="701613" y="468136"/>
                  </a:lnTo>
                  <a:lnTo>
                    <a:pt x="706355" y="431556"/>
                  </a:lnTo>
                  <a:lnTo>
                    <a:pt x="707711" y="393960"/>
                  </a:lnTo>
                  <a:lnTo>
                    <a:pt x="705678" y="355686"/>
                  </a:lnTo>
                  <a:lnTo>
                    <a:pt x="699919" y="316735"/>
                  </a:lnTo>
                  <a:lnTo>
                    <a:pt x="690433" y="277107"/>
                  </a:lnTo>
                  <a:lnTo>
                    <a:pt x="678237" y="236801"/>
                  </a:lnTo>
                  <a:lnTo>
                    <a:pt x="670445" y="216140"/>
                  </a:lnTo>
                  <a:lnTo>
                    <a:pt x="689755" y="212414"/>
                  </a:lnTo>
                  <a:close/>
                  <a:moveTo>
                    <a:pt x="262894" y="0"/>
                  </a:moveTo>
                  <a:lnTo>
                    <a:pt x="280510" y="0"/>
                  </a:lnTo>
                  <a:lnTo>
                    <a:pt x="294400" y="0"/>
                  </a:lnTo>
                  <a:lnTo>
                    <a:pt x="321164" y="2033"/>
                  </a:lnTo>
                  <a:lnTo>
                    <a:pt x="360123" y="9147"/>
                  </a:lnTo>
                  <a:lnTo>
                    <a:pt x="406875" y="25070"/>
                  </a:lnTo>
                  <a:lnTo>
                    <a:pt x="449900" y="46752"/>
                  </a:lnTo>
                  <a:lnTo>
                    <a:pt x="487843" y="73177"/>
                  </a:lnTo>
                  <a:lnTo>
                    <a:pt x="521044" y="102312"/>
                  </a:lnTo>
                  <a:lnTo>
                    <a:pt x="549501" y="132802"/>
                  </a:lnTo>
                  <a:lnTo>
                    <a:pt x="573216" y="163969"/>
                  </a:lnTo>
                  <a:lnTo>
                    <a:pt x="583041" y="179215"/>
                  </a:lnTo>
                  <a:lnTo>
                    <a:pt x="593882" y="201574"/>
                  </a:lnTo>
                  <a:lnTo>
                    <a:pt x="612514" y="244938"/>
                  </a:lnTo>
                  <a:lnTo>
                    <a:pt x="627082" y="286947"/>
                  </a:lnTo>
                  <a:lnTo>
                    <a:pt x="636568" y="328278"/>
                  </a:lnTo>
                  <a:lnTo>
                    <a:pt x="642327" y="368592"/>
                  </a:lnTo>
                  <a:lnTo>
                    <a:pt x="643682" y="408230"/>
                  </a:lnTo>
                  <a:lnTo>
                    <a:pt x="639956" y="446512"/>
                  </a:lnTo>
                  <a:lnTo>
                    <a:pt x="632502" y="483439"/>
                  </a:lnTo>
                  <a:lnTo>
                    <a:pt x="627082" y="501394"/>
                  </a:lnTo>
                  <a:lnTo>
                    <a:pt x="618951" y="522737"/>
                  </a:lnTo>
                  <a:lnTo>
                    <a:pt x="599302" y="562374"/>
                  </a:lnTo>
                  <a:lnTo>
                    <a:pt x="575926" y="597607"/>
                  </a:lnTo>
                  <a:lnTo>
                    <a:pt x="549501" y="628775"/>
                  </a:lnTo>
                  <a:lnTo>
                    <a:pt x="522399" y="655878"/>
                  </a:lnTo>
                  <a:lnTo>
                    <a:pt x="494619" y="678915"/>
                  </a:lnTo>
                  <a:lnTo>
                    <a:pt x="455998" y="707033"/>
                  </a:lnTo>
                  <a:lnTo>
                    <a:pt x="434655" y="719568"/>
                  </a:lnTo>
                  <a:lnTo>
                    <a:pt x="422798" y="703646"/>
                  </a:lnTo>
                  <a:lnTo>
                    <a:pt x="396034" y="674510"/>
                  </a:lnTo>
                  <a:lnTo>
                    <a:pt x="380450" y="660620"/>
                  </a:lnTo>
                  <a:lnTo>
                    <a:pt x="363172" y="646731"/>
                  </a:lnTo>
                  <a:lnTo>
                    <a:pt x="325568" y="622677"/>
                  </a:lnTo>
                  <a:lnTo>
                    <a:pt x="284575" y="603706"/>
                  </a:lnTo>
                  <a:lnTo>
                    <a:pt x="240195" y="589138"/>
                  </a:lnTo>
                  <a:lnTo>
                    <a:pt x="192766" y="579991"/>
                  </a:lnTo>
                  <a:lnTo>
                    <a:pt x="141610" y="575926"/>
                  </a:lnTo>
                  <a:lnTo>
                    <a:pt x="87405" y="576942"/>
                  </a:lnTo>
                  <a:lnTo>
                    <a:pt x="29813" y="582701"/>
                  </a:lnTo>
                  <a:lnTo>
                    <a:pt x="0" y="587783"/>
                  </a:lnTo>
                  <a:lnTo>
                    <a:pt x="0" y="353347"/>
                  </a:lnTo>
                  <a:lnTo>
                    <a:pt x="0" y="334376"/>
                  </a:lnTo>
                  <a:lnTo>
                    <a:pt x="2033" y="298465"/>
                  </a:lnTo>
                  <a:lnTo>
                    <a:pt x="6437" y="263232"/>
                  </a:lnTo>
                  <a:lnTo>
                    <a:pt x="13213" y="230032"/>
                  </a:lnTo>
                  <a:lnTo>
                    <a:pt x="21682" y="197847"/>
                  </a:lnTo>
                  <a:lnTo>
                    <a:pt x="32862" y="168035"/>
                  </a:lnTo>
                  <a:lnTo>
                    <a:pt x="45397" y="139916"/>
                  </a:lnTo>
                  <a:lnTo>
                    <a:pt x="60981" y="114169"/>
                  </a:lnTo>
                  <a:lnTo>
                    <a:pt x="78597" y="89777"/>
                  </a:lnTo>
                  <a:lnTo>
                    <a:pt x="98246" y="68772"/>
                  </a:lnTo>
                  <a:lnTo>
                    <a:pt x="120267" y="50139"/>
                  </a:lnTo>
                  <a:lnTo>
                    <a:pt x="144321" y="33878"/>
                  </a:lnTo>
                  <a:lnTo>
                    <a:pt x="170745" y="20666"/>
                  </a:lnTo>
                  <a:lnTo>
                    <a:pt x="199203" y="10502"/>
                  </a:lnTo>
                  <a:lnTo>
                    <a:pt x="230032" y="3388"/>
                  </a:lnTo>
                  <a:close/>
                </a:path>
              </a:pathLst>
            </a:custGeom>
            <a:solidFill>
              <a:schemeClr val="accent4"/>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11" name="Freeform: Shape 23">
              <a:extLst>
                <a:ext uri="{FF2B5EF4-FFF2-40B4-BE49-F238E27FC236}">
                  <a16:creationId xmlns:a16="http://schemas.microsoft.com/office/drawing/2014/main" id="{38CBFF7E-5651-4E2C-9FA6-DA3BB866133A}"/>
                </a:ext>
              </a:extLst>
            </p:cNvPr>
            <p:cNvSpPr>
              <a:spLocks/>
            </p:cNvSpPr>
            <p:nvPr/>
          </p:nvSpPr>
          <p:spPr bwMode="auto">
            <a:xfrm>
              <a:off x="4469858" y="2291427"/>
              <a:ext cx="1539414" cy="1848381"/>
            </a:xfrm>
            <a:custGeom>
              <a:avLst/>
              <a:gdLst>
                <a:gd name="connsiteX0" fmla="*/ 540662 w 1539414"/>
                <a:gd name="connsiteY0" fmla="*/ 773773 h 1848381"/>
                <a:gd name="connsiteX1" fmla="*/ 561652 w 1539414"/>
                <a:gd name="connsiteY1" fmla="*/ 785292 h 1848381"/>
                <a:gd name="connsiteX2" fmla="*/ 602955 w 1539414"/>
                <a:gd name="connsiteY2" fmla="*/ 805280 h 1848381"/>
                <a:gd name="connsiteX3" fmla="*/ 643919 w 1539414"/>
                <a:gd name="connsiteY3" fmla="*/ 820863 h 1848381"/>
                <a:gd name="connsiteX4" fmla="*/ 683868 w 1539414"/>
                <a:gd name="connsiteY4" fmla="*/ 831704 h 1848381"/>
                <a:gd name="connsiteX5" fmla="*/ 723817 w 1539414"/>
                <a:gd name="connsiteY5" fmla="*/ 838819 h 1848381"/>
                <a:gd name="connsiteX6" fmla="*/ 762750 w 1539414"/>
                <a:gd name="connsiteY6" fmla="*/ 840851 h 1848381"/>
                <a:gd name="connsiteX7" fmla="*/ 801006 w 1539414"/>
                <a:gd name="connsiteY7" fmla="*/ 838819 h 1848381"/>
                <a:gd name="connsiteX8" fmla="*/ 838585 w 1539414"/>
                <a:gd name="connsiteY8" fmla="*/ 832382 h 1848381"/>
                <a:gd name="connsiteX9" fmla="*/ 857543 w 1539414"/>
                <a:gd name="connsiteY9" fmla="*/ 826962 h 1848381"/>
                <a:gd name="connsiteX10" fmla="*/ 873455 w 1539414"/>
                <a:gd name="connsiteY10" fmla="*/ 821541 h 1848381"/>
                <a:gd name="connsiteX11" fmla="*/ 903248 w 1539414"/>
                <a:gd name="connsiteY11" fmla="*/ 809684 h 1848381"/>
                <a:gd name="connsiteX12" fmla="*/ 917128 w 1539414"/>
                <a:gd name="connsiteY12" fmla="*/ 802231 h 1848381"/>
                <a:gd name="connsiteX13" fmla="*/ 930331 w 1539414"/>
                <a:gd name="connsiteY13" fmla="*/ 823913 h 1848381"/>
                <a:gd name="connsiteX14" fmla="*/ 952337 w 1539414"/>
                <a:gd name="connsiteY14" fmla="*/ 864566 h 1848381"/>
                <a:gd name="connsiteX15" fmla="*/ 969603 w 1539414"/>
                <a:gd name="connsiteY15" fmla="*/ 904542 h 1848381"/>
                <a:gd name="connsiteX16" fmla="*/ 981452 w 1539414"/>
                <a:gd name="connsiteY16" fmla="*/ 943841 h 1848381"/>
                <a:gd name="connsiteX17" fmla="*/ 988900 w 1539414"/>
                <a:gd name="connsiteY17" fmla="*/ 982461 h 1848381"/>
                <a:gd name="connsiteX18" fmla="*/ 991947 w 1539414"/>
                <a:gd name="connsiteY18" fmla="*/ 1020066 h 1848381"/>
                <a:gd name="connsiteX19" fmla="*/ 989577 w 1539414"/>
                <a:gd name="connsiteY19" fmla="*/ 1058009 h 1848381"/>
                <a:gd name="connsiteX20" fmla="*/ 983484 w 1539414"/>
                <a:gd name="connsiteY20" fmla="*/ 1095614 h 1848381"/>
                <a:gd name="connsiteX21" fmla="*/ 978067 w 1539414"/>
                <a:gd name="connsiteY21" fmla="*/ 1114585 h 1848381"/>
                <a:gd name="connsiteX22" fmla="*/ 974004 w 1539414"/>
                <a:gd name="connsiteY22" fmla="*/ 1127459 h 1848381"/>
                <a:gd name="connsiteX23" fmla="*/ 959785 w 1539414"/>
                <a:gd name="connsiteY23" fmla="*/ 1151851 h 1848381"/>
                <a:gd name="connsiteX24" fmla="*/ 940149 w 1539414"/>
                <a:gd name="connsiteY24" fmla="*/ 1174549 h 1848381"/>
                <a:gd name="connsiteX25" fmla="*/ 915435 w 1539414"/>
                <a:gd name="connsiteY25" fmla="*/ 1195215 h 1848381"/>
                <a:gd name="connsiteX26" fmla="*/ 887674 w 1539414"/>
                <a:gd name="connsiteY26" fmla="*/ 1214187 h 1848381"/>
                <a:gd name="connsiteX27" fmla="*/ 857882 w 1539414"/>
                <a:gd name="connsiteY27" fmla="*/ 1230109 h 1848381"/>
                <a:gd name="connsiteX28" fmla="*/ 826736 w 1539414"/>
                <a:gd name="connsiteY28" fmla="*/ 1242305 h 1848381"/>
                <a:gd name="connsiteX29" fmla="*/ 796266 w 1539414"/>
                <a:gd name="connsiteY29" fmla="*/ 1251452 h 1848381"/>
                <a:gd name="connsiteX30" fmla="*/ 781032 w 1539414"/>
                <a:gd name="connsiteY30" fmla="*/ 1254163 h 1848381"/>
                <a:gd name="connsiteX31" fmla="*/ 739052 w 1539414"/>
                <a:gd name="connsiteY31" fmla="*/ 1260938 h 1848381"/>
                <a:gd name="connsiteX32" fmla="*/ 756995 w 1539414"/>
                <a:gd name="connsiteY32" fmla="*/ 1299559 h 1848381"/>
                <a:gd name="connsiteX33" fmla="*/ 762411 w 1539414"/>
                <a:gd name="connsiteY33" fmla="*/ 1311416 h 1848381"/>
                <a:gd name="connsiteX34" fmla="*/ 770537 w 1539414"/>
                <a:gd name="connsiteY34" fmla="*/ 1335131 h 1848381"/>
                <a:gd name="connsiteX35" fmla="*/ 776292 w 1539414"/>
                <a:gd name="connsiteY35" fmla="*/ 1357829 h 1848381"/>
                <a:gd name="connsiteX36" fmla="*/ 779000 w 1539414"/>
                <a:gd name="connsiteY36" fmla="*/ 1379850 h 1848381"/>
                <a:gd name="connsiteX37" fmla="*/ 778662 w 1539414"/>
                <a:gd name="connsiteY37" fmla="*/ 1401193 h 1848381"/>
                <a:gd name="connsiteX38" fmla="*/ 775615 w 1539414"/>
                <a:gd name="connsiteY38" fmla="*/ 1421520 h 1848381"/>
                <a:gd name="connsiteX39" fmla="*/ 769859 w 1539414"/>
                <a:gd name="connsiteY39" fmla="*/ 1441169 h 1848381"/>
                <a:gd name="connsiteX40" fmla="*/ 760719 w 1539414"/>
                <a:gd name="connsiteY40" fmla="*/ 1459802 h 1848381"/>
                <a:gd name="connsiteX41" fmla="*/ 755302 w 1539414"/>
                <a:gd name="connsiteY41" fmla="*/ 1468949 h 1848381"/>
                <a:gd name="connsiteX42" fmla="*/ 747854 w 1539414"/>
                <a:gd name="connsiteY42" fmla="*/ 1479112 h 1848381"/>
                <a:gd name="connsiteX43" fmla="*/ 730588 w 1539414"/>
                <a:gd name="connsiteY43" fmla="*/ 1497745 h 1848381"/>
                <a:gd name="connsiteX44" fmla="*/ 710275 w 1539414"/>
                <a:gd name="connsiteY44" fmla="*/ 1514007 h 1848381"/>
                <a:gd name="connsiteX45" fmla="*/ 686577 w 1539414"/>
                <a:gd name="connsiteY45" fmla="*/ 1528574 h 1848381"/>
                <a:gd name="connsiteX46" fmla="*/ 660170 w 1539414"/>
                <a:gd name="connsiteY46" fmla="*/ 1540431 h 1848381"/>
                <a:gd name="connsiteX47" fmla="*/ 631055 w 1539414"/>
                <a:gd name="connsiteY47" fmla="*/ 1550256 h 1848381"/>
                <a:gd name="connsiteX48" fmla="*/ 600247 w 1539414"/>
                <a:gd name="connsiteY48" fmla="*/ 1557032 h 1848381"/>
                <a:gd name="connsiteX49" fmla="*/ 568085 w 1539414"/>
                <a:gd name="connsiteY49" fmla="*/ 1561436 h 1848381"/>
                <a:gd name="connsiteX50" fmla="*/ 550819 w 1539414"/>
                <a:gd name="connsiteY50" fmla="*/ 1562452 h 1848381"/>
                <a:gd name="connsiteX51" fmla="*/ 548787 w 1539414"/>
                <a:gd name="connsiteY51" fmla="*/ 1550595 h 1848381"/>
                <a:gd name="connsiteX52" fmla="*/ 542355 w 1539414"/>
                <a:gd name="connsiteY52" fmla="*/ 1526542 h 1848381"/>
                <a:gd name="connsiteX53" fmla="*/ 533553 w 1539414"/>
                <a:gd name="connsiteY53" fmla="*/ 1502149 h 1848381"/>
                <a:gd name="connsiteX54" fmla="*/ 522719 w 1539414"/>
                <a:gd name="connsiteY54" fmla="*/ 1478096 h 1848381"/>
                <a:gd name="connsiteX55" fmla="*/ 516287 w 1539414"/>
                <a:gd name="connsiteY55" fmla="*/ 1466239 h 1848381"/>
                <a:gd name="connsiteX56" fmla="*/ 507484 w 1539414"/>
                <a:gd name="connsiteY56" fmla="*/ 1451332 h 1848381"/>
                <a:gd name="connsiteX57" fmla="*/ 487510 w 1539414"/>
                <a:gd name="connsiteY57" fmla="*/ 1423553 h 1848381"/>
                <a:gd name="connsiteX58" fmla="*/ 465166 w 1539414"/>
                <a:gd name="connsiteY58" fmla="*/ 1398822 h 1848381"/>
                <a:gd name="connsiteX59" fmla="*/ 440790 w 1539414"/>
                <a:gd name="connsiteY59" fmla="*/ 1375785 h 1848381"/>
                <a:gd name="connsiteX60" fmla="*/ 414045 w 1539414"/>
                <a:gd name="connsiteY60" fmla="*/ 1356135 h 1848381"/>
                <a:gd name="connsiteX61" fmla="*/ 385268 w 1539414"/>
                <a:gd name="connsiteY61" fmla="*/ 1339535 h 1848381"/>
                <a:gd name="connsiteX62" fmla="*/ 356153 w 1539414"/>
                <a:gd name="connsiteY62" fmla="*/ 1325306 h 1848381"/>
                <a:gd name="connsiteX63" fmla="*/ 325007 w 1539414"/>
                <a:gd name="connsiteY63" fmla="*/ 1315143 h 1848381"/>
                <a:gd name="connsiteX64" fmla="*/ 309095 w 1539414"/>
                <a:gd name="connsiteY64" fmla="*/ 1311755 h 1848381"/>
                <a:gd name="connsiteX65" fmla="*/ 289459 w 1539414"/>
                <a:gd name="connsiteY65" fmla="*/ 1307690 h 1848381"/>
                <a:gd name="connsiteX66" fmla="*/ 249849 w 1539414"/>
                <a:gd name="connsiteY66" fmla="*/ 1304302 h 1848381"/>
                <a:gd name="connsiteX67" fmla="*/ 210916 w 1539414"/>
                <a:gd name="connsiteY67" fmla="*/ 1303963 h 1848381"/>
                <a:gd name="connsiteX68" fmla="*/ 172999 w 1539414"/>
                <a:gd name="connsiteY68" fmla="*/ 1307012 h 1848381"/>
                <a:gd name="connsiteX69" fmla="*/ 135758 w 1539414"/>
                <a:gd name="connsiteY69" fmla="*/ 1312433 h 1848381"/>
                <a:gd name="connsiteX70" fmla="*/ 100549 w 1539414"/>
                <a:gd name="connsiteY70" fmla="*/ 1320563 h 1848381"/>
                <a:gd name="connsiteX71" fmla="*/ 50443 w 1539414"/>
                <a:gd name="connsiteY71" fmla="*/ 1335470 h 1848381"/>
                <a:gd name="connsiteX72" fmla="*/ 21328 w 1539414"/>
                <a:gd name="connsiteY72" fmla="*/ 1346988 h 1848381"/>
                <a:gd name="connsiteX73" fmla="*/ 14557 w 1539414"/>
                <a:gd name="connsiteY73" fmla="*/ 1326323 h 1848381"/>
                <a:gd name="connsiteX74" fmla="*/ 4401 w 1539414"/>
                <a:gd name="connsiteY74" fmla="*/ 1278216 h 1848381"/>
                <a:gd name="connsiteX75" fmla="*/ 0 w 1539414"/>
                <a:gd name="connsiteY75" fmla="*/ 1226044 h 1848381"/>
                <a:gd name="connsiteX76" fmla="*/ 2370 w 1539414"/>
                <a:gd name="connsiteY76" fmla="*/ 1172178 h 1848381"/>
                <a:gd name="connsiteX77" fmla="*/ 8802 w 1539414"/>
                <a:gd name="connsiteY77" fmla="*/ 1132202 h 1848381"/>
                <a:gd name="connsiteX78" fmla="*/ 15573 w 1539414"/>
                <a:gd name="connsiteY78" fmla="*/ 1106794 h 1848381"/>
                <a:gd name="connsiteX79" fmla="*/ 24714 w 1539414"/>
                <a:gd name="connsiteY79" fmla="*/ 1082401 h 1848381"/>
                <a:gd name="connsiteX80" fmla="*/ 36224 w 1539414"/>
                <a:gd name="connsiteY80" fmla="*/ 1059703 h 1848381"/>
                <a:gd name="connsiteX81" fmla="*/ 50105 w 1539414"/>
                <a:gd name="connsiteY81" fmla="*/ 1039038 h 1848381"/>
                <a:gd name="connsiteX82" fmla="*/ 66694 w 1539414"/>
                <a:gd name="connsiteY82" fmla="*/ 1020743 h 1848381"/>
                <a:gd name="connsiteX83" fmla="*/ 86668 w 1539414"/>
                <a:gd name="connsiteY83" fmla="*/ 1005160 h 1848381"/>
                <a:gd name="connsiteX84" fmla="*/ 109012 w 1539414"/>
                <a:gd name="connsiteY84" fmla="*/ 992625 h 1848381"/>
                <a:gd name="connsiteX85" fmla="*/ 121201 w 1539414"/>
                <a:gd name="connsiteY85" fmla="*/ 988221 h 1848381"/>
                <a:gd name="connsiteX86" fmla="*/ 137112 w 1539414"/>
                <a:gd name="connsiteY86" fmla="*/ 989915 h 1848381"/>
                <a:gd name="connsiteX87" fmla="*/ 168936 w 1539414"/>
                <a:gd name="connsiteY87" fmla="*/ 991947 h 1848381"/>
                <a:gd name="connsiteX88" fmla="*/ 185186 w 1539414"/>
                <a:gd name="connsiteY88" fmla="*/ 992625 h 1848381"/>
                <a:gd name="connsiteX89" fmla="*/ 212947 w 1539414"/>
                <a:gd name="connsiteY89" fmla="*/ 991947 h 1848381"/>
                <a:gd name="connsiteX90" fmla="*/ 269146 w 1539414"/>
                <a:gd name="connsiteY90" fmla="*/ 984494 h 1848381"/>
                <a:gd name="connsiteX91" fmla="*/ 297246 w 1539414"/>
                <a:gd name="connsiteY91" fmla="*/ 978057 h 1848381"/>
                <a:gd name="connsiteX92" fmla="*/ 321621 w 1539414"/>
                <a:gd name="connsiteY92" fmla="*/ 970943 h 1848381"/>
                <a:gd name="connsiteX93" fmla="*/ 366648 w 1539414"/>
                <a:gd name="connsiteY93" fmla="*/ 951294 h 1848381"/>
                <a:gd name="connsiteX94" fmla="*/ 405920 w 1539414"/>
                <a:gd name="connsiteY94" fmla="*/ 926563 h 1848381"/>
                <a:gd name="connsiteX95" fmla="*/ 441129 w 1539414"/>
                <a:gd name="connsiteY95" fmla="*/ 898444 h 1848381"/>
                <a:gd name="connsiteX96" fmla="*/ 471260 w 1539414"/>
                <a:gd name="connsiteY96" fmla="*/ 868970 h 1848381"/>
                <a:gd name="connsiteX97" fmla="*/ 496989 w 1539414"/>
                <a:gd name="connsiteY97" fmla="*/ 838819 h 1848381"/>
                <a:gd name="connsiteX98" fmla="*/ 527120 w 1539414"/>
                <a:gd name="connsiteY98" fmla="*/ 796810 h 1848381"/>
                <a:gd name="connsiteX99" fmla="*/ 1241288 w 1539414"/>
                <a:gd name="connsiteY99" fmla="*/ 0 h 1848381"/>
                <a:gd name="connsiteX100" fmla="*/ 1258566 w 1539414"/>
                <a:gd name="connsiteY100" fmla="*/ 0 h 1848381"/>
                <a:gd name="connsiteX101" fmla="*/ 1276182 w 1539414"/>
                <a:gd name="connsiteY101" fmla="*/ 0 h 1848381"/>
                <a:gd name="connsiteX102" fmla="*/ 1309722 w 1539414"/>
                <a:gd name="connsiteY102" fmla="*/ 3387 h 1848381"/>
                <a:gd name="connsiteX103" fmla="*/ 1340212 w 1539414"/>
                <a:gd name="connsiteY103" fmla="*/ 10498 h 1848381"/>
                <a:gd name="connsiteX104" fmla="*/ 1369008 w 1539414"/>
                <a:gd name="connsiteY104" fmla="*/ 20658 h 1848381"/>
                <a:gd name="connsiteX105" fmla="*/ 1395094 w 1539414"/>
                <a:gd name="connsiteY105" fmla="*/ 33866 h 1848381"/>
                <a:gd name="connsiteX106" fmla="*/ 1419486 w 1539414"/>
                <a:gd name="connsiteY106" fmla="*/ 50121 h 1848381"/>
                <a:gd name="connsiteX107" fmla="*/ 1441507 w 1539414"/>
                <a:gd name="connsiteY107" fmla="*/ 68747 h 1848381"/>
                <a:gd name="connsiteX108" fmla="*/ 1460817 w 1539414"/>
                <a:gd name="connsiteY108" fmla="*/ 89744 h 1848381"/>
                <a:gd name="connsiteX109" fmla="*/ 1478095 w 1539414"/>
                <a:gd name="connsiteY109" fmla="*/ 114127 h 1848381"/>
                <a:gd name="connsiteX110" fmla="*/ 1493679 w 1539414"/>
                <a:gd name="connsiteY110" fmla="*/ 139865 h 1848381"/>
                <a:gd name="connsiteX111" fmla="*/ 1506891 w 1539414"/>
                <a:gd name="connsiteY111" fmla="*/ 167973 h 1848381"/>
                <a:gd name="connsiteX112" fmla="*/ 1517732 w 1539414"/>
                <a:gd name="connsiteY112" fmla="*/ 197775 h 1848381"/>
                <a:gd name="connsiteX113" fmla="*/ 1526202 w 1539414"/>
                <a:gd name="connsiteY113" fmla="*/ 229947 h 1848381"/>
                <a:gd name="connsiteX114" fmla="*/ 1532639 w 1539414"/>
                <a:gd name="connsiteY114" fmla="*/ 263135 h 1848381"/>
                <a:gd name="connsiteX115" fmla="*/ 1537043 w 1539414"/>
                <a:gd name="connsiteY115" fmla="*/ 298356 h 1848381"/>
                <a:gd name="connsiteX116" fmla="*/ 1539414 w 1539414"/>
                <a:gd name="connsiteY116" fmla="*/ 334253 h 1848381"/>
                <a:gd name="connsiteX117" fmla="*/ 1539414 w 1539414"/>
                <a:gd name="connsiteY117" fmla="*/ 353218 h 1848381"/>
                <a:gd name="connsiteX118" fmla="*/ 1539414 w 1539414"/>
                <a:gd name="connsiteY118" fmla="*/ 1658734 h 1848381"/>
                <a:gd name="connsiteX119" fmla="*/ 1517394 w 1539414"/>
                <a:gd name="connsiteY119" fmla="*/ 1648236 h 1848381"/>
                <a:gd name="connsiteX120" fmla="*/ 1473013 w 1539414"/>
                <a:gd name="connsiteY120" fmla="*/ 1630964 h 1848381"/>
                <a:gd name="connsiteX121" fmla="*/ 1428294 w 1539414"/>
                <a:gd name="connsiteY121" fmla="*/ 1618773 h 1848381"/>
                <a:gd name="connsiteX122" fmla="*/ 1383237 w 1539414"/>
                <a:gd name="connsiteY122" fmla="*/ 1611661 h 1848381"/>
                <a:gd name="connsiteX123" fmla="*/ 1338179 w 1539414"/>
                <a:gd name="connsiteY123" fmla="*/ 1608952 h 1848381"/>
                <a:gd name="connsiteX124" fmla="*/ 1293799 w 1539414"/>
                <a:gd name="connsiteY124" fmla="*/ 1611661 h 1848381"/>
                <a:gd name="connsiteX125" fmla="*/ 1249758 w 1539414"/>
                <a:gd name="connsiteY125" fmla="*/ 1619450 h 1848381"/>
                <a:gd name="connsiteX126" fmla="*/ 1206733 w 1539414"/>
                <a:gd name="connsiteY126" fmla="*/ 1632319 h 1848381"/>
                <a:gd name="connsiteX127" fmla="*/ 1185728 w 1539414"/>
                <a:gd name="connsiteY127" fmla="*/ 1640785 h 1848381"/>
                <a:gd name="connsiteX128" fmla="*/ 1168112 w 1539414"/>
                <a:gd name="connsiteY128" fmla="*/ 1648575 h 1848381"/>
                <a:gd name="connsiteX129" fmla="*/ 1134911 w 1539414"/>
                <a:gd name="connsiteY129" fmla="*/ 1666523 h 1848381"/>
                <a:gd name="connsiteX130" fmla="*/ 1103405 w 1539414"/>
                <a:gd name="connsiteY130" fmla="*/ 1688197 h 1848381"/>
                <a:gd name="connsiteX131" fmla="*/ 1074609 w 1539414"/>
                <a:gd name="connsiteY131" fmla="*/ 1712242 h 1848381"/>
                <a:gd name="connsiteX132" fmla="*/ 1048523 w 1539414"/>
                <a:gd name="connsiteY132" fmla="*/ 1738657 h 1848381"/>
                <a:gd name="connsiteX133" fmla="*/ 1025147 w 1539414"/>
                <a:gd name="connsiteY133" fmla="*/ 1767443 h 1848381"/>
                <a:gd name="connsiteX134" fmla="*/ 1004820 w 1539414"/>
                <a:gd name="connsiteY134" fmla="*/ 1798260 h 1848381"/>
                <a:gd name="connsiteX135" fmla="*/ 987881 w 1539414"/>
                <a:gd name="connsiteY135" fmla="*/ 1831110 h 1848381"/>
                <a:gd name="connsiteX136" fmla="*/ 980767 w 1539414"/>
                <a:gd name="connsiteY136" fmla="*/ 1848381 h 1848381"/>
                <a:gd name="connsiteX137" fmla="*/ 974330 w 1539414"/>
                <a:gd name="connsiteY137" fmla="*/ 1832126 h 1848381"/>
                <a:gd name="connsiteX138" fmla="*/ 959762 w 1539414"/>
                <a:gd name="connsiteY138" fmla="*/ 1801647 h 1848381"/>
                <a:gd name="connsiteX139" fmla="*/ 944178 w 1539414"/>
                <a:gd name="connsiteY139" fmla="*/ 1774216 h 1848381"/>
                <a:gd name="connsiteX140" fmla="*/ 927240 w 1539414"/>
                <a:gd name="connsiteY140" fmla="*/ 1749494 h 1848381"/>
                <a:gd name="connsiteX141" fmla="*/ 909284 w 1539414"/>
                <a:gd name="connsiteY141" fmla="*/ 1727143 h 1848381"/>
                <a:gd name="connsiteX142" fmla="*/ 890313 w 1539414"/>
                <a:gd name="connsiteY142" fmla="*/ 1706823 h 1848381"/>
                <a:gd name="connsiteX143" fmla="*/ 869986 w 1539414"/>
                <a:gd name="connsiteY143" fmla="*/ 1688875 h 1848381"/>
                <a:gd name="connsiteX144" fmla="*/ 849320 w 1539414"/>
                <a:gd name="connsiteY144" fmla="*/ 1673635 h 1848381"/>
                <a:gd name="connsiteX145" fmla="*/ 816797 w 1539414"/>
                <a:gd name="connsiteY145" fmla="*/ 1653316 h 1848381"/>
                <a:gd name="connsiteX146" fmla="*/ 772756 w 1539414"/>
                <a:gd name="connsiteY146" fmla="*/ 1633335 h 1848381"/>
                <a:gd name="connsiteX147" fmla="*/ 727021 w 1539414"/>
                <a:gd name="connsiteY147" fmla="*/ 1619450 h 1848381"/>
                <a:gd name="connsiteX148" fmla="*/ 682302 w 1539414"/>
                <a:gd name="connsiteY148" fmla="*/ 1611322 h 1848381"/>
                <a:gd name="connsiteX149" fmla="*/ 660281 w 1539414"/>
                <a:gd name="connsiteY149" fmla="*/ 1608952 h 1848381"/>
                <a:gd name="connsiteX150" fmla="*/ 683996 w 1539414"/>
                <a:gd name="connsiteY150" fmla="*/ 1601163 h 1848381"/>
                <a:gd name="connsiteX151" fmla="*/ 727021 w 1539414"/>
                <a:gd name="connsiteY151" fmla="*/ 1580166 h 1848381"/>
                <a:gd name="connsiteX152" fmla="*/ 764625 w 1539414"/>
                <a:gd name="connsiteY152" fmla="*/ 1553751 h 1848381"/>
                <a:gd name="connsiteX153" fmla="*/ 789017 w 1539414"/>
                <a:gd name="connsiteY153" fmla="*/ 1530384 h 1848381"/>
                <a:gd name="connsiteX154" fmla="*/ 802569 w 1539414"/>
                <a:gd name="connsiteY154" fmla="*/ 1513451 h 1848381"/>
                <a:gd name="connsiteX155" fmla="*/ 809005 w 1539414"/>
                <a:gd name="connsiteY155" fmla="*/ 1504646 h 1848381"/>
                <a:gd name="connsiteX156" fmla="*/ 819169 w 1539414"/>
                <a:gd name="connsiteY156" fmla="*/ 1488052 h 1848381"/>
                <a:gd name="connsiteX157" fmla="*/ 833736 w 1539414"/>
                <a:gd name="connsiteY157" fmla="*/ 1453170 h 1848381"/>
                <a:gd name="connsiteX158" fmla="*/ 841867 w 1539414"/>
                <a:gd name="connsiteY158" fmla="*/ 1415918 h 1848381"/>
                <a:gd name="connsiteX159" fmla="*/ 843222 w 1539414"/>
                <a:gd name="connsiteY159" fmla="*/ 1377312 h 1848381"/>
                <a:gd name="connsiteX160" fmla="*/ 841190 w 1539414"/>
                <a:gd name="connsiteY160" fmla="*/ 1357670 h 1848381"/>
                <a:gd name="connsiteX161" fmla="*/ 860500 w 1539414"/>
                <a:gd name="connsiteY161" fmla="*/ 1369861 h 1848381"/>
                <a:gd name="connsiteX162" fmla="*/ 899121 w 1539414"/>
                <a:gd name="connsiteY162" fmla="*/ 1392212 h 1848381"/>
                <a:gd name="connsiteX163" fmla="*/ 936387 w 1539414"/>
                <a:gd name="connsiteY163" fmla="*/ 1411177 h 1848381"/>
                <a:gd name="connsiteX164" fmla="*/ 972975 w 1539414"/>
                <a:gd name="connsiteY164" fmla="*/ 1426755 h 1848381"/>
                <a:gd name="connsiteX165" fmla="*/ 1008547 w 1539414"/>
                <a:gd name="connsiteY165" fmla="*/ 1439624 h 1848381"/>
                <a:gd name="connsiteX166" fmla="*/ 1043102 w 1539414"/>
                <a:gd name="connsiteY166" fmla="*/ 1449445 h 1848381"/>
                <a:gd name="connsiteX167" fmla="*/ 1076980 w 1539414"/>
                <a:gd name="connsiteY167" fmla="*/ 1455880 h 1848381"/>
                <a:gd name="connsiteX168" fmla="*/ 1109503 w 1539414"/>
                <a:gd name="connsiteY168" fmla="*/ 1458928 h 1848381"/>
                <a:gd name="connsiteX169" fmla="*/ 1125764 w 1539414"/>
                <a:gd name="connsiteY169" fmla="*/ 1458928 h 1848381"/>
                <a:gd name="connsiteX170" fmla="*/ 1149818 w 1539414"/>
                <a:gd name="connsiteY170" fmla="*/ 1458589 h 1848381"/>
                <a:gd name="connsiteX171" fmla="*/ 1196230 w 1539414"/>
                <a:gd name="connsiteY171" fmla="*/ 1451138 h 1848381"/>
                <a:gd name="connsiteX172" fmla="*/ 1218251 w 1539414"/>
                <a:gd name="connsiteY172" fmla="*/ 1444027 h 1848381"/>
                <a:gd name="connsiteX173" fmla="*/ 1231802 w 1539414"/>
                <a:gd name="connsiteY173" fmla="*/ 1439286 h 1848381"/>
                <a:gd name="connsiteX174" fmla="*/ 1257550 w 1539414"/>
                <a:gd name="connsiteY174" fmla="*/ 1427433 h 1848381"/>
                <a:gd name="connsiteX175" fmla="*/ 1280248 w 1539414"/>
                <a:gd name="connsiteY175" fmla="*/ 1413886 h 1848381"/>
                <a:gd name="connsiteX176" fmla="*/ 1301252 w 1539414"/>
                <a:gd name="connsiteY176" fmla="*/ 1398986 h 1848381"/>
                <a:gd name="connsiteX177" fmla="*/ 1329032 w 1539414"/>
                <a:gd name="connsiteY177" fmla="*/ 1373925 h 1848381"/>
                <a:gd name="connsiteX178" fmla="*/ 1358845 w 1539414"/>
                <a:gd name="connsiteY178" fmla="*/ 1338705 h 1848381"/>
                <a:gd name="connsiteX179" fmla="*/ 1381543 w 1539414"/>
                <a:gd name="connsiteY179" fmla="*/ 1304501 h 1848381"/>
                <a:gd name="connsiteX180" fmla="*/ 1397804 w 1539414"/>
                <a:gd name="connsiteY180" fmla="*/ 1273344 h 1848381"/>
                <a:gd name="connsiteX181" fmla="*/ 1412372 w 1539414"/>
                <a:gd name="connsiteY181" fmla="*/ 1238463 h 1848381"/>
                <a:gd name="connsiteX182" fmla="*/ 1414743 w 1539414"/>
                <a:gd name="connsiteY182" fmla="*/ 1231012 h 1848381"/>
                <a:gd name="connsiteX183" fmla="*/ 1352747 w 1539414"/>
                <a:gd name="connsiteY183" fmla="*/ 1213064 h 1848381"/>
                <a:gd name="connsiteX184" fmla="*/ 1351392 w 1539414"/>
                <a:gd name="connsiteY184" fmla="*/ 1217466 h 1848381"/>
                <a:gd name="connsiteX185" fmla="*/ 1339873 w 1539414"/>
                <a:gd name="connsiteY185" fmla="*/ 1245236 h 1848381"/>
                <a:gd name="connsiteX186" fmla="*/ 1326661 w 1539414"/>
                <a:gd name="connsiteY186" fmla="*/ 1270296 h 1848381"/>
                <a:gd name="connsiteX187" fmla="*/ 1308367 w 1539414"/>
                <a:gd name="connsiteY187" fmla="*/ 1298405 h 1848381"/>
                <a:gd name="connsiteX188" fmla="*/ 1284652 w 1539414"/>
                <a:gd name="connsiteY188" fmla="*/ 1326852 h 1848381"/>
                <a:gd name="connsiteX189" fmla="*/ 1254162 w 1539414"/>
                <a:gd name="connsiteY189" fmla="*/ 1353606 h 1848381"/>
                <a:gd name="connsiteX190" fmla="*/ 1227398 w 1539414"/>
                <a:gd name="connsiteY190" fmla="*/ 1370200 h 1848381"/>
                <a:gd name="connsiteX191" fmla="*/ 1207749 w 1539414"/>
                <a:gd name="connsiteY191" fmla="*/ 1379344 h 1848381"/>
                <a:gd name="connsiteX192" fmla="*/ 1197247 w 1539414"/>
                <a:gd name="connsiteY192" fmla="*/ 1383407 h 1848381"/>
                <a:gd name="connsiteX193" fmla="*/ 1180647 w 1539414"/>
                <a:gd name="connsiteY193" fmla="*/ 1388826 h 1848381"/>
                <a:gd name="connsiteX194" fmla="*/ 1145075 w 1539414"/>
                <a:gd name="connsiteY194" fmla="*/ 1394583 h 1848381"/>
                <a:gd name="connsiteX195" fmla="*/ 1107809 w 1539414"/>
                <a:gd name="connsiteY195" fmla="*/ 1394583 h 1848381"/>
                <a:gd name="connsiteX196" fmla="*/ 1068172 w 1539414"/>
                <a:gd name="connsiteY196" fmla="*/ 1389165 h 1848381"/>
                <a:gd name="connsiteX197" fmla="*/ 1026502 w 1539414"/>
                <a:gd name="connsiteY197" fmla="*/ 1378328 h 1848381"/>
                <a:gd name="connsiteX198" fmla="*/ 982799 w 1539414"/>
                <a:gd name="connsiteY198" fmla="*/ 1362072 h 1848381"/>
                <a:gd name="connsiteX199" fmla="*/ 937742 w 1539414"/>
                <a:gd name="connsiteY199" fmla="*/ 1340059 h 1848381"/>
                <a:gd name="connsiteX200" fmla="*/ 890313 w 1539414"/>
                <a:gd name="connsiteY200" fmla="*/ 1312628 h 1848381"/>
                <a:gd name="connsiteX201" fmla="*/ 865582 w 1539414"/>
                <a:gd name="connsiteY201" fmla="*/ 1296712 h 1848381"/>
                <a:gd name="connsiteX202" fmla="*/ 880488 w 1539414"/>
                <a:gd name="connsiteY202" fmla="*/ 1290277 h 1848381"/>
                <a:gd name="connsiteX203" fmla="*/ 909284 w 1539414"/>
                <a:gd name="connsiteY203" fmla="*/ 1276392 h 1848381"/>
                <a:gd name="connsiteX204" fmla="*/ 936725 w 1539414"/>
                <a:gd name="connsiteY204" fmla="*/ 1259121 h 1848381"/>
                <a:gd name="connsiteX205" fmla="*/ 962811 w 1539414"/>
                <a:gd name="connsiteY205" fmla="*/ 1240495 h 1848381"/>
                <a:gd name="connsiteX206" fmla="*/ 985848 w 1539414"/>
                <a:gd name="connsiteY206" fmla="*/ 1219160 h 1848381"/>
                <a:gd name="connsiteX207" fmla="*/ 1006514 w 1539414"/>
                <a:gd name="connsiteY207" fmla="*/ 1196470 h 1848381"/>
                <a:gd name="connsiteX208" fmla="*/ 1023453 w 1539414"/>
                <a:gd name="connsiteY208" fmla="*/ 1172425 h 1848381"/>
                <a:gd name="connsiteX209" fmla="*/ 1035988 w 1539414"/>
                <a:gd name="connsiteY209" fmla="*/ 1146349 h 1848381"/>
                <a:gd name="connsiteX210" fmla="*/ 1040053 w 1539414"/>
                <a:gd name="connsiteY210" fmla="*/ 1132802 h 1848381"/>
                <a:gd name="connsiteX211" fmla="*/ 1047506 w 1539414"/>
                <a:gd name="connsiteY211" fmla="*/ 1104694 h 1848381"/>
                <a:gd name="connsiteX212" fmla="*/ 1055298 w 1539414"/>
                <a:gd name="connsiteY212" fmla="*/ 1050848 h 1848381"/>
                <a:gd name="connsiteX213" fmla="*/ 1055298 w 1539414"/>
                <a:gd name="connsiteY213" fmla="*/ 999033 h 1848381"/>
                <a:gd name="connsiteX214" fmla="*/ 1048861 w 1539414"/>
                <a:gd name="connsiteY214" fmla="*/ 950267 h 1848381"/>
                <a:gd name="connsiteX215" fmla="*/ 1037004 w 1539414"/>
                <a:gd name="connsiteY215" fmla="*/ 904549 h 1848381"/>
                <a:gd name="connsiteX216" fmla="*/ 1021420 w 1539414"/>
                <a:gd name="connsiteY216" fmla="*/ 861539 h 1848381"/>
                <a:gd name="connsiteX217" fmla="*/ 1002787 w 1539414"/>
                <a:gd name="connsiteY217" fmla="*/ 821578 h 1848381"/>
                <a:gd name="connsiteX218" fmla="*/ 982461 w 1539414"/>
                <a:gd name="connsiteY218" fmla="*/ 785342 h 1848381"/>
                <a:gd name="connsiteX219" fmla="*/ 971958 w 1539414"/>
                <a:gd name="connsiteY219" fmla="*/ 768409 h 1848381"/>
                <a:gd name="connsiteX220" fmla="*/ 984832 w 1539414"/>
                <a:gd name="connsiteY220" fmla="*/ 758927 h 1848381"/>
                <a:gd name="connsiteX221" fmla="*/ 1007869 w 1539414"/>
                <a:gd name="connsiteY221" fmla="*/ 738608 h 1848381"/>
                <a:gd name="connsiteX222" fmla="*/ 1039037 w 1539414"/>
                <a:gd name="connsiteY222" fmla="*/ 707113 h 1848381"/>
                <a:gd name="connsiteX223" fmla="*/ 1073254 w 1539414"/>
                <a:gd name="connsiteY223" fmla="*/ 664781 h 1848381"/>
                <a:gd name="connsiteX224" fmla="*/ 1099340 w 1539414"/>
                <a:gd name="connsiteY224" fmla="*/ 626851 h 1848381"/>
                <a:gd name="connsiteX225" fmla="*/ 1108487 w 1539414"/>
                <a:gd name="connsiteY225" fmla="*/ 610596 h 1848381"/>
                <a:gd name="connsiteX226" fmla="*/ 1123732 w 1539414"/>
                <a:gd name="connsiteY226" fmla="*/ 624819 h 1848381"/>
                <a:gd name="connsiteX227" fmla="*/ 1157610 w 1539414"/>
                <a:gd name="connsiteY227" fmla="*/ 649202 h 1848381"/>
                <a:gd name="connsiteX228" fmla="*/ 1176242 w 1539414"/>
                <a:gd name="connsiteY228" fmla="*/ 658685 h 1848381"/>
                <a:gd name="connsiteX229" fmla="*/ 1190471 w 1539414"/>
                <a:gd name="connsiteY229" fmla="*/ 664781 h 1848381"/>
                <a:gd name="connsiteX230" fmla="*/ 1219267 w 1539414"/>
                <a:gd name="connsiteY230" fmla="*/ 674602 h 1848381"/>
                <a:gd name="connsiteX231" fmla="*/ 1247725 w 1539414"/>
                <a:gd name="connsiteY231" fmla="*/ 680359 h 1848381"/>
                <a:gd name="connsiteX232" fmla="*/ 1275505 w 1539414"/>
                <a:gd name="connsiteY232" fmla="*/ 683068 h 1848381"/>
                <a:gd name="connsiteX233" fmla="*/ 1289056 w 1539414"/>
                <a:gd name="connsiteY233" fmla="*/ 683407 h 1848381"/>
                <a:gd name="connsiteX234" fmla="*/ 1302946 w 1539414"/>
                <a:gd name="connsiteY234" fmla="*/ 683068 h 1848381"/>
                <a:gd name="connsiteX235" fmla="*/ 1329371 w 1539414"/>
                <a:gd name="connsiteY235" fmla="*/ 680697 h 1848381"/>
                <a:gd name="connsiteX236" fmla="*/ 1365281 w 1539414"/>
                <a:gd name="connsiteY236" fmla="*/ 674263 h 1848381"/>
                <a:gd name="connsiteX237" fmla="*/ 1417792 w 1539414"/>
                <a:gd name="connsiteY237" fmla="*/ 658008 h 1848381"/>
                <a:gd name="connsiteX238" fmla="*/ 1427278 w 1539414"/>
                <a:gd name="connsiteY238" fmla="*/ 653605 h 1848381"/>
                <a:gd name="connsiteX239" fmla="*/ 1399498 w 1539414"/>
                <a:gd name="connsiteY239" fmla="*/ 595695 h 1848381"/>
                <a:gd name="connsiteX240" fmla="*/ 1396110 w 1539414"/>
                <a:gd name="connsiteY240" fmla="*/ 597388 h 1848381"/>
                <a:gd name="connsiteX241" fmla="*/ 1361894 w 1539414"/>
                <a:gd name="connsiteY241" fmla="*/ 608564 h 1848381"/>
                <a:gd name="connsiteX242" fmla="*/ 1320901 w 1539414"/>
                <a:gd name="connsiteY242" fmla="*/ 617030 h 1848381"/>
                <a:gd name="connsiteX243" fmla="*/ 1289395 w 1539414"/>
                <a:gd name="connsiteY243" fmla="*/ 618724 h 1848381"/>
                <a:gd name="connsiteX244" fmla="*/ 1255178 w 1539414"/>
                <a:gd name="connsiteY244" fmla="*/ 616692 h 1848381"/>
                <a:gd name="connsiteX245" fmla="*/ 1220961 w 1539414"/>
                <a:gd name="connsiteY245" fmla="*/ 607887 h 1848381"/>
                <a:gd name="connsiteX246" fmla="*/ 1203345 w 1539414"/>
                <a:gd name="connsiteY246" fmla="*/ 600436 h 1848381"/>
                <a:gd name="connsiteX247" fmla="*/ 1191826 w 1539414"/>
                <a:gd name="connsiteY247" fmla="*/ 594679 h 1848381"/>
                <a:gd name="connsiteX248" fmla="*/ 1170144 w 1539414"/>
                <a:gd name="connsiteY248" fmla="*/ 579778 h 1848381"/>
                <a:gd name="connsiteX249" fmla="*/ 1149818 w 1539414"/>
                <a:gd name="connsiteY249" fmla="*/ 561152 h 1848381"/>
                <a:gd name="connsiteX250" fmla="*/ 1131862 w 1539414"/>
                <a:gd name="connsiteY250" fmla="*/ 539478 h 1848381"/>
                <a:gd name="connsiteX251" fmla="*/ 1115262 w 1539414"/>
                <a:gd name="connsiteY251" fmla="*/ 514079 h 1848381"/>
                <a:gd name="connsiteX252" fmla="*/ 1100695 w 1539414"/>
                <a:gd name="connsiteY252" fmla="*/ 484955 h 1848381"/>
                <a:gd name="connsiteX253" fmla="*/ 1087482 w 1539414"/>
                <a:gd name="connsiteY253" fmla="*/ 452444 h 1848381"/>
                <a:gd name="connsiteX254" fmla="*/ 1076303 w 1539414"/>
                <a:gd name="connsiteY254" fmla="*/ 416885 h 1848381"/>
                <a:gd name="connsiteX255" fmla="*/ 1072237 w 1539414"/>
                <a:gd name="connsiteY255" fmla="*/ 397582 h 1848381"/>
                <a:gd name="connsiteX256" fmla="*/ 1009224 w 1539414"/>
                <a:gd name="connsiteY256" fmla="*/ 412144 h 1848381"/>
                <a:gd name="connsiteX257" fmla="*/ 1014645 w 1539414"/>
                <a:gd name="connsiteY257" fmla="*/ 433140 h 1848381"/>
                <a:gd name="connsiteX258" fmla="*/ 1026502 w 1539414"/>
                <a:gd name="connsiteY258" fmla="*/ 472086 h 1848381"/>
                <a:gd name="connsiteX259" fmla="*/ 1040392 w 1539414"/>
                <a:gd name="connsiteY259" fmla="*/ 507645 h 1848381"/>
                <a:gd name="connsiteX260" fmla="*/ 1056653 w 1539414"/>
                <a:gd name="connsiteY260" fmla="*/ 540833 h 1848381"/>
                <a:gd name="connsiteX261" fmla="*/ 1065462 w 1539414"/>
                <a:gd name="connsiteY261" fmla="*/ 555734 h 1848381"/>
                <a:gd name="connsiteX262" fmla="*/ 1056653 w 1539414"/>
                <a:gd name="connsiteY262" fmla="*/ 571989 h 1848381"/>
                <a:gd name="connsiteX263" fmla="*/ 1031584 w 1539414"/>
                <a:gd name="connsiteY263" fmla="*/ 612289 h 1848381"/>
                <a:gd name="connsiteX264" fmla="*/ 1008885 w 1539414"/>
                <a:gd name="connsiteY264" fmla="*/ 643445 h 1848381"/>
                <a:gd name="connsiteX265" fmla="*/ 980428 w 1539414"/>
                <a:gd name="connsiteY265" fmla="*/ 675279 h 1848381"/>
                <a:gd name="connsiteX266" fmla="*/ 946550 w 1539414"/>
                <a:gd name="connsiteY266" fmla="*/ 707113 h 1848381"/>
                <a:gd name="connsiteX267" fmla="*/ 907252 w 1539414"/>
                <a:gd name="connsiteY267" fmla="*/ 735221 h 1848381"/>
                <a:gd name="connsiteX268" fmla="*/ 874390 w 1539414"/>
                <a:gd name="connsiteY268" fmla="*/ 752831 h 1848381"/>
                <a:gd name="connsiteX269" fmla="*/ 851353 w 1539414"/>
                <a:gd name="connsiteY269" fmla="*/ 761975 h 1848381"/>
                <a:gd name="connsiteX270" fmla="*/ 838818 w 1539414"/>
                <a:gd name="connsiteY270" fmla="*/ 765700 h 1848381"/>
                <a:gd name="connsiteX271" fmla="*/ 822218 w 1539414"/>
                <a:gd name="connsiteY271" fmla="*/ 770102 h 1848381"/>
                <a:gd name="connsiteX272" fmla="*/ 788001 w 1539414"/>
                <a:gd name="connsiteY272" fmla="*/ 775860 h 1848381"/>
                <a:gd name="connsiteX273" fmla="*/ 752768 w 1539414"/>
                <a:gd name="connsiteY273" fmla="*/ 776876 h 1848381"/>
                <a:gd name="connsiteX274" fmla="*/ 716857 w 1539414"/>
                <a:gd name="connsiteY274" fmla="*/ 772812 h 1848381"/>
                <a:gd name="connsiteX275" fmla="*/ 680269 w 1539414"/>
                <a:gd name="connsiteY275" fmla="*/ 765023 h 1848381"/>
                <a:gd name="connsiteX276" fmla="*/ 642665 w 1539414"/>
                <a:gd name="connsiteY276" fmla="*/ 752831 h 1848381"/>
                <a:gd name="connsiteX277" fmla="*/ 604383 w 1539414"/>
                <a:gd name="connsiteY277" fmla="*/ 735560 h 1848381"/>
                <a:gd name="connsiteX278" fmla="*/ 565762 w 1539414"/>
                <a:gd name="connsiteY278" fmla="*/ 714224 h 1848381"/>
                <a:gd name="connsiteX279" fmla="*/ 546113 w 1539414"/>
                <a:gd name="connsiteY279" fmla="*/ 701694 h 1848381"/>
                <a:gd name="connsiteX280" fmla="*/ 513928 w 1539414"/>
                <a:gd name="connsiteY280" fmla="*/ 681036 h 1848381"/>
                <a:gd name="connsiteX281" fmla="*/ 499022 w 1539414"/>
                <a:gd name="connsiteY281" fmla="*/ 715240 h 1848381"/>
                <a:gd name="connsiteX282" fmla="*/ 496312 w 1539414"/>
                <a:gd name="connsiteY282" fmla="*/ 720997 h 1848381"/>
                <a:gd name="connsiteX283" fmla="*/ 477679 w 1539414"/>
                <a:gd name="connsiteY283" fmla="*/ 754863 h 1848381"/>
                <a:gd name="connsiteX284" fmla="*/ 457013 w 1539414"/>
                <a:gd name="connsiteY284" fmla="*/ 785342 h 1848381"/>
                <a:gd name="connsiteX285" fmla="*/ 429572 w 1539414"/>
                <a:gd name="connsiteY285" fmla="*/ 818869 h 1848381"/>
                <a:gd name="connsiteX286" fmla="*/ 395694 w 1539414"/>
                <a:gd name="connsiteY286" fmla="*/ 853073 h 1848381"/>
                <a:gd name="connsiteX287" fmla="*/ 365543 w 1539414"/>
                <a:gd name="connsiteY287" fmla="*/ 876440 h 1848381"/>
                <a:gd name="connsiteX288" fmla="*/ 343522 w 1539414"/>
                <a:gd name="connsiteY288" fmla="*/ 890664 h 1848381"/>
                <a:gd name="connsiteX289" fmla="*/ 319808 w 1539414"/>
                <a:gd name="connsiteY289" fmla="*/ 902517 h 1848381"/>
                <a:gd name="connsiteX290" fmla="*/ 294399 w 1539414"/>
                <a:gd name="connsiteY290" fmla="*/ 912338 h 1848381"/>
                <a:gd name="connsiteX291" fmla="*/ 280848 w 1539414"/>
                <a:gd name="connsiteY291" fmla="*/ 916063 h 1848381"/>
                <a:gd name="connsiteX292" fmla="*/ 260521 w 1539414"/>
                <a:gd name="connsiteY292" fmla="*/ 921143 h 1848381"/>
                <a:gd name="connsiteX293" fmla="*/ 220207 w 1539414"/>
                <a:gd name="connsiteY293" fmla="*/ 926900 h 1848381"/>
                <a:gd name="connsiteX294" fmla="*/ 180231 w 1539414"/>
                <a:gd name="connsiteY294" fmla="*/ 928255 h 1848381"/>
                <a:gd name="connsiteX295" fmla="*/ 140255 w 1539414"/>
                <a:gd name="connsiteY295" fmla="*/ 925545 h 1848381"/>
                <a:gd name="connsiteX296" fmla="*/ 120605 w 1539414"/>
                <a:gd name="connsiteY296" fmla="*/ 922497 h 1848381"/>
                <a:gd name="connsiteX297" fmla="*/ 119250 w 1539414"/>
                <a:gd name="connsiteY297" fmla="*/ 901839 h 1848381"/>
                <a:gd name="connsiteX298" fmla="*/ 119589 w 1539414"/>
                <a:gd name="connsiteY298" fmla="*/ 860185 h 1848381"/>
                <a:gd name="connsiteX299" fmla="*/ 124332 w 1539414"/>
                <a:gd name="connsiteY299" fmla="*/ 819546 h 1848381"/>
                <a:gd name="connsiteX300" fmla="*/ 133140 w 1539414"/>
                <a:gd name="connsiteY300" fmla="*/ 779923 h 1848381"/>
                <a:gd name="connsiteX301" fmla="*/ 146353 w 1539414"/>
                <a:gd name="connsiteY301" fmla="*/ 741317 h 1848381"/>
                <a:gd name="connsiteX302" fmla="*/ 162614 w 1539414"/>
                <a:gd name="connsiteY302" fmla="*/ 704742 h 1848381"/>
                <a:gd name="connsiteX303" fmla="*/ 182602 w 1539414"/>
                <a:gd name="connsiteY303" fmla="*/ 670199 h 1848381"/>
                <a:gd name="connsiteX304" fmla="*/ 205300 w 1539414"/>
                <a:gd name="connsiteY304" fmla="*/ 637688 h 1848381"/>
                <a:gd name="connsiteX305" fmla="*/ 230709 w 1539414"/>
                <a:gd name="connsiteY305" fmla="*/ 608225 h 1848381"/>
                <a:gd name="connsiteX306" fmla="*/ 258827 w 1539414"/>
                <a:gd name="connsiteY306" fmla="*/ 581471 h 1848381"/>
                <a:gd name="connsiteX307" fmla="*/ 288640 w 1539414"/>
                <a:gd name="connsiteY307" fmla="*/ 558104 h 1848381"/>
                <a:gd name="connsiteX308" fmla="*/ 320824 w 1539414"/>
                <a:gd name="connsiteY308" fmla="*/ 538801 h 1848381"/>
                <a:gd name="connsiteX309" fmla="*/ 354024 w 1539414"/>
                <a:gd name="connsiteY309" fmla="*/ 523223 h 1848381"/>
                <a:gd name="connsiteX310" fmla="*/ 388919 w 1539414"/>
                <a:gd name="connsiteY310" fmla="*/ 511708 h 1848381"/>
                <a:gd name="connsiteX311" fmla="*/ 424491 w 1539414"/>
                <a:gd name="connsiteY311" fmla="*/ 505274 h 1848381"/>
                <a:gd name="connsiteX312" fmla="*/ 460740 w 1539414"/>
                <a:gd name="connsiteY312" fmla="*/ 503919 h 1848381"/>
                <a:gd name="connsiteX313" fmla="*/ 479373 w 1539414"/>
                <a:gd name="connsiteY313" fmla="*/ 505274 h 1848381"/>
                <a:gd name="connsiteX314" fmla="*/ 479712 w 1539414"/>
                <a:gd name="connsiteY314" fmla="*/ 490712 h 1848381"/>
                <a:gd name="connsiteX315" fmla="*/ 484455 w 1539414"/>
                <a:gd name="connsiteY315" fmla="*/ 460233 h 1848381"/>
                <a:gd name="connsiteX316" fmla="*/ 494618 w 1539414"/>
                <a:gd name="connsiteY316" fmla="*/ 429754 h 1848381"/>
                <a:gd name="connsiteX317" fmla="*/ 508847 w 1539414"/>
                <a:gd name="connsiteY317" fmla="*/ 399275 h 1848381"/>
                <a:gd name="connsiteX318" fmla="*/ 527141 w 1539414"/>
                <a:gd name="connsiteY318" fmla="*/ 369134 h 1848381"/>
                <a:gd name="connsiteX319" fmla="*/ 549162 w 1539414"/>
                <a:gd name="connsiteY319" fmla="*/ 340010 h 1848381"/>
                <a:gd name="connsiteX320" fmla="*/ 574570 w 1539414"/>
                <a:gd name="connsiteY320" fmla="*/ 312579 h 1848381"/>
                <a:gd name="connsiteX321" fmla="*/ 603705 w 1539414"/>
                <a:gd name="connsiteY321" fmla="*/ 286841 h 1848381"/>
                <a:gd name="connsiteX322" fmla="*/ 635212 w 1539414"/>
                <a:gd name="connsiteY322" fmla="*/ 264151 h 1848381"/>
                <a:gd name="connsiteX323" fmla="*/ 669089 w 1539414"/>
                <a:gd name="connsiteY323" fmla="*/ 244848 h 1848381"/>
                <a:gd name="connsiteX324" fmla="*/ 705339 w 1539414"/>
                <a:gd name="connsiteY324" fmla="*/ 228931 h 1848381"/>
                <a:gd name="connsiteX325" fmla="*/ 743282 w 1539414"/>
                <a:gd name="connsiteY325" fmla="*/ 218094 h 1848381"/>
                <a:gd name="connsiteX326" fmla="*/ 782581 w 1539414"/>
                <a:gd name="connsiteY326" fmla="*/ 211321 h 1848381"/>
                <a:gd name="connsiteX327" fmla="*/ 823573 w 1539414"/>
                <a:gd name="connsiteY327" fmla="*/ 210305 h 1848381"/>
                <a:gd name="connsiteX328" fmla="*/ 865243 w 1539414"/>
                <a:gd name="connsiteY328" fmla="*/ 215385 h 1848381"/>
                <a:gd name="connsiteX329" fmla="*/ 907929 w 1539414"/>
                <a:gd name="connsiteY329" fmla="*/ 226899 h 1848381"/>
                <a:gd name="connsiteX330" fmla="*/ 928933 w 1539414"/>
                <a:gd name="connsiteY330" fmla="*/ 235027 h 1848381"/>
                <a:gd name="connsiteX331" fmla="*/ 934693 w 1539414"/>
                <a:gd name="connsiteY331" fmla="*/ 220126 h 1848381"/>
                <a:gd name="connsiteX332" fmla="*/ 952648 w 1539414"/>
                <a:gd name="connsiteY332" fmla="*/ 185245 h 1848381"/>
                <a:gd name="connsiteX333" fmla="*/ 978395 w 1539414"/>
                <a:gd name="connsiteY333" fmla="*/ 146638 h 1848381"/>
                <a:gd name="connsiteX334" fmla="*/ 1012951 w 1539414"/>
                <a:gd name="connsiteY334" fmla="*/ 107354 h 1848381"/>
                <a:gd name="connsiteX335" fmla="*/ 1043441 w 1539414"/>
                <a:gd name="connsiteY335" fmla="*/ 79245 h 1848381"/>
                <a:gd name="connsiteX336" fmla="*/ 1066478 w 1539414"/>
                <a:gd name="connsiteY336" fmla="*/ 62313 h 1848381"/>
                <a:gd name="connsiteX337" fmla="*/ 1090870 w 1539414"/>
                <a:gd name="connsiteY337" fmla="*/ 46057 h 1848381"/>
                <a:gd name="connsiteX338" fmla="*/ 1117295 w 1539414"/>
                <a:gd name="connsiteY338" fmla="*/ 31834 h 1848381"/>
                <a:gd name="connsiteX339" fmla="*/ 1145752 w 1539414"/>
                <a:gd name="connsiteY339" fmla="*/ 19981 h 1848381"/>
                <a:gd name="connsiteX340" fmla="*/ 1175565 w 1539414"/>
                <a:gd name="connsiteY340" fmla="*/ 10498 h 1848381"/>
                <a:gd name="connsiteX341" fmla="*/ 1207749 w 1539414"/>
                <a:gd name="connsiteY341" fmla="*/ 3725 h 184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Lst>
              <a:rect l="l" t="t" r="r" b="b"/>
              <a:pathLst>
                <a:path w="1539414" h="1848381">
                  <a:moveTo>
                    <a:pt x="540662" y="773773"/>
                  </a:moveTo>
                  <a:lnTo>
                    <a:pt x="561652" y="785292"/>
                  </a:lnTo>
                  <a:lnTo>
                    <a:pt x="602955" y="805280"/>
                  </a:lnTo>
                  <a:lnTo>
                    <a:pt x="643919" y="820863"/>
                  </a:lnTo>
                  <a:lnTo>
                    <a:pt x="683868" y="831704"/>
                  </a:lnTo>
                  <a:lnTo>
                    <a:pt x="723817" y="838819"/>
                  </a:lnTo>
                  <a:lnTo>
                    <a:pt x="762750" y="840851"/>
                  </a:lnTo>
                  <a:lnTo>
                    <a:pt x="801006" y="838819"/>
                  </a:lnTo>
                  <a:lnTo>
                    <a:pt x="838585" y="832382"/>
                  </a:lnTo>
                  <a:lnTo>
                    <a:pt x="857543" y="826962"/>
                  </a:lnTo>
                  <a:lnTo>
                    <a:pt x="873455" y="821541"/>
                  </a:lnTo>
                  <a:lnTo>
                    <a:pt x="903248" y="809684"/>
                  </a:lnTo>
                  <a:lnTo>
                    <a:pt x="917128" y="802231"/>
                  </a:lnTo>
                  <a:lnTo>
                    <a:pt x="930331" y="823913"/>
                  </a:lnTo>
                  <a:lnTo>
                    <a:pt x="952337" y="864566"/>
                  </a:lnTo>
                  <a:lnTo>
                    <a:pt x="969603" y="904542"/>
                  </a:lnTo>
                  <a:lnTo>
                    <a:pt x="981452" y="943841"/>
                  </a:lnTo>
                  <a:lnTo>
                    <a:pt x="988900" y="982461"/>
                  </a:lnTo>
                  <a:lnTo>
                    <a:pt x="991947" y="1020066"/>
                  </a:lnTo>
                  <a:lnTo>
                    <a:pt x="989577" y="1058009"/>
                  </a:lnTo>
                  <a:lnTo>
                    <a:pt x="983484" y="1095614"/>
                  </a:lnTo>
                  <a:lnTo>
                    <a:pt x="978067" y="1114585"/>
                  </a:lnTo>
                  <a:lnTo>
                    <a:pt x="974004" y="1127459"/>
                  </a:lnTo>
                  <a:lnTo>
                    <a:pt x="959785" y="1151851"/>
                  </a:lnTo>
                  <a:lnTo>
                    <a:pt x="940149" y="1174549"/>
                  </a:lnTo>
                  <a:lnTo>
                    <a:pt x="915435" y="1195215"/>
                  </a:lnTo>
                  <a:lnTo>
                    <a:pt x="887674" y="1214187"/>
                  </a:lnTo>
                  <a:lnTo>
                    <a:pt x="857882" y="1230109"/>
                  </a:lnTo>
                  <a:lnTo>
                    <a:pt x="826736" y="1242305"/>
                  </a:lnTo>
                  <a:lnTo>
                    <a:pt x="796266" y="1251452"/>
                  </a:lnTo>
                  <a:lnTo>
                    <a:pt x="781032" y="1254163"/>
                  </a:lnTo>
                  <a:lnTo>
                    <a:pt x="739052" y="1260938"/>
                  </a:lnTo>
                  <a:lnTo>
                    <a:pt x="756995" y="1299559"/>
                  </a:lnTo>
                  <a:lnTo>
                    <a:pt x="762411" y="1311416"/>
                  </a:lnTo>
                  <a:lnTo>
                    <a:pt x="770537" y="1335131"/>
                  </a:lnTo>
                  <a:lnTo>
                    <a:pt x="776292" y="1357829"/>
                  </a:lnTo>
                  <a:lnTo>
                    <a:pt x="779000" y="1379850"/>
                  </a:lnTo>
                  <a:lnTo>
                    <a:pt x="778662" y="1401193"/>
                  </a:lnTo>
                  <a:lnTo>
                    <a:pt x="775615" y="1421520"/>
                  </a:lnTo>
                  <a:lnTo>
                    <a:pt x="769859" y="1441169"/>
                  </a:lnTo>
                  <a:lnTo>
                    <a:pt x="760719" y="1459802"/>
                  </a:lnTo>
                  <a:lnTo>
                    <a:pt x="755302" y="1468949"/>
                  </a:lnTo>
                  <a:lnTo>
                    <a:pt x="747854" y="1479112"/>
                  </a:lnTo>
                  <a:lnTo>
                    <a:pt x="730588" y="1497745"/>
                  </a:lnTo>
                  <a:lnTo>
                    <a:pt x="710275" y="1514007"/>
                  </a:lnTo>
                  <a:lnTo>
                    <a:pt x="686577" y="1528574"/>
                  </a:lnTo>
                  <a:lnTo>
                    <a:pt x="660170" y="1540431"/>
                  </a:lnTo>
                  <a:lnTo>
                    <a:pt x="631055" y="1550256"/>
                  </a:lnTo>
                  <a:lnTo>
                    <a:pt x="600247" y="1557032"/>
                  </a:lnTo>
                  <a:lnTo>
                    <a:pt x="568085" y="1561436"/>
                  </a:lnTo>
                  <a:lnTo>
                    <a:pt x="550819" y="1562452"/>
                  </a:lnTo>
                  <a:lnTo>
                    <a:pt x="548787" y="1550595"/>
                  </a:lnTo>
                  <a:lnTo>
                    <a:pt x="542355" y="1526542"/>
                  </a:lnTo>
                  <a:lnTo>
                    <a:pt x="533553" y="1502149"/>
                  </a:lnTo>
                  <a:lnTo>
                    <a:pt x="522719" y="1478096"/>
                  </a:lnTo>
                  <a:lnTo>
                    <a:pt x="516287" y="1466239"/>
                  </a:lnTo>
                  <a:lnTo>
                    <a:pt x="507484" y="1451332"/>
                  </a:lnTo>
                  <a:lnTo>
                    <a:pt x="487510" y="1423553"/>
                  </a:lnTo>
                  <a:lnTo>
                    <a:pt x="465166" y="1398822"/>
                  </a:lnTo>
                  <a:lnTo>
                    <a:pt x="440790" y="1375785"/>
                  </a:lnTo>
                  <a:lnTo>
                    <a:pt x="414045" y="1356135"/>
                  </a:lnTo>
                  <a:lnTo>
                    <a:pt x="385268" y="1339535"/>
                  </a:lnTo>
                  <a:lnTo>
                    <a:pt x="356153" y="1325306"/>
                  </a:lnTo>
                  <a:lnTo>
                    <a:pt x="325007" y="1315143"/>
                  </a:lnTo>
                  <a:lnTo>
                    <a:pt x="309095" y="1311755"/>
                  </a:lnTo>
                  <a:lnTo>
                    <a:pt x="289459" y="1307690"/>
                  </a:lnTo>
                  <a:lnTo>
                    <a:pt x="249849" y="1304302"/>
                  </a:lnTo>
                  <a:lnTo>
                    <a:pt x="210916" y="1303963"/>
                  </a:lnTo>
                  <a:lnTo>
                    <a:pt x="172999" y="1307012"/>
                  </a:lnTo>
                  <a:lnTo>
                    <a:pt x="135758" y="1312433"/>
                  </a:lnTo>
                  <a:lnTo>
                    <a:pt x="100549" y="1320563"/>
                  </a:lnTo>
                  <a:lnTo>
                    <a:pt x="50443" y="1335470"/>
                  </a:lnTo>
                  <a:lnTo>
                    <a:pt x="21328" y="1346988"/>
                  </a:lnTo>
                  <a:lnTo>
                    <a:pt x="14557" y="1326323"/>
                  </a:lnTo>
                  <a:lnTo>
                    <a:pt x="4401" y="1278216"/>
                  </a:lnTo>
                  <a:lnTo>
                    <a:pt x="0" y="1226044"/>
                  </a:lnTo>
                  <a:lnTo>
                    <a:pt x="2370" y="1172178"/>
                  </a:lnTo>
                  <a:lnTo>
                    <a:pt x="8802" y="1132202"/>
                  </a:lnTo>
                  <a:lnTo>
                    <a:pt x="15573" y="1106794"/>
                  </a:lnTo>
                  <a:lnTo>
                    <a:pt x="24714" y="1082401"/>
                  </a:lnTo>
                  <a:lnTo>
                    <a:pt x="36224" y="1059703"/>
                  </a:lnTo>
                  <a:lnTo>
                    <a:pt x="50105" y="1039038"/>
                  </a:lnTo>
                  <a:lnTo>
                    <a:pt x="66694" y="1020743"/>
                  </a:lnTo>
                  <a:lnTo>
                    <a:pt x="86668" y="1005160"/>
                  </a:lnTo>
                  <a:lnTo>
                    <a:pt x="109012" y="992625"/>
                  </a:lnTo>
                  <a:lnTo>
                    <a:pt x="121201" y="988221"/>
                  </a:lnTo>
                  <a:lnTo>
                    <a:pt x="137112" y="989915"/>
                  </a:lnTo>
                  <a:lnTo>
                    <a:pt x="168936" y="991947"/>
                  </a:lnTo>
                  <a:lnTo>
                    <a:pt x="185186" y="992625"/>
                  </a:lnTo>
                  <a:lnTo>
                    <a:pt x="212947" y="991947"/>
                  </a:lnTo>
                  <a:lnTo>
                    <a:pt x="269146" y="984494"/>
                  </a:lnTo>
                  <a:lnTo>
                    <a:pt x="297246" y="978057"/>
                  </a:lnTo>
                  <a:lnTo>
                    <a:pt x="321621" y="970943"/>
                  </a:lnTo>
                  <a:lnTo>
                    <a:pt x="366648" y="951294"/>
                  </a:lnTo>
                  <a:lnTo>
                    <a:pt x="405920" y="926563"/>
                  </a:lnTo>
                  <a:lnTo>
                    <a:pt x="441129" y="898444"/>
                  </a:lnTo>
                  <a:lnTo>
                    <a:pt x="471260" y="868970"/>
                  </a:lnTo>
                  <a:lnTo>
                    <a:pt x="496989" y="838819"/>
                  </a:lnTo>
                  <a:lnTo>
                    <a:pt x="527120" y="796810"/>
                  </a:lnTo>
                  <a:close/>
                  <a:moveTo>
                    <a:pt x="1241288" y="0"/>
                  </a:moveTo>
                  <a:lnTo>
                    <a:pt x="1258566" y="0"/>
                  </a:lnTo>
                  <a:lnTo>
                    <a:pt x="1276182" y="0"/>
                  </a:lnTo>
                  <a:lnTo>
                    <a:pt x="1309722" y="3387"/>
                  </a:lnTo>
                  <a:lnTo>
                    <a:pt x="1340212" y="10498"/>
                  </a:lnTo>
                  <a:lnTo>
                    <a:pt x="1369008" y="20658"/>
                  </a:lnTo>
                  <a:lnTo>
                    <a:pt x="1395094" y="33866"/>
                  </a:lnTo>
                  <a:lnTo>
                    <a:pt x="1419486" y="50121"/>
                  </a:lnTo>
                  <a:lnTo>
                    <a:pt x="1441507" y="68747"/>
                  </a:lnTo>
                  <a:lnTo>
                    <a:pt x="1460817" y="89744"/>
                  </a:lnTo>
                  <a:lnTo>
                    <a:pt x="1478095" y="114127"/>
                  </a:lnTo>
                  <a:lnTo>
                    <a:pt x="1493679" y="139865"/>
                  </a:lnTo>
                  <a:lnTo>
                    <a:pt x="1506891" y="167973"/>
                  </a:lnTo>
                  <a:lnTo>
                    <a:pt x="1517732" y="197775"/>
                  </a:lnTo>
                  <a:lnTo>
                    <a:pt x="1526202" y="229947"/>
                  </a:lnTo>
                  <a:lnTo>
                    <a:pt x="1532639" y="263135"/>
                  </a:lnTo>
                  <a:lnTo>
                    <a:pt x="1537043" y="298356"/>
                  </a:lnTo>
                  <a:lnTo>
                    <a:pt x="1539414" y="334253"/>
                  </a:lnTo>
                  <a:lnTo>
                    <a:pt x="1539414" y="353218"/>
                  </a:lnTo>
                  <a:lnTo>
                    <a:pt x="1539414" y="1658734"/>
                  </a:lnTo>
                  <a:lnTo>
                    <a:pt x="1517394" y="1648236"/>
                  </a:lnTo>
                  <a:lnTo>
                    <a:pt x="1473013" y="1630964"/>
                  </a:lnTo>
                  <a:lnTo>
                    <a:pt x="1428294" y="1618773"/>
                  </a:lnTo>
                  <a:lnTo>
                    <a:pt x="1383237" y="1611661"/>
                  </a:lnTo>
                  <a:lnTo>
                    <a:pt x="1338179" y="1608952"/>
                  </a:lnTo>
                  <a:lnTo>
                    <a:pt x="1293799" y="1611661"/>
                  </a:lnTo>
                  <a:lnTo>
                    <a:pt x="1249758" y="1619450"/>
                  </a:lnTo>
                  <a:lnTo>
                    <a:pt x="1206733" y="1632319"/>
                  </a:lnTo>
                  <a:lnTo>
                    <a:pt x="1185728" y="1640785"/>
                  </a:lnTo>
                  <a:lnTo>
                    <a:pt x="1168112" y="1648575"/>
                  </a:lnTo>
                  <a:lnTo>
                    <a:pt x="1134911" y="1666523"/>
                  </a:lnTo>
                  <a:lnTo>
                    <a:pt x="1103405" y="1688197"/>
                  </a:lnTo>
                  <a:lnTo>
                    <a:pt x="1074609" y="1712242"/>
                  </a:lnTo>
                  <a:lnTo>
                    <a:pt x="1048523" y="1738657"/>
                  </a:lnTo>
                  <a:lnTo>
                    <a:pt x="1025147" y="1767443"/>
                  </a:lnTo>
                  <a:lnTo>
                    <a:pt x="1004820" y="1798260"/>
                  </a:lnTo>
                  <a:lnTo>
                    <a:pt x="987881" y="1831110"/>
                  </a:lnTo>
                  <a:lnTo>
                    <a:pt x="980767" y="1848381"/>
                  </a:lnTo>
                  <a:lnTo>
                    <a:pt x="974330" y="1832126"/>
                  </a:lnTo>
                  <a:lnTo>
                    <a:pt x="959762" y="1801647"/>
                  </a:lnTo>
                  <a:lnTo>
                    <a:pt x="944178" y="1774216"/>
                  </a:lnTo>
                  <a:lnTo>
                    <a:pt x="927240" y="1749494"/>
                  </a:lnTo>
                  <a:lnTo>
                    <a:pt x="909284" y="1727143"/>
                  </a:lnTo>
                  <a:lnTo>
                    <a:pt x="890313" y="1706823"/>
                  </a:lnTo>
                  <a:lnTo>
                    <a:pt x="869986" y="1688875"/>
                  </a:lnTo>
                  <a:lnTo>
                    <a:pt x="849320" y="1673635"/>
                  </a:lnTo>
                  <a:lnTo>
                    <a:pt x="816797" y="1653316"/>
                  </a:lnTo>
                  <a:lnTo>
                    <a:pt x="772756" y="1633335"/>
                  </a:lnTo>
                  <a:lnTo>
                    <a:pt x="727021" y="1619450"/>
                  </a:lnTo>
                  <a:lnTo>
                    <a:pt x="682302" y="1611322"/>
                  </a:lnTo>
                  <a:lnTo>
                    <a:pt x="660281" y="1608952"/>
                  </a:lnTo>
                  <a:lnTo>
                    <a:pt x="683996" y="1601163"/>
                  </a:lnTo>
                  <a:lnTo>
                    <a:pt x="727021" y="1580166"/>
                  </a:lnTo>
                  <a:lnTo>
                    <a:pt x="764625" y="1553751"/>
                  </a:lnTo>
                  <a:lnTo>
                    <a:pt x="789017" y="1530384"/>
                  </a:lnTo>
                  <a:lnTo>
                    <a:pt x="802569" y="1513451"/>
                  </a:lnTo>
                  <a:lnTo>
                    <a:pt x="809005" y="1504646"/>
                  </a:lnTo>
                  <a:lnTo>
                    <a:pt x="819169" y="1488052"/>
                  </a:lnTo>
                  <a:lnTo>
                    <a:pt x="833736" y="1453170"/>
                  </a:lnTo>
                  <a:lnTo>
                    <a:pt x="841867" y="1415918"/>
                  </a:lnTo>
                  <a:lnTo>
                    <a:pt x="843222" y="1377312"/>
                  </a:lnTo>
                  <a:lnTo>
                    <a:pt x="841190" y="1357670"/>
                  </a:lnTo>
                  <a:lnTo>
                    <a:pt x="860500" y="1369861"/>
                  </a:lnTo>
                  <a:lnTo>
                    <a:pt x="899121" y="1392212"/>
                  </a:lnTo>
                  <a:lnTo>
                    <a:pt x="936387" y="1411177"/>
                  </a:lnTo>
                  <a:lnTo>
                    <a:pt x="972975" y="1426755"/>
                  </a:lnTo>
                  <a:lnTo>
                    <a:pt x="1008547" y="1439624"/>
                  </a:lnTo>
                  <a:lnTo>
                    <a:pt x="1043102" y="1449445"/>
                  </a:lnTo>
                  <a:lnTo>
                    <a:pt x="1076980" y="1455880"/>
                  </a:lnTo>
                  <a:lnTo>
                    <a:pt x="1109503" y="1458928"/>
                  </a:lnTo>
                  <a:lnTo>
                    <a:pt x="1125764" y="1458928"/>
                  </a:lnTo>
                  <a:lnTo>
                    <a:pt x="1149818" y="1458589"/>
                  </a:lnTo>
                  <a:lnTo>
                    <a:pt x="1196230" y="1451138"/>
                  </a:lnTo>
                  <a:lnTo>
                    <a:pt x="1218251" y="1444027"/>
                  </a:lnTo>
                  <a:lnTo>
                    <a:pt x="1231802" y="1439286"/>
                  </a:lnTo>
                  <a:lnTo>
                    <a:pt x="1257550" y="1427433"/>
                  </a:lnTo>
                  <a:lnTo>
                    <a:pt x="1280248" y="1413886"/>
                  </a:lnTo>
                  <a:lnTo>
                    <a:pt x="1301252" y="1398986"/>
                  </a:lnTo>
                  <a:lnTo>
                    <a:pt x="1329032" y="1373925"/>
                  </a:lnTo>
                  <a:lnTo>
                    <a:pt x="1358845" y="1338705"/>
                  </a:lnTo>
                  <a:lnTo>
                    <a:pt x="1381543" y="1304501"/>
                  </a:lnTo>
                  <a:lnTo>
                    <a:pt x="1397804" y="1273344"/>
                  </a:lnTo>
                  <a:lnTo>
                    <a:pt x="1412372" y="1238463"/>
                  </a:lnTo>
                  <a:lnTo>
                    <a:pt x="1414743" y="1231012"/>
                  </a:lnTo>
                  <a:lnTo>
                    <a:pt x="1352747" y="1213064"/>
                  </a:lnTo>
                  <a:lnTo>
                    <a:pt x="1351392" y="1217466"/>
                  </a:lnTo>
                  <a:lnTo>
                    <a:pt x="1339873" y="1245236"/>
                  </a:lnTo>
                  <a:lnTo>
                    <a:pt x="1326661" y="1270296"/>
                  </a:lnTo>
                  <a:lnTo>
                    <a:pt x="1308367" y="1298405"/>
                  </a:lnTo>
                  <a:lnTo>
                    <a:pt x="1284652" y="1326852"/>
                  </a:lnTo>
                  <a:lnTo>
                    <a:pt x="1254162" y="1353606"/>
                  </a:lnTo>
                  <a:lnTo>
                    <a:pt x="1227398" y="1370200"/>
                  </a:lnTo>
                  <a:lnTo>
                    <a:pt x="1207749" y="1379344"/>
                  </a:lnTo>
                  <a:lnTo>
                    <a:pt x="1197247" y="1383407"/>
                  </a:lnTo>
                  <a:lnTo>
                    <a:pt x="1180647" y="1388826"/>
                  </a:lnTo>
                  <a:lnTo>
                    <a:pt x="1145075" y="1394583"/>
                  </a:lnTo>
                  <a:lnTo>
                    <a:pt x="1107809" y="1394583"/>
                  </a:lnTo>
                  <a:lnTo>
                    <a:pt x="1068172" y="1389165"/>
                  </a:lnTo>
                  <a:lnTo>
                    <a:pt x="1026502" y="1378328"/>
                  </a:lnTo>
                  <a:lnTo>
                    <a:pt x="982799" y="1362072"/>
                  </a:lnTo>
                  <a:lnTo>
                    <a:pt x="937742" y="1340059"/>
                  </a:lnTo>
                  <a:lnTo>
                    <a:pt x="890313" y="1312628"/>
                  </a:lnTo>
                  <a:lnTo>
                    <a:pt x="865582" y="1296712"/>
                  </a:lnTo>
                  <a:lnTo>
                    <a:pt x="880488" y="1290277"/>
                  </a:lnTo>
                  <a:lnTo>
                    <a:pt x="909284" y="1276392"/>
                  </a:lnTo>
                  <a:lnTo>
                    <a:pt x="936725" y="1259121"/>
                  </a:lnTo>
                  <a:lnTo>
                    <a:pt x="962811" y="1240495"/>
                  </a:lnTo>
                  <a:lnTo>
                    <a:pt x="985848" y="1219160"/>
                  </a:lnTo>
                  <a:lnTo>
                    <a:pt x="1006514" y="1196470"/>
                  </a:lnTo>
                  <a:lnTo>
                    <a:pt x="1023453" y="1172425"/>
                  </a:lnTo>
                  <a:lnTo>
                    <a:pt x="1035988" y="1146349"/>
                  </a:lnTo>
                  <a:lnTo>
                    <a:pt x="1040053" y="1132802"/>
                  </a:lnTo>
                  <a:lnTo>
                    <a:pt x="1047506" y="1104694"/>
                  </a:lnTo>
                  <a:lnTo>
                    <a:pt x="1055298" y="1050848"/>
                  </a:lnTo>
                  <a:lnTo>
                    <a:pt x="1055298" y="999033"/>
                  </a:lnTo>
                  <a:lnTo>
                    <a:pt x="1048861" y="950267"/>
                  </a:lnTo>
                  <a:lnTo>
                    <a:pt x="1037004" y="904549"/>
                  </a:lnTo>
                  <a:lnTo>
                    <a:pt x="1021420" y="861539"/>
                  </a:lnTo>
                  <a:lnTo>
                    <a:pt x="1002787" y="821578"/>
                  </a:lnTo>
                  <a:lnTo>
                    <a:pt x="982461" y="785342"/>
                  </a:lnTo>
                  <a:lnTo>
                    <a:pt x="971958" y="768409"/>
                  </a:lnTo>
                  <a:lnTo>
                    <a:pt x="984832" y="758927"/>
                  </a:lnTo>
                  <a:lnTo>
                    <a:pt x="1007869" y="738608"/>
                  </a:lnTo>
                  <a:lnTo>
                    <a:pt x="1039037" y="707113"/>
                  </a:lnTo>
                  <a:lnTo>
                    <a:pt x="1073254" y="664781"/>
                  </a:lnTo>
                  <a:lnTo>
                    <a:pt x="1099340" y="626851"/>
                  </a:lnTo>
                  <a:lnTo>
                    <a:pt x="1108487" y="610596"/>
                  </a:lnTo>
                  <a:lnTo>
                    <a:pt x="1123732" y="624819"/>
                  </a:lnTo>
                  <a:lnTo>
                    <a:pt x="1157610" y="649202"/>
                  </a:lnTo>
                  <a:lnTo>
                    <a:pt x="1176242" y="658685"/>
                  </a:lnTo>
                  <a:lnTo>
                    <a:pt x="1190471" y="664781"/>
                  </a:lnTo>
                  <a:lnTo>
                    <a:pt x="1219267" y="674602"/>
                  </a:lnTo>
                  <a:lnTo>
                    <a:pt x="1247725" y="680359"/>
                  </a:lnTo>
                  <a:lnTo>
                    <a:pt x="1275505" y="683068"/>
                  </a:lnTo>
                  <a:lnTo>
                    <a:pt x="1289056" y="683407"/>
                  </a:lnTo>
                  <a:lnTo>
                    <a:pt x="1302946" y="683068"/>
                  </a:lnTo>
                  <a:lnTo>
                    <a:pt x="1329371" y="680697"/>
                  </a:lnTo>
                  <a:lnTo>
                    <a:pt x="1365281" y="674263"/>
                  </a:lnTo>
                  <a:lnTo>
                    <a:pt x="1417792" y="658008"/>
                  </a:lnTo>
                  <a:lnTo>
                    <a:pt x="1427278" y="653605"/>
                  </a:lnTo>
                  <a:lnTo>
                    <a:pt x="1399498" y="595695"/>
                  </a:lnTo>
                  <a:lnTo>
                    <a:pt x="1396110" y="597388"/>
                  </a:lnTo>
                  <a:lnTo>
                    <a:pt x="1361894" y="608564"/>
                  </a:lnTo>
                  <a:lnTo>
                    <a:pt x="1320901" y="617030"/>
                  </a:lnTo>
                  <a:lnTo>
                    <a:pt x="1289395" y="618724"/>
                  </a:lnTo>
                  <a:lnTo>
                    <a:pt x="1255178" y="616692"/>
                  </a:lnTo>
                  <a:lnTo>
                    <a:pt x="1220961" y="607887"/>
                  </a:lnTo>
                  <a:lnTo>
                    <a:pt x="1203345" y="600436"/>
                  </a:lnTo>
                  <a:lnTo>
                    <a:pt x="1191826" y="594679"/>
                  </a:lnTo>
                  <a:lnTo>
                    <a:pt x="1170144" y="579778"/>
                  </a:lnTo>
                  <a:lnTo>
                    <a:pt x="1149818" y="561152"/>
                  </a:lnTo>
                  <a:lnTo>
                    <a:pt x="1131862" y="539478"/>
                  </a:lnTo>
                  <a:lnTo>
                    <a:pt x="1115262" y="514079"/>
                  </a:lnTo>
                  <a:lnTo>
                    <a:pt x="1100695" y="484955"/>
                  </a:lnTo>
                  <a:lnTo>
                    <a:pt x="1087482" y="452444"/>
                  </a:lnTo>
                  <a:lnTo>
                    <a:pt x="1076303" y="416885"/>
                  </a:lnTo>
                  <a:lnTo>
                    <a:pt x="1072237" y="397582"/>
                  </a:lnTo>
                  <a:lnTo>
                    <a:pt x="1009224" y="412144"/>
                  </a:lnTo>
                  <a:lnTo>
                    <a:pt x="1014645" y="433140"/>
                  </a:lnTo>
                  <a:lnTo>
                    <a:pt x="1026502" y="472086"/>
                  </a:lnTo>
                  <a:lnTo>
                    <a:pt x="1040392" y="507645"/>
                  </a:lnTo>
                  <a:lnTo>
                    <a:pt x="1056653" y="540833"/>
                  </a:lnTo>
                  <a:lnTo>
                    <a:pt x="1065462" y="555734"/>
                  </a:lnTo>
                  <a:lnTo>
                    <a:pt x="1056653" y="571989"/>
                  </a:lnTo>
                  <a:lnTo>
                    <a:pt x="1031584" y="612289"/>
                  </a:lnTo>
                  <a:lnTo>
                    <a:pt x="1008885" y="643445"/>
                  </a:lnTo>
                  <a:lnTo>
                    <a:pt x="980428" y="675279"/>
                  </a:lnTo>
                  <a:lnTo>
                    <a:pt x="946550" y="707113"/>
                  </a:lnTo>
                  <a:lnTo>
                    <a:pt x="907252" y="735221"/>
                  </a:lnTo>
                  <a:lnTo>
                    <a:pt x="874390" y="752831"/>
                  </a:lnTo>
                  <a:lnTo>
                    <a:pt x="851353" y="761975"/>
                  </a:lnTo>
                  <a:lnTo>
                    <a:pt x="838818" y="765700"/>
                  </a:lnTo>
                  <a:lnTo>
                    <a:pt x="822218" y="770102"/>
                  </a:lnTo>
                  <a:lnTo>
                    <a:pt x="788001" y="775860"/>
                  </a:lnTo>
                  <a:lnTo>
                    <a:pt x="752768" y="776876"/>
                  </a:lnTo>
                  <a:lnTo>
                    <a:pt x="716857" y="772812"/>
                  </a:lnTo>
                  <a:lnTo>
                    <a:pt x="680269" y="765023"/>
                  </a:lnTo>
                  <a:lnTo>
                    <a:pt x="642665" y="752831"/>
                  </a:lnTo>
                  <a:lnTo>
                    <a:pt x="604383" y="735560"/>
                  </a:lnTo>
                  <a:lnTo>
                    <a:pt x="565762" y="714224"/>
                  </a:lnTo>
                  <a:lnTo>
                    <a:pt x="546113" y="701694"/>
                  </a:lnTo>
                  <a:lnTo>
                    <a:pt x="513928" y="681036"/>
                  </a:lnTo>
                  <a:lnTo>
                    <a:pt x="499022" y="715240"/>
                  </a:lnTo>
                  <a:lnTo>
                    <a:pt x="496312" y="720997"/>
                  </a:lnTo>
                  <a:lnTo>
                    <a:pt x="477679" y="754863"/>
                  </a:lnTo>
                  <a:lnTo>
                    <a:pt x="457013" y="785342"/>
                  </a:lnTo>
                  <a:lnTo>
                    <a:pt x="429572" y="818869"/>
                  </a:lnTo>
                  <a:lnTo>
                    <a:pt x="395694" y="853073"/>
                  </a:lnTo>
                  <a:lnTo>
                    <a:pt x="365543" y="876440"/>
                  </a:lnTo>
                  <a:lnTo>
                    <a:pt x="343522" y="890664"/>
                  </a:lnTo>
                  <a:lnTo>
                    <a:pt x="319808" y="902517"/>
                  </a:lnTo>
                  <a:lnTo>
                    <a:pt x="294399" y="912338"/>
                  </a:lnTo>
                  <a:lnTo>
                    <a:pt x="280848" y="916063"/>
                  </a:lnTo>
                  <a:lnTo>
                    <a:pt x="260521" y="921143"/>
                  </a:lnTo>
                  <a:lnTo>
                    <a:pt x="220207" y="926900"/>
                  </a:lnTo>
                  <a:lnTo>
                    <a:pt x="180231" y="928255"/>
                  </a:lnTo>
                  <a:lnTo>
                    <a:pt x="140255" y="925545"/>
                  </a:lnTo>
                  <a:lnTo>
                    <a:pt x="120605" y="922497"/>
                  </a:lnTo>
                  <a:lnTo>
                    <a:pt x="119250" y="901839"/>
                  </a:lnTo>
                  <a:lnTo>
                    <a:pt x="119589" y="860185"/>
                  </a:lnTo>
                  <a:lnTo>
                    <a:pt x="124332" y="819546"/>
                  </a:lnTo>
                  <a:lnTo>
                    <a:pt x="133140" y="779923"/>
                  </a:lnTo>
                  <a:lnTo>
                    <a:pt x="146353" y="741317"/>
                  </a:lnTo>
                  <a:lnTo>
                    <a:pt x="162614" y="704742"/>
                  </a:lnTo>
                  <a:lnTo>
                    <a:pt x="182602" y="670199"/>
                  </a:lnTo>
                  <a:lnTo>
                    <a:pt x="205300" y="637688"/>
                  </a:lnTo>
                  <a:lnTo>
                    <a:pt x="230709" y="608225"/>
                  </a:lnTo>
                  <a:lnTo>
                    <a:pt x="258827" y="581471"/>
                  </a:lnTo>
                  <a:lnTo>
                    <a:pt x="288640" y="558104"/>
                  </a:lnTo>
                  <a:lnTo>
                    <a:pt x="320824" y="538801"/>
                  </a:lnTo>
                  <a:lnTo>
                    <a:pt x="354024" y="523223"/>
                  </a:lnTo>
                  <a:lnTo>
                    <a:pt x="388919" y="511708"/>
                  </a:lnTo>
                  <a:lnTo>
                    <a:pt x="424491" y="505274"/>
                  </a:lnTo>
                  <a:lnTo>
                    <a:pt x="460740" y="503919"/>
                  </a:lnTo>
                  <a:lnTo>
                    <a:pt x="479373" y="505274"/>
                  </a:lnTo>
                  <a:lnTo>
                    <a:pt x="479712" y="490712"/>
                  </a:lnTo>
                  <a:lnTo>
                    <a:pt x="484455" y="460233"/>
                  </a:lnTo>
                  <a:lnTo>
                    <a:pt x="494618" y="429754"/>
                  </a:lnTo>
                  <a:lnTo>
                    <a:pt x="508847" y="399275"/>
                  </a:lnTo>
                  <a:lnTo>
                    <a:pt x="527141" y="369134"/>
                  </a:lnTo>
                  <a:lnTo>
                    <a:pt x="549162" y="340010"/>
                  </a:lnTo>
                  <a:lnTo>
                    <a:pt x="574570" y="312579"/>
                  </a:lnTo>
                  <a:lnTo>
                    <a:pt x="603705" y="286841"/>
                  </a:lnTo>
                  <a:lnTo>
                    <a:pt x="635212" y="264151"/>
                  </a:lnTo>
                  <a:lnTo>
                    <a:pt x="669089" y="244848"/>
                  </a:lnTo>
                  <a:lnTo>
                    <a:pt x="705339" y="228931"/>
                  </a:lnTo>
                  <a:lnTo>
                    <a:pt x="743282" y="218094"/>
                  </a:lnTo>
                  <a:lnTo>
                    <a:pt x="782581" y="211321"/>
                  </a:lnTo>
                  <a:lnTo>
                    <a:pt x="823573" y="210305"/>
                  </a:lnTo>
                  <a:lnTo>
                    <a:pt x="865243" y="215385"/>
                  </a:lnTo>
                  <a:lnTo>
                    <a:pt x="907929" y="226899"/>
                  </a:lnTo>
                  <a:lnTo>
                    <a:pt x="928933" y="235027"/>
                  </a:lnTo>
                  <a:lnTo>
                    <a:pt x="934693" y="220126"/>
                  </a:lnTo>
                  <a:lnTo>
                    <a:pt x="952648" y="185245"/>
                  </a:lnTo>
                  <a:lnTo>
                    <a:pt x="978395" y="146638"/>
                  </a:lnTo>
                  <a:lnTo>
                    <a:pt x="1012951" y="107354"/>
                  </a:lnTo>
                  <a:lnTo>
                    <a:pt x="1043441" y="79245"/>
                  </a:lnTo>
                  <a:lnTo>
                    <a:pt x="1066478" y="62313"/>
                  </a:lnTo>
                  <a:lnTo>
                    <a:pt x="1090870" y="46057"/>
                  </a:lnTo>
                  <a:lnTo>
                    <a:pt x="1117295" y="31834"/>
                  </a:lnTo>
                  <a:lnTo>
                    <a:pt x="1145752" y="19981"/>
                  </a:lnTo>
                  <a:lnTo>
                    <a:pt x="1175565" y="10498"/>
                  </a:lnTo>
                  <a:lnTo>
                    <a:pt x="1207749" y="3725"/>
                  </a:lnTo>
                  <a:close/>
                </a:path>
              </a:pathLst>
            </a:custGeom>
            <a:solidFill>
              <a:schemeClr val="accent6"/>
            </a:solidFill>
            <a:ln>
              <a:noFill/>
            </a:ln>
            <a:extLst/>
          </p:spPr>
          <p:txBody>
            <a:bodyPr vert="horz" wrap="square" lIns="91440" tIns="45720" rIns="91440" bIns="45720" numCol="1" anchor="t" anchorCtr="0" compatLnSpc="1">
              <a:prstTxWarp prst="textNoShape">
                <a:avLst/>
              </a:prstTxWarp>
              <a:noAutofit/>
            </a:bodyPr>
            <a:lstStyle/>
            <a:p>
              <a:endParaRPr lang="en-US"/>
            </a:p>
          </p:txBody>
        </p:sp>
        <p:sp>
          <p:nvSpPr>
            <p:cNvPr id="12" name="Freeform 59">
              <a:extLst>
                <a:ext uri="{FF2B5EF4-FFF2-40B4-BE49-F238E27FC236}">
                  <a16:creationId xmlns:a16="http://schemas.microsoft.com/office/drawing/2014/main" id="{39794C53-D1AA-4D16-9CFF-E1F41181BDD6}"/>
                </a:ext>
              </a:extLst>
            </p:cNvPr>
            <p:cNvSpPr>
              <a:spLocks/>
            </p:cNvSpPr>
            <p:nvPr/>
          </p:nvSpPr>
          <p:spPr bwMode="auto">
            <a:xfrm>
              <a:off x="4370934" y="3660096"/>
              <a:ext cx="1638338" cy="1657310"/>
            </a:xfrm>
            <a:custGeom>
              <a:avLst/>
              <a:gdLst>
                <a:gd name="T0" fmla="*/ 3529 w 4838"/>
                <a:gd name="T1" fmla="*/ 1221 h 4891"/>
                <a:gd name="T2" fmla="*/ 3309 w 4838"/>
                <a:gd name="T3" fmla="*/ 1693 h 4891"/>
                <a:gd name="T4" fmla="*/ 2934 w 4838"/>
                <a:gd name="T5" fmla="*/ 1713 h 4891"/>
                <a:gd name="T6" fmla="*/ 2480 w 4838"/>
                <a:gd name="T7" fmla="*/ 1788 h 4891"/>
                <a:gd name="T8" fmla="*/ 2152 w 4838"/>
                <a:gd name="T9" fmla="*/ 2101 h 4891"/>
                <a:gd name="T10" fmla="*/ 2061 w 4838"/>
                <a:gd name="T11" fmla="*/ 2446 h 4891"/>
                <a:gd name="T12" fmla="*/ 2134 w 4838"/>
                <a:gd name="T13" fmla="*/ 2824 h 4891"/>
                <a:gd name="T14" fmla="*/ 2694 w 4838"/>
                <a:gd name="T15" fmla="*/ 2885 h 4891"/>
                <a:gd name="T16" fmla="*/ 3072 w 4838"/>
                <a:gd name="T17" fmla="*/ 3203 h 4891"/>
                <a:gd name="T18" fmla="*/ 3294 w 4838"/>
                <a:gd name="T19" fmla="*/ 3078 h 4891"/>
                <a:gd name="T20" fmla="*/ 3681 w 4838"/>
                <a:gd name="T21" fmla="*/ 3038 h 4891"/>
                <a:gd name="T22" fmla="*/ 4108 w 4838"/>
                <a:gd name="T23" fmla="*/ 3411 h 4891"/>
                <a:gd name="T24" fmla="*/ 3556 w 4838"/>
                <a:gd name="T25" fmla="*/ 3222 h 4891"/>
                <a:gd name="T26" fmla="*/ 3147 w 4838"/>
                <a:gd name="T27" fmla="*/ 3387 h 4891"/>
                <a:gd name="T28" fmla="*/ 2925 w 4838"/>
                <a:gd name="T29" fmla="*/ 3862 h 4891"/>
                <a:gd name="T30" fmla="*/ 2765 w 4838"/>
                <a:gd name="T31" fmla="*/ 4137 h 4891"/>
                <a:gd name="T32" fmla="*/ 2795 w 4838"/>
                <a:gd name="T33" fmla="*/ 3582 h 4891"/>
                <a:gd name="T34" fmla="*/ 2808 w 4838"/>
                <a:gd name="T35" fmla="*/ 3196 h 4891"/>
                <a:gd name="T36" fmla="*/ 2323 w 4838"/>
                <a:gd name="T37" fmla="*/ 2989 h 4891"/>
                <a:gd name="T38" fmla="*/ 1929 w 4838"/>
                <a:gd name="T39" fmla="*/ 3131 h 4891"/>
                <a:gd name="T40" fmla="*/ 1663 w 4838"/>
                <a:gd name="T41" fmla="*/ 3585 h 4891"/>
                <a:gd name="T42" fmla="*/ 1534 w 4838"/>
                <a:gd name="T43" fmla="*/ 3349 h 4891"/>
                <a:gd name="T44" fmla="*/ 1906 w 4838"/>
                <a:gd name="T45" fmla="*/ 2919 h 4891"/>
                <a:gd name="T46" fmla="*/ 1876 w 4838"/>
                <a:gd name="T47" fmla="*/ 2536 h 4891"/>
                <a:gd name="T48" fmla="*/ 1949 w 4838"/>
                <a:gd name="T49" fmla="*/ 2090 h 4891"/>
                <a:gd name="T50" fmla="*/ 2190 w 4838"/>
                <a:gd name="T51" fmla="*/ 1755 h 4891"/>
                <a:gd name="T52" fmla="*/ 2454 w 4838"/>
                <a:gd name="T53" fmla="*/ 1594 h 4891"/>
                <a:gd name="T54" fmla="*/ 2884 w 4838"/>
                <a:gd name="T55" fmla="*/ 1521 h 4891"/>
                <a:gd name="T56" fmla="*/ 2893 w 4838"/>
                <a:gd name="T57" fmla="*/ 1264 h 4891"/>
                <a:gd name="T58" fmla="*/ 2518 w 4838"/>
                <a:gd name="T59" fmla="*/ 965 h 4891"/>
                <a:gd name="T60" fmla="*/ 1897 w 4838"/>
                <a:gd name="T61" fmla="*/ 910 h 4891"/>
                <a:gd name="T62" fmla="*/ 1737 w 4838"/>
                <a:gd name="T63" fmla="*/ 728 h 4891"/>
                <a:gd name="T64" fmla="*/ 1632 w 4838"/>
                <a:gd name="T65" fmla="*/ 348 h 4891"/>
                <a:gd name="T66" fmla="*/ 1346 w 4838"/>
                <a:gd name="T67" fmla="*/ 84 h 4891"/>
                <a:gd name="T68" fmla="*/ 988 w 4838"/>
                <a:gd name="T69" fmla="*/ 0 h 4891"/>
                <a:gd name="T70" fmla="*/ 394 w 4838"/>
                <a:gd name="T71" fmla="*/ 126 h 4891"/>
                <a:gd name="T72" fmla="*/ 117 w 4838"/>
                <a:gd name="T73" fmla="*/ 426 h 4891"/>
                <a:gd name="T74" fmla="*/ 0 w 4838"/>
                <a:gd name="T75" fmla="*/ 950 h 4891"/>
                <a:gd name="T76" fmla="*/ 164 w 4838"/>
                <a:gd name="T77" fmla="*/ 1501 h 4891"/>
                <a:gd name="T78" fmla="*/ 327 w 4838"/>
                <a:gd name="T79" fmla="*/ 1873 h 4891"/>
                <a:gd name="T80" fmla="*/ 388 w 4838"/>
                <a:gd name="T81" fmla="*/ 2306 h 4891"/>
                <a:gd name="T82" fmla="*/ 786 w 4838"/>
                <a:gd name="T83" fmla="*/ 2783 h 4891"/>
                <a:gd name="T84" fmla="*/ 925 w 4838"/>
                <a:gd name="T85" fmla="*/ 3339 h 4891"/>
                <a:gd name="T86" fmla="*/ 1352 w 4838"/>
                <a:gd name="T87" fmla="*/ 3887 h 4891"/>
                <a:gd name="T88" fmla="*/ 1899 w 4838"/>
                <a:gd name="T89" fmla="*/ 4138 h 4891"/>
                <a:gd name="T90" fmla="*/ 2230 w 4838"/>
                <a:gd name="T91" fmla="*/ 4267 h 4891"/>
                <a:gd name="T92" fmla="*/ 2625 w 4838"/>
                <a:gd name="T93" fmla="*/ 4620 h 4891"/>
                <a:gd name="T94" fmla="*/ 3155 w 4838"/>
                <a:gd name="T95" fmla="*/ 4841 h 4891"/>
                <a:gd name="T96" fmla="*/ 3732 w 4838"/>
                <a:gd name="T97" fmla="*/ 4884 h 4891"/>
                <a:gd name="T98" fmla="*/ 4265 w 4838"/>
                <a:gd name="T99" fmla="*/ 4705 h 4891"/>
                <a:gd name="T100" fmla="*/ 4663 w 4838"/>
                <a:gd name="T101" fmla="*/ 4260 h 4891"/>
                <a:gd name="T102" fmla="*/ 4838 w 4838"/>
                <a:gd name="T103" fmla="*/ 3507 h 4891"/>
                <a:gd name="T104" fmla="*/ 4533 w 4838"/>
                <a:gd name="T105" fmla="*/ 942 h 4891"/>
                <a:gd name="T106" fmla="*/ 3925 w 4838"/>
                <a:gd name="T107" fmla="*/ 956 h 4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38" h="4891">
                  <a:moveTo>
                    <a:pt x="3868" y="980"/>
                  </a:moveTo>
                  <a:lnTo>
                    <a:pt x="3812" y="1004"/>
                  </a:lnTo>
                  <a:lnTo>
                    <a:pt x="3707" y="1065"/>
                  </a:lnTo>
                  <a:lnTo>
                    <a:pt x="3613" y="1138"/>
                  </a:lnTo>
                  <a:lnTo>
                    <a:pt x="3529" y="1221"/>
                  </a:lnTo>
                  <a:lnTo>
                    <a:pt x="3457" y="1313"/>
                  </a:lnTo>
                  <a:lnTo>
                    <a:pt x="3398" y="1414"/>
                  </a:lnTo>
                  <a:lnTo>
                    <a:pt x="3351" y="1521"/>
                  </a:lnTo>
                  <a:lnTo>
                    <a:pt x="3320" y="1634"/>
                  </a:lnTo>
                  <a:lnTo>
                    <a:pt x="3309" y="1693"/>
                  </a:lnTo>
                  <a:lnTo>
                    <a:pt x="3294" y="1812"/>
                  </a:lnTo>
                  <a:lnTo>
                    <a:pt x="3181" y="1768"/>
                  </a:lnTo>
                  <a:lnTo>
                    <a:pt x="3133" y="1750"/>
                  </a:lnTo>
                  <a:lnTo>
                    <a:pt x="3035" y="1726"/>
                  </a:lnTo>
                  <a:lnTo>
                    <a:pt x="2934" y="1713"/>
                  </a:lnTo>
                  <a:lnTo>
                    <a:pt x="2833" y="1712"/>
                  </a:lnTo>
                  <a:lnTo>
                    <a:pt x="2735" y="1718"/>
                  </a:lnTo>
                  <a:lnTo>
                    <a:pt x="2642" y="1735"/>
                  </a:lnTo>
                  <a:lnTo>
                    <a:pt x="2556" y="1759"/>
                  </a:lnTo>
                  <a:lnTo>
                    <a:pt x="2480" y="1788"/>
                  </a:lnTo>
                  <a:lnTo>
                    <a:pt x="2446" y="1807"/>
                  </a:lnTo>
                  <a:lnTo>
                    <a:pt x="2392" y="1838"/>
                  </a:lnTo>
                  <a:lnTo>
                    <a:pt x="2292" y="1917"/>
                  </a:lnTo>
                  <a:lnTo>
                    <a:pt x="2205" y="2015"/>
                  </a:lnTo>
                  <a:lnTo>
                    <a:pt x="2152" y="2101"/>
                  </a:lnTo>
                  <a:lnTo>
                    <a:pt x="2122" y="2163"/>
                  </a:lnTo>
                  <a:lnTo>
                    <a:pt x="2098" y="2228"/>
                  </a:lnTo>
                  <a:lnTo>
                    <a:pt x="2079" y="2298"/>
                  </a:lnTo>
                  <a:lnTo>
                    <a:pt x="2066" y="2370"/>
                  </a:lnTo>
                  <a:lnTo>
                    <a:pt x="2061" y="2446"/>
                  </a:lnTo>
                  <a:lnTo>
                    <a:pt x="2064" y="2525"/>
                  </a:lnTo>
                  <a:lnTo>
                    <a:pt x="2073" y="2608"/>
                  </a:lnTo>
                  <a:lnTo>
                    <a:pt x="2091" y="2692"/>
                  </a:lnTo>
                  <a:lnTo>
                    <a:pt x="2117" y="2780"/>
                  </a:lnTo>
                  <a:lnTo>
                    <a:pt x="2134" y="2824"/>
                  </a:lnTo>
                  <a:lnTo>
                    <a:pt x="2199" y="2810"/>
                  </a:lnTo>
                  <a:lnTo>
                    <a:pt x="2326" y="2798"/>
                  </a:lnTo>
                  <a:lnTo>
                    <a:pt x="2451" y="2807"/>
                  </a:lnTo>
                  <a:lnTo>
                    <a:pt x="2575" y="2836"/>
                  </a:lnTo>
                  <a:lnTo>
                    <a:pt x="2694" y="2885"/>
                  </a:lnTo>
                  <a:lnTo>
                    <a:pt x="2808" y="2952"/>
                  </a:lnTo>
                  <a:lnTo>
                    <a:pt x="2918" y="3039"/>
                  </a:lnTo>
                  <a:lnTo>
                    <a:pt x="3022" y="3144"/>
                  </a:lnTo>
                  <a:lnTo>
                    <a:pt x="3071" y="3204"/>
                  </a:lnTo>
                  <a:lnTo>
                    <a:pt x="3072" y="3203"/>
                  </a:lnTo>
                  <a:lnTo>
                    <a:pt x="3074" y="3201"/>
                  </a:lnTo>
                  <a:lnTo>
                    <a:pt x="3103" y="3179"/>
                  </a:lnTo>
                  <a:lnTo>
                    <a:pt x="3164" y="3139"/>
                  </a:lnTo>
                  <a:lnTo>
                    <a:pt x="3228" y="3107"/>
                  </a:lnTo>
                  <a:lnTo>
                    <a:pt x="3294" y="3078"/>
                  </a:lnTo>
                  <a:lnTo>
                    <a:pt x="3361" y="3057"/>
                  </a:lnTo>
                  <a:lnTo>
                    <a:pt x="3430" y="3042"/>
                  </a:lnTo>
                  <a:lnTo>
                    <a:pt x="3500" y="3034"/>
                  </a:lnTo>
                  <a:lnTo>
                    <a:pt x="3573" y="3030"/>
                  </a:lnTo>
                  <a:lnTo>
                    <a:pt x="3681" y="3038"/>
                  </a:lnTo>
                  <a:lnTo>
                    <a:pt x="3832" y="3069"/>
                  </a:lnTo>
                  <a:lnTo>
                    <a:pt x="3983" y="3125"/>
                  </a:lnTo>
                  <a:lnTo>
                    <a:pt x="4138" y="3204"/>
                  </a:lnTo>
                  <a:lnTo>
                    <a:pt x="4214" y="3254"/>
                  </a:lnTo>
                  <a:lnTo>
                    <a:pt x="4108" y="3411"/>
                  </a:lnTo>
                  <a:lnTo>
                    <a:pt x="4044" y="3370"/>
                  </a:lnTo>
                  <a:lnTo>
                    <a:pt x="3919" y="3304"/>
                  </a:lnTo>
                  <a:lnTo>
                    <a:pt x="3796" y="3257"/>
                  </a:lnTo>
                  <a:lnTo>
                    <a:pt x="3674" y="3230"/>
                  </a:lnTo>
                  <a:lnTo>
                    <a:pt x="3556" y="3222"/>
                  </a:lnTo>
                  <a:lnTo>
                    <a:pt x="3443" y="3234"/>
                  </a:lnTo>
                  <a:lnTo>
                    <a:pt x="3337" y="3266"/>
                  </a:lnTo>
                  <a:lnTo>
                    <a:pt x="3237" y="3318"/>
                  </a:lnTo>
                  <a:lnTo>
                    <a:pt x="3190" y="3352"/>
                  </a:lnTo>
                  <a:lnTo>
                    <a:pt x="3147" y="3387"/>
                  </a:lnTo>
                  <a:lnTo>
                    <a:pt x="3075" y="3466"/>
                  </a:lnTo>
                  <a:lnTo>
                    <a:pt x="3014" y="3555"/>
                  </a:lnTo>
                  <a:lnTo>
                    <a:pt x="2969" y="3654"/>
                  </a:lnTo>
                  <a:lnTo>
                    <a:pt x="2939" y="3756"/>
                  </a:lnTo>
                  <a:lnTo>
                    <a:pt x="2925" y="3862"/>
                  </a:lnTo>
                  <a:lnTo>
                    <a:pt x="2926" y="3970"/>
                  </a:lnTo>
                  <a:lnTo>
                    <a:pt x="2944" y="4075"/>
                  </a:lnTo>
                  <a:lnTo>
                    <a:pt x="2961" y="4127"/>
                  </a:lnTo>
                  <a:lnTo>
                    <a:pt x="2782" y="4190"/>
                  </a:lnTo>
                  <a:lnTo>
                    <a:pt x="2765" y="4137"/>
                  </a:lnTo>
                  <a:lnTo>
                    <a:pt x="2742" y="4027"/>
                  </a:lnTo>
                  <a:lnTo>
                    <a:pt x="2734" y="3914"/>
                  </a:lnTo>
                  <a:lnTo>
                    <a:pt x="2740" y="3801"/>
                  </a:lnTo>
                  <a:lnTo>
                    <a:pt x="2761" y="3691"/>
                  </a:lnTo>
                  <a:lnTo>
                    <a:pt x="2795" y="3582"/>
                  </a:lnTo>
                  <a:lnTo>
                    <a:pt x="2842" y="3480"/>
                  </a:lnTo>
                  <a:lnTo>
                    <a:pt x="2900" y="3383"/>
                  </a:lnTo>
                  <a:lnTo>
                    <a:pt x="2935" y="3339"/>
                  </a:lnTo>
                  <a:lnTo>
                    <a:pt x="2895" y="3287"/>
                  </a:lnTo>
                  <a:lnTo>
                    <a:pt x="2808" y="3196"/>
                  </a:lnTo>
                  <a:lnTo>
                    <a:pt x="2717" y="3121"/>
                  </a:lnTo>
                  <a:lnTo>
                    <a:pt x="2623" y="3063"/>
                  </a:lnTo>
                  <a:lnTo>
                    <a:pt x="2525" y="3021"/>
                  </a:lnTo>
                  <a:lnTo>
                    <a:pt x="2426" y="2996"/>
                  </a:lnTo>
                  <a:lnTo>
                    <a:pt x="2323" y="2989"/>
                  </a:lnTo>
                  <a:lnTo>
                    <a:pt x="2221" y="2999"/>
                  </a:lnTo>
                  <a:lnTo>
                    <a:pt x="2169" y="3011"/>
                  </a:lnTo>
                  <a:lnTo>
                    <a:pt x="2117" y="3026"/>
                  </a:lnTo>
                  <a:lnTo>
                    <a:pt x="2019" y="3072"/>
                  </a:lnTo>
                  <a:lnTo>
                    <a:pt x="1929" y="3131"/>
                  </a:lnTo>
                  <a:lnTo>
                    <a:pt x="1849" y="3204"/>
                  </a:lnTo>
                  <a:lnTo>
                    <a:pt x="1781" y="3288"/>
                  </a:lnTo>
                  <a:lnTo>
                    <a:pt x="1727" y="3380"/>
                  </a:lnTo>
                  <a:lnTo>
                    <a:pt x="1687" y="3480"/>
                  </a:lnTo>
                  <a:lnTo>
                    <a:pt x="1663" y="3585"/>
                  </a:lnTo>
                  <a:lnTo>
                    <a:pt x="1660" y="3638"/>
                  </a:lnTo>
                  <a:lnTo>
                    <a:pt x="1470" y="3629"/>
                  </a:lnTo>
                  <a:lnTo>
                    <a:pt x="1474" y="3571"/>
                  </a:lnTo>
                  <a:lnTo>
                    <a:pt x="1496" y="3458"/>
                  </a:lnTo>
                  <a:lnTo>
                    <a:pt x="1534" y="3349"/>
                  </a:lnTo>
                  <a:lnTo>
                    <a:pt x="1584" y="3245"/>
                  </a:lnTo>
                  <a:lnTo>
                    <a:pt x="1649" y="3149"/>
                  </a:lnTo>
                  <a:lnTo>
                    <a:pt x="1724" y="3063"/>
                  </a:lnTo>
                  <a:lnTo>
                    <a:pt x="1811" y="2985"/>
                  </a:lnTo>
                  <a:lnTo>
                    <a:pt x="1906" y="2919"/>
                  </a:lnTo>
                  <a:lnTo>
                    <a:pt x="1956" y="2891"/>
                  </a:lnTo>
                  <a:lnTo>
                    <a:pt x="1937" y="2840"/>
                  </a:lnTo>
                  <a:lnTo>
                    <a:pt x="1907" y="2736"/>
                  </a:lnTo>
                  <a:lnTo>
                    <a:pt x="1886" y="2635"/>
                  </a:lnTo>
                  <a:lnTo>
                    <a:pt x="1876" y="2536"/>
                  </a:lnTo>
                  <a:lnTo>
                    <a:pt x="1873" y="2440"/>
                  </a:lnTo>
                  <a:lnTo>
                    <a:pt x="1881" y="2347"/>
                  </a:lnTo>
                  <a:lnTo>
                    <a:pt x="1895" y="2258"/>
                  </a:lnTo>
                  <a:lnTo>
                    <a:pt x="1919" y="2172"/>
                  </a:lnTo>
                  <a:lnTo>
                    <a:pt x="1949" y="2090"/>
                  </a:lnTo>
                  <a:lnTo>
                    <a:pt x="1985" y="2014"/>
                  </a:lnTo>
                  <a:lnTo>
                    <a:pt x="2028" y="1941"/>
                  </a:lnTo>
                  <a:lnTo>
                    <a:pt x="2077" y="1874"/>
                  </a:lnTo>
                  <a:lnTo>
                    <a:pt x="2131" y="1812"/>
                  </a:lnTo>
                  <a:lnTo>
                    <a:pt x="2190" y="1755"/>
                  </a:lnTo>
                  <a:lnTo>
                    <a:pt x="2253" y="1704"/>
                  </a:lnTo>
                  <a:lnTo>
                    <a:pt x="2321" y="1659"/>
                  </a:lnTo>
                  <a:lnTo>
                    <a:pt x="2356" y="1639"/>
                  </a:lnTo>
                  <a:lnTo>
                    <a:pt x="2385" y="1624"/>
                  </a:lnTo>
                  <a:lnTo>
                    <a:pt x="2454" y="1594"/>
                  </a:lnTo>
                  <a:lnTo>
                    <a:pt x="2529" y="1569"/>
                  </a:lnTo>
                  <a:lnTo>
                    <a:pt x="2612" y="1549"/>
                  </a:lnTo>
                  <a:lnTo>
                    <a:pt x="2699" y="1533"/>
                  </a:lnTo>
                  <a:lnTo>
                    <a:pt x="2790" y="1524"/>
                  </a:lnTo>
                  <a:lnTo>
                    <a:pt x="2884" y="1521"/>
                  </a:lnTo>
                  <a:lnTo>
                    <a:pt x="2980" y="1527"/>
                  </a:lnTo>
                  <a:lnTo>
                    <a:pt x="3028" y="1533"/>
                  </a:lnTo>
                  <a:lnTo>
                    <a:pt x="3006" y="1471"/>
                  </a:lnTo>
                  <a:lnTo>
                    <a:pt x="2953" y="1361"/>
                  </a:lnTo>
                  <a:lnTo>
                    <a:pt x="2893" y="1264"/>
                  </a:lnTo>
                  <a:lnTo>
                    <a:pt x="2827" y="1181"/>
                  </a:lnTo>
                  <a:lnTo>
                    <a:pt x="2756" y="1111"/>
                  </a:lnTo>
                  <a:lnTo>
                    <a:pt x="2680" y="1051"/>
                  </a:lnTo>
                  <a:lnTo>
                    <a:pt x="2600" y="1003"/>
                  </a:lnTo>
                  <a:lnTo>
                    <a:pt x="2518" y="965"/>
                  </a:lnTo>
                  <a:lnTo>
                    <a:pt x="2432" y="937"/>
                  </a:lnTo>
                  <a:lnTo>
                    <a:pt x="2346" y="916"/>
                  </a:lnTo>
                  <a:lnTo>
                    <a:pt x="2218" y="898"/>
                  </a:lnTo>
                  <a:lnTo>
                    <a:pt x="2051" y="895"/>
                  </a:lnTo>
                  <a:lnTo>
                    <a:pt x="1897" y="910"/>
                  </a:lnTo>
                  <a:lnTo>
                    <a:pt x="1828" y="921"/>
                  </a:lnTo>
                  <a:lnTo>
                    <a:pt x="1669" y="950"/>
                  </a:lnTo>
                  <a:lnTo>
                    <a:pt x="1722" y="797"/>
                  </a:lnTo>
                  <a:lnTo>
                    <a:pt x="1728" y="775"/>
                  </a:lnTo>
                  <a:lnTo>
                    <a:pt x="1737" y="728"/>
                  </a:lnTo>
                  <a:lnTo>
                    <a:pt x="1740" y="654"/>
                  </a:lnTo>
                  <a:lnTo>
                    <a:pt x="1722" y="548"/>
                  </a:lnTo>
                  <a:lnTo>
                    <a:pt x="1682" y="438"/>
                  </a:lnTo>
                  <a:lnTo>
                    <a:pt x="1653" y="383"/>
                  </a:lnTo>
                  <a:lnTo>
                    <a:pt x="1632" y="348"/>
                  </a:lnTo>
                  <a:lnTo>
                    <a:pt x="1586" y="284"/>
                  </a:lnTo>
                  <a:lnTo>
                    <a:pt x="1532" y="224"/>
                  </a:lnTo>
                  <a:lnTo>
                    <a:pt x="1475" y="171"/>
                  </a:lnTo>
                  <a:lnTo>
                    <a:pt x="1412" y="124"/>
                  </a:lnTo>
                  <a:lnTo>
                    <a:pt x="1346" y="84"/>
                  </a:lnTo>
                  <a:lnTo>
                    <a:pt x="1277" y="52"/>
                  </a:lnTo>
                  <a:lnTo>
                    <a:pt x="1205" y="28"/>
                  </a:lnTo>
                  <a:lnTo>
                    <a:pt x="1168" y="19"/>
                  </a:lnTo>
                  <a:lnTo>
                    <a:pt x="1107" y="9"/>
                  </a:lnTo>
                  <a:lnTo>
                    <a:pt x="988" y="0"/>
                  </a:lnTo>
                  <a:lnTo>
                    <a:pt x="869" y="4"/>
                  </a:lnTo>
                  <a:lnTo>
                    <a:pt x="754" y="19"/>
                  </a:lnTo>
                  <a:lnTo>
                    <a:pt x="642" y="43"/>
                  </a:lnTo>
                  <a:lnTo>
                    <a:pt x="537" y="74"/>
                  </a:lnTo>
                  <a:lnTo>
                    <a:pt x="394" y="126"/>
                  </a:lnTo>
                  <a:lnTo>
                    <a:pt x="314" y="162"/>
                  </a:lnTo>
                  <a:lnTo>
                    <a:pt x="282" y="192"/>
                  </a:lnTo>
                  <a:lnTo>
                    <a:pt x="221" y="260"/>
                  </a:lnTo>
                  <a:lnTo>
                    <a:pt x="165" y="339"/>
                  </a:lnTo>
                  <a:lnTo>
                    <a:pt x="117" y="426"/>
                  </a:lnTo>
                  <a:lnTo>
                    <a:pt x="76" y="522"/>
                  </a:lnTo>
                  <a:lnTo>
                    <a:pt x="43" y="622"/>
                  </a:lnTo>
                  <a:lnTo>
                    <a:pt x="19" y="728"/>
                  </a:lnTo>
                  <a:lnTo>
                    <a:pt x="4" y="838"/>
                  </a:lnTo>
                  <a:lnTo>
                    <a:pt x="0" y="950"/>
                  </a:lnTo>
                  <a:lnTo>
                    <a:pt x="7" y="1063"/>
                  </a:lnTo>
                  <a:lnTo>
                    <a:pt x="26" y="1175"/>
                  </a:lnTo>
                  <a:lnTo>
                    <a:pt x="59" y="1287"/>
                  </a:lnTo>
                  <a:lnTo>
                    <a:pt x="104" y="1396"/>
                  </a:lnTo>
                  <a:lnTo>
                    <a:pt x="164" y="1501"/>
                  </a:lnTo>
                  <a:lnTo>
                    <a:pt x="238" y="1601"/>
                  </a:lnTo>
                  <a:lnTo>
                    <a:pt x="328" y="1694"/>
                  </a:lnTo>
                  <a:lnTo>
                    <a:pt x="382" y="1738"/>
                  </a:lnTo>
                  <a:lnTo>
                    <a:pt x="358" y="1782"/>
                  </a:lnTo>
                  <a:lnTo>
                    <a:pt x="327" y="1873"/>
                  </a:lnTo>
                  <a:lnTo>
                    <a:pt x="313" y="1963"/>
                  </a:lnTo>
                  <a:lnTo>
                    <a:pt x="314" y="2052"/>
                  </a:lnTo>
                  <a:lnTo>
                    <a:pt x="328" y="2138"/>
                  </a:lnTo>
                  <a:lnTo>
                    <a:pt x="354" y="2224"/>
                  </a:lnTo>
                  <a:lnTo>
                    <a:pt x="388" y="2306"/>
                  </a:lnTo>
                  <a:lnTo>
                    <a:pt x="431" y="2383"/>
                  </a:lnTo>
                  <a:lnTo>
                    <a:pt x="503" y="2492"/>
                  </a:lnTo>
                  <a:lnTo>
                    <a:pt x="607" y="2618"/>
                  </a:lnTo>
                  <a:lnTo>
                    <a:pt x="707" y="2716"/>
                  </a:lnTo>
                  <a:lnTo>
                    <a:pt x="786" y="2783"/>
                  </a:lnTo>
                  <a:lnTo>
                    <a:pt x="811" y="2799"/>
                  </a:lnTo>
                  <a:lnTo>
                    <a:pt x="814" y="2884"/>
                  </a:lnTo>
                  <a:lnTo>
                    <a:pt x="835" y="3046"/>
                  </a:lnTo>
                  <a:lnTo>
                    <a:pt x="871" y="3197"/>
                  </a:lnTo>
                  <a:lnTo>
                    <a:pt x="925" y="3339"/>
                  </a:lnTo>
                  <a:lnTo>
                    <a:pt x="991" y="3471"/>
                  </a:lnTo>
                  <a:lnTo>
                    <a:pt x="1067" y="3591"/>
                  </a:lnTo>
                  <a:lnTo>
                    <a:pt x="1155" y="3702"/>
                  </a:lnTo>
                  <a:lnTo>
                    <a:pt x="1250" y="3800"/>
                  </a:lnTo>
                  <a:lnTo>
                    <a:pt x="1352" y="3887"/>
                  </a:lnTo>
                  <a:lnTo>
                    <a:pt x="1459" y="3962"/>
                  </a:lnTo>
                  <a:lnTo>
                    <a:pt x="1569" y="4026"/>
                  </a:lnTo>
                  <a:lnTo>
                    <a:pt x="1680" y="4076"/>
                  </a:lnTo>
                  <a:lnTo>
                    <a:pt x="1790" y="4114"/>
                  </a:lnTo>
                  <a:lnTo>
                    <a:pt x="1899" y="4138"/>
                  </a:lnTo>
                  <a:lnTo>
                    <a:pt x="2004" y="4150"/>
                  </a:lnTo>
                  <a:lnTo>
                    <a:pt x="2104" y="4147"/>
                  </a:lnTo>
                  <a:lnTo>
                    <a:pt x="2151" y="4140"/>
                  </a:lnTo>
                  <a:lnTo>
                    <a:pt x="2174" y="4182"/>
                  </a:lnTo>
                  <a:lnTo>
                    <a:pt x="2230" y="4267"/>
                  </a:lnTo>
                  <a:lnTo>
                    <a:pt x="2293" y="4346"/>
                  </a:lnTo>
                  <a:lnTo>
                    <a:pt x="2366" y="4421"/>
                  </a:lnTo>
                  <a:lnTo>
                    <a:pt x="2445" y="4492"/>
                  </a:lnTo>
                  <a:lnTo>
                    <a:pt x="2532" y="4560"/>
                  </a:lnTo>
                  <a:lnTo>
                    <a:pt x="2625" y="4620"/>
                  </a:lnTo>
                  <a:lnTo>
                    <a:pt x="2722" y="4678"/>
                  </a:lnTo>
                  <a:lnTo>
                    <a:pt x="2826" y="4728"/>
                  </a:lnTo>
                  <a:lnTo>
                    <a:pt x="2932" y="4772"/>
                  </a:lnTo>
                  <a:lnTo>
                    <a:pt x="3042" y="4810"/>
                  </a:lnTo>
                  <a:lnTo>
                    <a:pt x="3155" y="4841"/>
                  </a:lnTo>
                  <a:lnTo>
                    <a:pt x="3269" y="4865"/>
                  </a:lnTo>
                  <a:lnTo>
                    <a:pt x="3386" y="4882"/>
                  </a:lnTo>
                  <a:lnTo>
                    <a:pt x="3501" y="4890"/>
                  </a:lnTo>
                  <a:lnTo>
                    <a:pt x="3618" y="4891"/>
                  </a:lnTo>
                  <a:lnTo>
                    <a:pt x="3732" y="4884"/>
                  </a:lnTo>
                  <a:lnTo>
                    <a:pt x="3845" y="4867"/>
                  </a:lnTo>
                  <a:lnTo>
                    <a:pt x="3955" y="4841"/>
                  </a:lnTo>
                  <a:lnTo>
                    <a:pt x="4063" y="4806"/>
                  </a:lnTo>
                  <a:lnTo>
                    <a:pt x="4166" y="4760"/>
                  </a:lnTo>
                  <a:lnTo>
                    <a:pt x="4265" y="4705"/>
                  </a:lnTo>
                  <a:lnTo>
                    <a:pt x="4358" y="4639"/>
                  </a:lnTo>
                  <a:lnTo>
                    <a:pt x="4445" y="4561"/>
                  </a:lnTo>
                  <a:lnTo>
                    <a:pt x="4525" y="4473"/>
                  </a:lnTo>
                  <a:lnTo>
                    <a:pt x="4598" y="4373"/>
                  </a:lnTo>
                  <a:lnTo>
                    <a:pt x="4663" y="4260"/>
                  </a:lnTo>
                  <a:lnTo>
                    <a:pt x="4718" y="4136"/>
                  </a:lnTo>
                  <a:lnTo>
                    <a:pt x="4765" y="3998"/>
                  </a:lnTo>
                  <a:lnTo>
                    <a:pt x="4800" y="3848"/>
                  </a:lnTo>
                  <a:lnTo>
                    <a:pt x="4825" y="3685"/>
                  </a:lnTo>
                  <a:lnTo>
                    <a:pt x="4838" y="3507"/>
                  </a:lnTo>
                  <a:lnTo>
                    <a:pt x="4838" y="3412"/>
                  </a:lnTo>
                  <a:lnTo>
                    <a:pt x="4838" y="1073"/>
                  </a:lnTo>
                  <a:lnTo>
                    <a:pt x="4778" y="1039"/>
                  </a:lnTo>
                  <a:lnTo>
                    <a:pt x="4656" y="984"/>
                  </a:lnTo>
                  <a:lnTo>
                    <a:pt x="4533" y="942"/>
                  </a:lnTo>
                  <a:lnTo>
                    <a:pt x="4409" y="915"/>
                  </a:lnTo>
                  <a:lnTo>
                    <a:pt x="4285" y="903"/>
                  </a:lnTo>
                  <a:lnTo>
                    <a:pt x="4164" y="906"/>
                  </a:lnTo>
                  <a:lnTo>
                    <a:pt x="4043" y="923"/>
                  </a:lnTo>
                  <a:lnTo>
                    <a:pt x="3925" y="956"/>
                  </a:lnTo>
                  <a:lnTo>
                    <a:pt x="3868" y="98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4" name="TextBox 13">
            <a:extLst>
              <a:ext uri="{FF2B5EF4-FFF2-40B4-BE49-F238E27FC236}">
                <a16:creationId xmlns:a16="http://schemas.microsoft.com/office/drawing/2014/main" id="{62817706-A51A-4D85-BECA-6224122D6AC4}"/>
              </a:ext>
            </a:extLst>
          </p:cNvPr>
          <p:cNvSpPr txBox="1"/>
          <p:nvPr/>
        </p:nvSpPr>
        <p:spPr>
          <a:xfrm>
            <a:off x="1728442" y="1694646"/>
            <a:ext cx="1551067" cy="461665"/>
          </a:xfrm>
          <a:prstGeom prst="rect">
            <a:avLst/>
          </a:prstGeom>
          <a:noFill/>
        </p:spPr>
        <p:txBody>
          <a:bodyPr wrap="none" rtlCol="0" anchor="ctr">
            <a:spAutoFit/>
          </a:bodyPr>
          <a:lstStyle/>
          <a:p>
            <a:pPr algn="r"/>
            <a:r>
              <a:rPr lang="en-US" sz="2400" b="1" dirty="0">
                <a:solidFill>
                  <a:schemeClr val="accent3"/>
                </a:solidFill>
              </a:rPr>
              <a:t>Trainings</a:t>
            </a:r>
          </a:p>
        </p:txBody>
      </p:sp>
      <p:sp>
        <p:nvSpPr>
          <p:cNvPr id="15" name="TextBox 14">
            <a:extLst>
              <a:ext uri="{FF2B5EF4-FFF2-40B4-BE49-F238E27FC236}">
                <a16:creationId xmlns:a16="http://schemas.microsoft.com/office/drawing/2014/main" id="{EFB437EE-2B0F-402B-AF30-EC127DD68A18}"/>
              </a:ext>
            </a:extLst>
          </p:cNvPr>
          <p:cNvSpPr txBox="1"/>
          <p:nvPr/>
        </p:nvSpPr>
        <p:spPr>
          <a:xfrm>
            <a:off x="-108680" y="3675560"/>
            <a:ext cx="3255250" cy="830997"/>
          </a:xfrm>
          <a:prstGeom prst="rect">
            <a:avLst/>
          </a:prstGeom>
          <a:noFill/>
        </p:spPr>
        <p:txBody>
          <a:bodyPr wrap="none" rtlCol="0" anchor="ctr">
            <a:spAutoFit/>
          </a:bodyPr>
          <a:lstStyle/>
          <a:p>
            <a:pPr algn="ctr"/>
            <a:r>
              <a:rPr lang="en-US" sz="2400" b="1" dirty="0" smtClean="0">
                <a:solidFill>
                  <a:schemeClr val="accent3"/>
                </a:solidFill>
              </a:rPr>
              <a:t>Tier2/</a:t>
            </a:r>
          </a:p>
          <a:p>
            <a:pPr algn="ctr"/>
            <a:r>
              <a:rPr lang="en-US" sz="2400" b="1" dirty="0" smtClean="0">
                <a:solidFill>
                  <a:schemeClr val="accent3"/>
                </a:solidFill>
              </a:rPr>
              <a:t>Wet Processing Mills</a:t>
            </a:r>
            <a:endParaRPr lang="en-US" sz="2400" b="1" dirty="0">
              <a:solidFill>
                <a:schemeClr val="accent3"/>
              </a:solidFill>
            </a:endParaRPr>
          </a:p>
        </p:txBody>
      </p:sp>
      <p:sp>
        <p:nvSpPr>
          <p:cNvPr id="19" name="TextBox 18">
            <a:extLst>
              <a:ext uri="{FF2B5EF4-FFF2-40B4-BE49-F238E27FC236}">
                <a16:creationId xmlns:a16="http://schemas.microsoft.com/office/drawing/2014/main" id="{C965E347-F691-49A8-856F-F9EEA6E0A09A}"/>
              </a:ext>
            </a:extLst>
          </p:cNvPr>
          <p:cNvSpPr txBox="1"/>
          <p:nvPr/>
        </p:nvSpPr>
        <p:spPr>
          <a:xfrm>
            <a:off x="-2010" y="5691077"/>
            <a:ext cx="3262432" cy="461665"/>
          </a:xfrm>
          <a:prstGeom prst="rect">
            <a:avLst/>
          </a:prstGeom>
          <a:noFill/>
        </p:spPr>
        <p:txBody>
          <a:bodyPr wrap="none" rtlCol="0" anchor="ctr">
            <a:spAutoFit/>
          </a:bodyPr>
          <a:lstStyle/>
          <a:p>
            <a:pPr algn="r"/>
            <a:r>
              <a:rPr lang="en-US" sz="2400" b="1" dirty="0" smtClean="0">
                <a:solidFill>
                  <a:schemeClr val="accent3"/>
                </a:solidFill>
              </a:rPr>
              <a:t>Chemical Formulator</a:t>
            </a:r>
          </a:p>
        </p:txBody>
      </p:sp>
      <p:sp>
        <p:nvSpPr>
          <p:cNvPr id="21" name="TextBox 20">
            <a:extLst>
              <a:ext uri="{FF2B5EF4-FFF2-40B4-BE49-F238E27FC236}">
                <a16:creationId xmlns:a16="http://schemas.microsoft.com/office/drawing/2014/main" id="{6E157FFF-A4E3-44B5-8B46-7C1D8E4DE914}"/>
              </a:ext>
            </a:extLst>
          </p:cNvPr>
          <p:cNvSpPr txBox="1"/>
          <p:nvPr/>
        </p:nvSpPr>
        <p:spPr>
          <a:xfrm>
            <a:off x="6836587" y="1030960"/>
            <a:ext cx="2007281" cy="707886"/>
          </a:xfrm>
          <a:prstGeom prst="rect">
            <a:avLst/>
          </a:prstGeom>
          <a:noFill/>
        </p:spPr>
        <p:txBody>
          <a:bodyPr wrap="none" rtlCol="0" anchor="ctr">
            <a:spAutoFit/>
          </a:bodyPr>
          <a:lstStyle/>
          <a:p>
            <a:pPr algn="ctr"/>
            <a:r>
              <a:rPr lang="en-US" sz="2000" b="1" dirty="0" smtClean="0">
                <a:solidFill>
                  <a:schemeClr val="accent4"/>
                </a:solidFill>
              </a:rPr>
              <a:t>Brand/Retailer </a:t>
            </a:r>
          </a:p>
          <a:p>
            <a:pPr algn="ctr"/>
            <a:r>
              <a:rPr lang="en-US" sz="2000" b="1" dirty="0" smtClean="0">
                <a:solidFill>
                  <a:schemeClr val="accent4"/>
                </a:solidFill>
              </a:rPr>
              <a:t>Commitment</a:t>
            </a:r>
            <a:endParaRPr lang="en-US" sz="2000" b="1" dirty="0">
              <a:solidFill>
                <a:schemeClr val="accent4"/>
              </a:solidFill>
            </a:endParaRPr>
          </a:p>
        </p:txBody>
      </p:sp>
      <p:sp>
        <p:nvSpPr>
          <p:cNvPr id="24" name="TextBox 23">
            <a:extLst>
              <a:ext uri="{FF2B5EF4-FFF2-40B4-BE49-F238E27FC236}">
                <a16:creationId xmlns:a16="http://schemas.microsoft.com/office/drawing/2014/main" id="{CD36D977-858F-4CFF-B227-81FD055F67B1}"/>
              </a:ext>
            </a:extLst>
          </p:cNvPr>
          <p:cNvSpPr txBox="1"/>
          <p:nvPr/>
        </p:nvSpPr>
        <p:spPr>
          <a:xfrm>
            <a:off x="9615124" y="2591550"/>
            <a:ext cx="2715807" cy="830997"/>
          </a:xfrm>
          <a:prstGeom prst="rect">
            <a:avLst/>
          </a:prstGeom>
          <a:noFill/>
        </p:spPr>
        <p:txBody>
          <a:bodyPr wrap="none" rtlCol="0" anchor="ctr">
            <a:spAutoFit/>
          </a:bodyPr>
          <a:lstStyle/>
          <a:p>
            <a:pPr algn="ctr"/>
            <a:r>
              <a:rPr lang="en-US" sz="2400" b="1" dirty="0" smtClean="0">
                <a:solidFill>
                  <a:schemeClr val="accent4"/>
                </a:solidFill>
              </a:rPr>
              <a:t>Product/Process </a:t>
            </a:r>
          </a:p>
          <a:p>
            <a:pPr algn="ctr"/>
            <a:r>
              <a:rPr lang="en-US" sz="2400" b="1" dirty="0" smtClean="0">
                <a:solidFill>
                  <a:schemeClr val="accent4"/>
                </a:solidFill>
              </a:rPr>
              <a:t>Assessment</a:t>
            </a:r>
            <a:endParaRPr lang="en-US" sz="2400" b="1" dirty="0">
              <a:solidFill>
                <a:schemeClr val="accent4"/>
              </a:solidFill>
            </a:endParaRPr>
          </a:p>
        </p:txBody>
      </p:sp>
      <p:sp>
        <p:nvSpPr>
          <p:cNvPr id="26" name="TextBox 25">
            <a:extLst>
              <a:ext uri="{FF2B5EF4-FFF2-40B4-BE49-F238E27FC236}">
                <a16:creationId xmlns:a16="http://schemas.microsoft.com/office/drawing/2014/main" id="{90B1BB8B-B259-4A38-AB3E-6C088CD1EC8D}"/>
              </a:ext>
            </a:extLst>
          </p:cNvPr>
          <p:cNvSpPr txBox="1"/>
          <p:nvPr/>
        </p:nvSpPr>
        <p:spPr>
          <a:xfrm>
            <a:off x="10336382" y="4826435"/>
            <a:ext cx="2010166" cy="830997"/>
          </a:xfrm>
          <a:prstGeom prst="rect">
            <a:avLst/>
          </a:prstGeom>
          <a:noFill/>
        </p:spPr>
        <p:txBody>
          <a:bodyPr wrap="none" rtlCol="0" anchor="ctr">
            <a:spAutoFit/>
          </a:bodyPr>
          <a:lstStyle/>
          <a:p>
            <a:pPr algn="ctr"/>
            <a:r>
              <a:rPr lang="en-US" sz="2400" b="1" dirty="0" err="1" smtClean="0">
                <a:solidFill>
                  <a:schemeClr val="accent1"/>
                </a:solidFill>
              </a:rPr>
              <a:t>WasteWater</a:t>
            </a:r>
            <a:r>
              <a:rPr lang="en-US" sz="2400" b="1" dirty="0" smtClean="0">
                <a:solidFill>
                  <a:schemeClr val="accent1"/>
                </a:solidFill>
              </a:rPr>
              <a:t> </a:t>
            </a:r>
          </a:p>
          <a:p>
            <a:pPr algn="ctr"/>
            <a:r>
              <a:rPr lang="en-US" sz="2400" b="1" dirty="0" smtClean="0">
                <a:solidFill>
                  <a:schemeClr val="accent1"/>
                </a:solidFill>
              </a:rPr>
              <a:t>Parameters</a:t>
            </a:r>
            <a:endParaRPr lang="en-US" sz="2400" b="1" dirty="0">
              <a:solidFill>
                <a:schemeClr val="accent1"/>
              </a:solidFill>
            </a:endParaRPr>
          </a:p>
        </p:txBody>
      </p:sp>
      <p:pic>
        <p:nvPicPr>
          <p:cNvPr id="28" name="Picture 27"/>
          <p:cNvPicPr>
            <a:picLocks noChangeAspect="1"/>
          </p:cNvPicPr>
          <p:nvPr/>
        </p:nvPicPr>
        <p:blipFill>
          <a:blip r:embed="rId17"/>
          <a:stretch>
            <a:fillRect/>
          </a:stretch>
        </p:blipFill>
        <p:spPr>
          <a:xfrm>
            <a:off x="10113509" y="1352708"/>
            <a:ext cx="1838199" cy="586988"/>
          </a:xfrm>
          <a:prstGeom prst="rect">
            <a:avLst/>
          </a:prstGeom>
        </p:spPr>
      </p:pic>
      <p:pic>
        <p:nvPicPr>
          <p:cNvPr id="29" name="Picture 28"/>
          <p:cNvPicPr>
            <a:picLocks noChangeAspect="1"/>
          </p:cNvPicPr>
          <p:nvPr/>
        </p:nvPicPr>
        <p:blipFill>
          <a:blip r:embed="rId18"/>
          <a:stretch>
            <a:fillRect/>
          </a:stretch>
        </p:blipFill>
        <p:spPr>
          <a:xfrm>
            <a:off x="933353" y="2638555"/>
            <a:ext cx="1228725" cy="1095375"/>
          </a:xfrm>
          <a:prstGeom prst="rect">
            <a:avLst/>
          </a:prstGeom>
        </p:spPr>
      </p:pic>
      <p:pic>
        <p:nvPicPr>
          <p:cNvPr id="30" name="Picture 29"/>
          <p:cNvPicPr>
            <a:picLocks noChangeAspect="1"/>
          </p:cNvPicPr>
          <p:nvPr/>
        </p:nvPicPr>
        <p:blipFill>
          <a:blip r:embed="rId19"/>
          <a:stretch>
            <a:fillRect/>
          </a:stretch>
        </p:blipFill>
        <p:spPr>
          <a:xfrm>
            <a:off x="1977706" y="800545"/>
            <a:ext cx="1052541" cy="937419"/>
          </a:xfrm>
          <a:prstGeom prst="rect">
            <a:avLst/>
          </a:prstGeom>
        </p:spPr>
      </p:pic>
      <p:pic>
        <p:nvPicPr>
          <p:cNvPr id="31" name="Picture 30"/>
          <p:cNvPicPr>
            <a:picLocks noChangeAspect="1"/>
          </p:cNvPicPr>
          <p:nvPr/>
        </p:nvPicPr>
        <p:blipFill>
          <a:blip r:embed="rId20"/>
          <a:stretch>
            <a:fillRect/>
          </a:stretch>
        </p:blipFill>
        <p:spPr>
          <a:xfrm>
            <a:off x="910486" y="4574410"/>
            <a:ext cx="1282255" cy="1141862"/>
          </a:xfrm>
          <a:prstGeom prst="rect">
            <a:avLst/>
          </a:prstGeom>
        </p:spPr>
      </p:pic>
      <p:pic>
        <p:nvPicPr>
          <p:cNvPr id="33" name="Picture 32"/>
          <p:cNvPicPr>
            <a:picLocks noChangeAspect="1"/>
          </p:cNvPicPr>
          <p:nvPr/>
        </p:nvPicPr>
        <p:blipFill>
          <a:blip r:embed="rId21"/>
          <a:stretch>
            <a:fillRect/>
          </a:stretch>
        </p:blipFill>
        <p:spPr>
          <a:xfrm>
            <a:off x="7838442" y="5202764"/>
            <a:ext cx="926650" cy="978130"/>
          </a:xfrm>
          <a:prstGeom prst="rect">
            <a:avLst/>
          </a:prstGeom>
        </p:spPr>
      </p:pic>
      <p:pic>
        <p:nvPicPr>
          <p:cNvPr id="34" name="Picture 33"/>
          <p:cNvPicPr>
            <a:picLocks noChangeAspect="1"/>
          </p:cNvPicPr>
          <p:nvPr/>
        </p:nvPicPr>
        <p:blipFill>
          <a:blip r:embed="rId22"/>
          <a:stretch>
            <a:fillRect/>
          </a:stretch>
        </p:blipFill>
        <p:spPr>
          <a:xfrm>
            <a:off x="9231496" y="4104669"/>
            <a:ext cx="1132288" cy="849216"/>
          </a:xfrm>
          <a:prstGeom prst="rect">
            <a:avLst/>
          </a:prstGeom>
        </p:spPr>
      </p:pic>
      <p:sp>
        <p:nvSpPr>
          <p:cNvPr id="35" name="TextBox 34">
            <a:extLst>
              <a:ext uri="{FF2B5EF4-FFF2-40B4-BE49-F238E27FC236}">
                <a16:creationId xmlns:a16="http://schemas.microsoft.com/office/drawing/2014/main" id="{DE93BF55-DB48-43F7-999D-08AE6BF29AD4}"/>
              </a:ext>
            </a:extLst>
          </p:cNvPr>
          <p:cNvSpPr txBox="1"/>
          <p:nvPr/>
        </p:nvSpPr>
        <p:spPr>
          <a:xfrm>
            <a:off x="7174696" y="6056214"/>
            <a:ext cx="2254143" cy="830997"/>
          </a:xfrm>
          <a:prstGeom prst="rect">
            <a:avLst/>
          </a:prstGeom>
          <a:noFill/>
        </p:spPr>
        <p:txBody>
          <a:bodyPr wrap="none" rtlCol="0" anchor="ctr">
            <a:spAutoFit/>
          </a:bodyPr>
          <a:lstStyle/>
          <a:p>
            <a:pPr algn="ctr"/>
            <a:r>
              <a:rPr lang="en-US" sz="2400" b="1" dirty="0" smtClean="0">
                <a:solidFill>
                  <a:schemeClr val="accent1"/>
                </a:solidFill>
              </a:rPr>
              <a:t>Conformance </a:t>
            </a:r>
          </a:p>
          <a:p>
            <a:pPr algn="ctr"/>
            <a:r>
              <a:rPr lang="en-US" sz="2400" b="1" dirty="0" smtClean="0">
                <a:solidFill>
                  <a:schemeClr val="accent1"/>
                </a:solidFill>
              </a:rPr>
              <a:t>Guidance</a:t>
            </a:r>
            <a:endParaRPr lang="en-US" sz="2400" b="1" dirty="0">
              <a:solidFill>
                <a:schemeClr val="accent1"/>
              </a:solidFill>
            </a:endParaRPr>
          </a:p>
        </p:txBody>
      </p:sp>
      <p:pic>
        <p:nvPicPr>
          <p:cNvPr id="36" name="Picture 35"/>
          <p:cNvPicPr>
            <a:picLocks noChangeAspect="1"/>
          </p:cNvPicPr>
          <p:nvPr/>
        </p:nvPicPr>
        <p:blipFill>
          <a:blip r:embed="rId23"/>
          <a:stretch>
            <a:fillRect/>
          </a:stretch>
        </p:blipFill>
        <p:spPr>
          <a:xfrm>
            <a:off x="10602230" y="3317369"/>
            <a:ext cx="867290" cy="1017398"/>
          </a:xfrm>
          <a:prstGeom prst="rect">
            <a:avLst/>
          </a:prstGeom>
        </p:spPr>
      </p:pic>
      <p:grpSp>
        <p:nvGrpSpPr>
          <p:cNvPr id="37" name="Office">
            <a:extLst>
              <a:ext uri="{FF2B5EF4-FFF2-40B4-BE49-F238E27FC236}">
                <a16:creationId xmlns:a16="http://schemas.microsoft.com/office/drawing/2014/main" id="{8DF8482D-D529-4C6F-83E1-BA803B0F758F}"/>
              </a:ext>
            </a:extLst>
          </p:cNvPr>
          <p:cNvGrpSpPr>
            <a:grpSpLocks noChangeAspect="1"/>
          </p:cNvGrpSpPr>
          <p:nvPr>
            <p:custDataLst>
              <p:tags r:id="rId1"/>
            </p:custDataLst>
          </p:nvPr>
        </p:nvGrpSpPr>
        <p:grpSpPr>
          <a:xfrm>
            <a:off x="8765092" y="622996"/>
            <a:ext cx="871900" cy="813101"/>
            <a:chOff x="6599238" y="4005263"/>
            <a:chExt cx="1816100" cy="1847850"/>
          </a:xfrm>
          <a:solidFill>
            <a:schemeClr val="tx2"/>
          </a:solidFill>
        </p:grpSpPr>
        <p:sp>
          <p:nvSpPr>
            <p:cNvPr id="38" name="Rectangle 199">
              <a:extLst>
                <a:ext uri="{FF2B5EF4-FFF2-40B4-BE49-F238E27FC236}">
                  <a16:creationId xmlns:a16="http://schemas.microsoft.com/office/drawing/2014/main" id="{962330AE-A360-4F2F-AD0B-276666F5B58B}"/>
                </a:ext>
              </a:extLst>
            </p:cNvPr>
            <p:cNvSpPr>
              <a:spLocks noChangeArrowheads="1"/>
            </p:cNvSpPr>
            <p:nvPr>
              <p:custDataLst>
                <p:tags r:id="rId2"/>
              </p:custDataLst>
            </p:nvPr>
          </p:nvSpPr>
          <p:spPr bwMode="auto">
            <a:xfrm>
              <a:off x="6904038" y="4310063"/>
              <a:ext cx="157163" cy="1460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9" name="Rectangle 200">
              <a:extLst>
                <a:ext uri="{FF2B5EF4-FFF2-40B4-BE49-F238E27FC236}">
                  <a16:creationId xmlns:a16="http://schemas.microsoft.com/office/drawing/2014/main" id="{32E52D0D-0FD1-4C37-86CA-CE50CC23D05F}"/>
                </a:ext>
              </a:extLst>
            </p:cNvPr>
            <p:cNvSpPr>
              <a:spLocks noChangeArrowheads="1"/>
            </p:cNvSpPr>
            <p:nvPr>
              <p:custDataLst>
                <p:tags r:id="rId3"/>
              </p:custDataLst>
            </p:nvPr>
          </p:nvSpPr>
          <p:spPr bwMode="auto">
            <a:xfrm>
              <a:off x="7208838" y="4310063"/>
              <a:ext cx="146050" cy="1460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 name="Rectangle 201">
              <a:extLst>
                <a:ext uri="{FF2B5EF4-FFF2-40B4-BE49-F238E27FC236}">
                  <a16:creationId xmlns:a16="http://schemas.microsoft.com/office/drawing/2014/main" id="{80053D67-FE70-425A-83C4-126993164489}"/>
                </a:ext>
              </a:extLst>
            </p:cNvPr>
            <p:cNvSpPr>
              <a:spLocks noChangeArrowheads="1"/>
            </p:cNvSpPr>
            <p:nvPr>
              <p:custDataLst>
                <p:tags r:id="rId4"/>
              </p:custDataLst>
            </p:nvPr>
          </p:nvSpPr>
          <p:spPr bwMode="auto">
            <a:xfrm>
              <a:off x="7513638" y="4310063"/>
              <a:ext cx="146050" cy="1460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 name="Rectangle 202">
              <a:extLst>
                <a:ext uri="{FF2B5EF4-FFF2-40B4-BE49-F238E27FC236}">
                  <a16:creationId xmlns:a16="http://schemas.microsoft.com/office/drawing/2014/main" id="{EC3D5713-51CD-4690-8E8C-1505479BD257}"/>
                </a:ext>
              </a:extLst>
            </p:cNvPr>
            <p:cNvSpPr>
              <a:spLocks noChangeArrowheads="1"/>
            </p:cNvSpPr>
            <p:nvPr>
              <p:custDataLst>
                <p:tags r:id="rId5"/>
              </p:custDataLst>
            </p:nvPr>
          </p:nvSpPr>
          <p:spPr bwMode="auto">
            <a:xfrm>
              <a:off x="6904038" y="4602163"/>
              <a:ext cx="157163"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 name="Rectangle 203">
              <a:extLst>
                <a:ext uri="{FF2B5EF4-FFF2-40B4-BE49-F238E27FC236}">
                  <a16:creationId xmlns:a16="http://schemas.microsoft.com/office/drawing/2014/main" id="{5D07F51F-1375-4541-8B4A-EFF865618672}"/>
                </a:ext>
              </a:extLst>
            </p:cNvPr>
            <p:cNvSpPr>
              <a:spLocks noChangeArrowheads="1"/>
            </p:cNvSpPr>
            <p:nvPr>
              <p:custDataLst>
                <p:tags r:id="rId6"/>
              </p:custDataLst>
            </p:nvPr>
          </p:nvSpPr>
          <p:spPr bwMode="auto">
            <a:xfrm>
              <a:off x="7208838" y="4602163"/>
              <a:ext cx="146050"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 name="Rectangle 204">
              <a:extLst>
                <a:ext uri="{FF2B5EF4-FFF2-40B4-BE49-F238E27FC236}">
                  <a16:creationId xmlns:a16="http://schemas.microsoft.com/office/drawing/2014/main" id="{63AA886F-076A-47B3-B675-AFC29DFBD66C}"/>
                </a:ext>
              </a:extLst>
            </p:cNvPr>
            <p:cNvSpPr>
              <a:spLocks noChangeArrowheads="1"/>
            </p:cNvSpPr>
            <p:nvPr>
              <p:custDataLst>
                <p:tags r:id="rId7"/>
              </p:custDataLst>
            </p:nvPr>
          </p:nvSpPr>
          <p:spPr bwMode="auto">
            <a:xfrm>
              <a:off x="7513638" y="4602163"/>
              <a:ext cx="146050"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 name="Rectangle 205">
              <a:extLst>
                <a:ext uri="{FF2B5EF4-FFF2-40B4-BE49-F238E27FC236}">
                  <a16:creationId xmlns:a16="http://schemas.microsoft.com/office/drawing/2014/main" id="{FC04FF5E-A9ED-450F-9927-3935A4157131}"/>
                </a:ext>
              </a:extLst>
            </p:cNvPr>
            <p:cNvSpPr>
              <a:spLocks noChangeArrowheads="1"/>
            </p:cNvSpPr>
            <p:nvPr>
              <p:custDataLst>
                <p:tags r:id="rId8"/>
              </p:custDataLst>
            </p:nvPr>
          </p:nvSpPr>
          <p:spPr bwMode="auto">
            <a:xfrm>
              <a:off x="6904038" y="4906963"/>
              <a:ext cx="157163" cy="157163"/>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 name="Rectangle 206">
              <a:extLst>
                <a:ext uri="{FF2B5EF4-FFF2-40B4-BE49-F238E27FC236}">
                  <a16:creationId xmlns:a16="http://schemas.microsoft.com/office/drawing/2014/main" id="{90DF3FEE-13D3-482E-91DB-7C48A9D50407}"/>
                </a:ext>
              </a:extLst>
            </p:cNvPr>
            <p:cNvSpPr>
              <a:spLocks noChangeArrowheads="1"/>
            </p:cNvSpPr>
            <p:nvPr>
              <p:custDataLst>
                <p:tags r:id="rId9"/>
              </p:custDataLst>
            </p:nvPr>
          </p:nvSpPr>
          <p:spPr bwMode="auto">
            <a:xfrm>
              <a:off x="7208838" y="4906963"/>
              <a:ext cx="146050" cy="157163"/>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 name="Rectangle 207">
              <a:extLst>
                <a:ext uri="{FF2B5EF4-FFF2-40B4-BE49-F238E27FC236}">
                  <a16:creationId xmlns:a16="http://schemas.microsoft.com/office/drawing/2014/main" id="{8333E2DD-7F8F-49D1-AA8D-D026E042DACF}"/>
                </a:ext>
              </a:extLst>
            </p:cNvPr>
            <p:cNvSpPr>
              <a:spLocks noChangeArrowheads="1"/>
            </p:cNvSpPr>
            <p:nvPr>
              <p:custDataLst>
                <p:tags r:id="rId10"/>
              </p:custDataLst>
            </p:nvPr>
          </p:nvSpPr>
          <p:spPr bwMode="auto">
            <a:xfrm>
              <a:off x="7513638" y="4906963"/>
              <a:ext cx="146050" cy="157163"/>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7" name="Rectangle 208">
              <a:extLst>
                <a:ext uri="{FF2B5EF4-FFF2-40B4-BE49-F238E27FC236}">
                  <a16:creationId xmlns:a16="http://schemas.microsoft.com/office/drawing/2014/main" id="{ABA1F759-407F-4ACA-8E60-6BDE4204CF66}"/>
                </a:ext>
              </a:extLst>
            </p:cNvPr>
            <p:cNvSpPr>
              <a:spLocks noChangeArrowheads="1"/>
            </p:cNvSpPr>
            <p:nvPr>
              <p:custDataLst>
                <p:tags r:id="rId11"/>
              </p:custDataLst>
            </p:nvPr>
          </p:nvSpPr>
          <p:spPr bwMode="auto">
            <a:xfrm>
              <a:off x="6904038" y="5210176"/>
              <a:ext cx="157163"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8" name="Rectangle 209">
              <a:extLst>
                <a:ext uri="{FF2B5EF4-FFF2-40B4-BE49-F238E27FC236}">
                  <a16:creationId xmlns:a16="http://schemas.microsoft.com/office/drawing/2014/main" id="{D5C7BDC2-1133-4A02-9DB5-D372CB1A01A0}"/>
                </a:ext>
              </a:extLst>
            </p:cNvPr>
            <p:cNvSpPr>
              <a:spLocks noChangeArrowheads="1"/>
            </p:cNvSpPr>
            <p:nvPr>
              <p:custDataLst>
                <p:tags r:id="rId12"/>
              </p:custDataLst>
            </p:nvPr>
          </p:nvSpPr>
          <p:spPr bwMode="auto">
            <a:xfrm>
              <a:off x="7208838" y="5210176"/>
              <a:ext cx="146050"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9" name="Rectangle 210">
              <a:extLst>
                <a:ext uri="{FF2B5EF4-FFF2-40B4-BE49-F238E27FC236}">
                  <a16:creationId xmlns:a16="http://schemas.microsoft.com/office/drawing/2014/main" id="{B1EA3012-AC33-4BE2-AC29-EC27D87A10AB}"/>
                </a:ext>
              </a:extLst>
            </p:cNvPr>
            <p:cNvSpPr>
              <a:spLocks noChangeArrowheads="1"/>
            </p:cNvSpPr>
            <p:nvPr>
              <p:custDataLst>
                <p:tags r:id="rId13"/>
              </p:custDataLst>
            </p:nvPr>
          </p:nvSpPr>
          <p:spPr bwMode="auto">
            <a:xfrm>
              <a:off x="7513638" y="5210176"/>
              <a:ext cx="146050" cy="158750"/>
            </a:xfrm>
            <a:prstGeom prst="rect">
              <a:avLst/>
            </a:prstGeom>
            <a:grpFill/>
            <a:ln w="1270">
              <a:solidFill>
                <a:schemeClr val="tx2"/>
              </a:solidFill>
              <a:miter lim="800000"/>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11">
              <a:extLst>
                <a:ext uri="{FF2B5EF4-FFF2-40B4-BE49-F238E27FC236}">
                  <a16:creationId xmlns:a16="http://schemas.microsoft.com/office/drawing/2014/main" id="{236BE5FF-637C-436D-A191-704332DD1800}"/>
                </a:ext>
              </a:extLst>
            </p:cNvPr>
            <p:cNvSpPr>
              <a:spLocks/>
            </p:cNvSpPr>
            <p:nvPr>
              <p:custDataLst>
                <p:tags r:id="rId14"/>
              </p:custDataLst>
            </p:nvPr>
          </p:nvSpPr>
          <p:spPr bwMode="auto">
            <a:xfrm>
              <a:off x="6599238" y="4005263"/>
              <a:ext cx="1816100" cy="1847850"/>
            </a:xfrm>
            <a:custGeom>
              <a:avLst/>
              <a:gdLst>
                <a:gd name="T0" fmla="*/ 121 w 161"/>
                <a:gd name="T1" fmla="*/ 63 h 164"/>
                <a:gd name="T2" fmla="*/ 121 w 161"/>
                <a:gd name="T3" fmla="*/ 0 h 164"/>
                <a:gd name="T4" fmla="*/ 0 w 161"/>
                <a:gd name="T5" fmla="*/ 0 h 164"/>
                <a:gd name="T6" fmla="*/ 0 w 161"/>
                <a:gd name="T7" fmla="*/ 160 h 164"/>
                <a:gd name="T8" fmla="*/ 4 w 161"/>
                <a:gd name="T9" fmla="*/ 160 h 164"/>
                <a:gd name="T10" fmla="*/ 33 w 161"/>
                <a:gd name="T11" fmla="*/ 164 h 164"/>
                <a:gd name="T12" fmla="*/ 62 w 161"/>
                <a:gd name="T13" fmla="*/ 160 h 164"/>
                <a:gd name="T14" fmla="*/ 90 w 161"/>
                <a:gd name="T15" fmla="*/ 158 h 164"/>
                <a:gd name="T16" fmla="*/ 119 w 161"/>
                <a:gd name="T17" fmla="*/ 161 h 164"/>
                <a:gd name="T18" fmla="*/ 121 w 161"/>
                <a:gd name="T19" fmla="*/ 161 h 164"/>
                <a:gd name="T20" fmla="*/ 121 w 161"/>
                <a:gd name="T21" fmla="*/ 148 h 164"/>
                <a:gd name="T22" fmla="*/ 120 w 161"/>
                <a:gd name="T23" fmla="*/ 148 h 164"/>
                <a:gd name="T24" fmla="*/ 107 w 161"/>
                <a:gd name="T25" fmla="*/ 145 h 164"/>
                <a:gd name="T26" fmla="*/ 90 w 161"/>
                <a:gd name="T27" fmla="*/ 144 h 164"/>
                <a:gd name="T28" fmla="*/ 60 w 161"/>
                <a:gd name="T29" fmla="*/ 148 h 164"/>
                <a:gd name="T30" fmla="*/ 33 w 161"/>
                <a:gd name="T31" fmla="*/ 150 h 164"/>
                <a:gd name="T32" fmla="*/ 13 w 161"/>
                <a:gd name="T33" fmla="*/ 149 h 164"/>
                <a:gd name="T34" fmla="*/ 13 w 161"/>
                <a:gd name="T35" fmla="*/ 13 h 164"/>
                <a:gd name="T36" fmla="*/ 108 w 161"/>
                <a:gd name="T37" fmla="*/ 13 h 164"/>
                <a:gd name="T38" fmla="*/ 108 w 161"/>
                <a:gd name="T39" fmla="*/ 132 h 164"/>
                <a:gd name="T40" fmla="*/ 121 w 161"/>
                <a:gd name="T41" fmla="*/ 134 h 164"/>
                <a:gd name="T42" fmla="*/ 121 w 161"/>
                <a:gd name="T43" fmla="*/ 77 h 164"/>
                <a:gd name="T44" fmla="*/ 148 w 161"/>
                <a:gd name="T45" fmla="*/ 77 h 164"/>
                <a:gd name="T46" fmla="*/ 148 w 161"/>
                <a:gd name="T47" fmla="*/ 160 h 164"/>
                <a:gd name="T48" fmla="*/ 161 w 161"/>
                <a:gd name="T49" fmla="*/ 160 h 164"/>
                <a:gd name="T50" fmla="*/ 161 w 161"/>
                <a:gd name="T51" fmla="*/ 63 h 164"/>
                <a:gd name="T52" fmla="*/ 121 w 161"/>
                <a:gd name="T53" fmla="*/ 6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1" h="164">
                  <a:moveTo>
                    <a:pt x="121" y="63"/>
                  </a:moveTo>
                  <a:cubicBezTo>
                    <a:pt x="121" y="0"/>
                    <a:pt x="121" y="0"/>
                    <a:pt x="121" y="0"/>
                  </a:cubicBezTo>
                  <a:cubicBezTo>
                    <a:pt x="0" y="0"/>
                    <a:pt x="0" y="0"/>
                    <a:pt x="0" y="0"/>
                  </a:cubicBezTo>
                  <a:cubicBezTo>
                    <a:pt x="0" y="160"/>
                    <a:pt x="0" y="160"/>
                    <a:pt x="0" y="160"/>
                  </a:cubicBezTo>
                  <a:cubicBezTo>
                    <a:pt x="4" y="160"/>
                    <a:pt x="4" y="160"/>
                    <a:pt x="4" y="160"/>
                  </a:cubicBezTo>
                  <a:cubicBezTo>
                    <a:pt x="4" y="161"/>
                    <a:pt x="18" y="164"/>
                    <a:pt x="33" y="164"/>
                  </a:cubicBezTo>
                  <a:cubicBezTo>
                    <a:pt x="48" y="164"/>
                    <a:pt x="62" y="161"/>
                    <a:pt x="62" y="160"/>
                  </a:cubicBezTo>
                  <a:cubicBezTo>
                    <a:pt x="63" y="160"/>
                    <a:pt x="77" y="158"/>
                    <a:pt x="90" y="158"/>
                  </a:cubicBezTo>
                  <a:cubicBezTo>
                    <a:pt x="104" y="158"/>
                    <a:pt x="119" y="161"/>
                    <a:pt x="119" y="161"/>
                  </a:cubicBezTo>
                  <a:cubicBezTo>
                    <a:pt x="121" y="161"/>
                    <a:pt x="121" y="161"/>
                    <a:pt x="121" y="161"/>
                  </a:cubicBezTo>
                  <a:cubicBezTo>
                    <a:pt x="121" y="148"/>
                    <a:pt x="121" y="148"/>
                    <a:pt x="121" y="148"/>
                  </a:cubicBezTo>
                  <a:cubicBezTo>
                    <a:pt x="120" y="148"/>
                    <a:pt x="120" y="148"/>
                    <a:pt x="120" y="148"/>
                  </a:cubicBezTo>
                  <a:cubicBezTo>
                    <a:pt x="120" y="148"/>
                    <a:pt x="115" y="147"/>
                    <a:pt x="107" y="145"/>
                  </a:cubicBezTo>
                  <a:cubicBezTo>
                    <a:pt x="102" y="145"/>
                    <a:pt x="96" y="144"/>
                    <a:pt x="90" y="144"/>
                  </a:cubicBezTo>
                  <a:cubicBezTo>
                    <a:pt x="75" y="144"/>
                    <a:pt x="60" y="147"/>
                    <a:pt x="60" y="148"/>
                  </a:cubicBezTo>
                  <a:cubicBezTo>
                    <a:pt x="59" y="148"/>
                    <a:pt x="46" y="150"/>
                    <a:pt x="33" y="150"/>
                  </a:cubicBezTo>
                  <a:cubicBezTo>
                    <a:pt x="26" y="150"/>
                    <a:pt x="19" y="150"/>
                    <a:pt x="13" y="149"/>
                  </a:cubicBezTo>
                  <a:cubicBezTo>
                    <a:pt x="13" y="13"/>
                    <a:pt x="13" y="13"/>
                    <a:pt x="13" y="13"/>
                  </a:cubicBezTo>
                  <a:cubicBezTo>
                    <a:pt x="108" y="13"/>
                    <a:pt x="108" y="13"/>
                    <a:pt x="108" y="13"/>
                  </a:cubicBezTo>
                  <a:cubicBezTo>
                    <a:pt x="108" y="132"/>
                    <a:pt x="108" y="132"/>
                    <a:pt x="108" y="132"/>
                  </a:cubicBezTo>
                  <a:cubicBezTo>
                    <a:pt x="113" y="133"/>
                    <a:pt x="118" y="134"/>
                    <a:pt x="121" y="134"/>
                  </a:cubicBezTo>
                  <a:cubicBezTo>
                    <a:pt x="121" y="77"/>
                    <a:pt x="121" y="77"/>
                    <a:pt x="121" y="77"/>
                  </a:cubicBezTo>
                  <a:cubicBezTo>
                    <a:pt x="148" y="77"/>
                    <a:pt x="148" y="77"/>
                    <a:pt x="148" y="77"/>
                  </a:cubicBezTo>
                  <a:cubicBezTo>
                    <a:pt x="148" y="160"/>
                    <a:pt x="148" y="160"/>
                    <a:pt x="148" y="160"/>
                  </a:cubicBezTo>
                  <a:cubicBezTo>
                    <a:pt x="161" y="160"/>
                    <a:pt x="161" y="160"/>
                    <a:pt x="161" y="160"/>
                  </a:cubicBezTo>
                  <a:cubicBezTo>
                    <a:pt x="161" y="63"/>
                    <a:pt x="161" y="63"/>
                    <a:pt x="161" y="63"/>
                  </a:cubicBezTo>
                  <a:lnTo>
                    <a:pt x="121" y="63"/>
                  </a:lnTo>
                  <a:close/>
                </a:path>
              </a:pathLst>
            </a:custGeom>
            <a:grpFill/>
            <a:ln w="1270">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31747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31"/>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grpId="0" nodeType="afterEffect">
                                  <p:stCondLst>
                                    <p:cond delay="1000"/>
                                  </p:stCondLst>
                                  <p:childTnLst>
                                    <p:set>
                                      <p:cBhvr>
                                        <p:cTn id="12" dur="1" fill="hold">
                                          <p:stCondLst>
                                            <p:cond delay="0"/>
                                          </p:stCondLst>
                                        </p:cTn>
                                        <p:tgtEl>
                                          <p:spTgt spid="15"/>
                                        </p:tgtEl>
                                        <p:attrNameLst>
                                          <p:attrName>style.visibility</p:attrName>
                                        </p:attrNameLst>
                                      </p:cBhvr>
                                      <p:to>
                                        <p:strVal val="visible"/>
                                      </p:to>
                                    </p:set>
                                  </p:childTnLst>
                                </p:cTn>
                              </p:par>
                            </p:childTnLst>
                          </p:cTn>
                        </p:par>
                        <p:par>
                          <p:cTn id="13" fill="hold">
                            <p:stCondLst>
                              <p:cond delay="1250"/>
                            </p:stCondLst>
                            <p:childTnLst>
                              <p:par>
                                <p:cTn id="14" presetID="1" presetClass="entr" presetSubtype="0" fill="hold" nodeType="afterEffect">
                                  <p:stCondLst>
                                    <p:cond delay="250"/>
                                  </p:stCondLst>
                                  <p:childTnLst>
                                    <p:set>
                                      <p:cBhvr>
                                        <p:cTn id="15" dur="1" fill="hold">
                                          <p:stCondLst>
                                            <p:cond delay="0"/>
                                          </p:stCondLst>
                                        </p:cTn>
                                        <p:tgtEl>
                                          <p:spTgt spid="29"/>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grpId="0" nodeType="afterEffect">
                                  <p:stCondLst>
                                    <p:cond delay="1000"/>
                                  </p:stCondLst>
                                  <p:childTnLst>
                                    <p:set>
                                      <p:cBhvr>
                                        <p:cTn id="18" dur="1" fill="hold">
                                          <p:stCondLst>
                                            <p:cond delay="0"/>
                                          </p:stCondLst>
                                        </p:cTn>
                                        <p:tgtEl>
                                          <p:spTgt spid="14"/>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nodeType="afterEffect">
                                  <p:stCondLst>
                                    <p:cond delay="250"/>
                                  </p:stCondLst>
                                  <p:childTnLst>
                                    <p:set>
                                      <p:cBhvr>
                                        <p:cTn id="21" dur="1" fill="hold">
                                          <p:stCondLst>
                                            <p:cond delay="0"/>
                                          </p:stCondLst>
                                        </p:cTn>
                                        <p:tgtEl>
                                          <p:spTgt spid="30"/>
                                        </p:tgtEl>
                                        <p:attrNameLst>
                                          <p:attrName>style.visibility</p:attrName>
                                        </p:attrNameLst>
                                      </p:cBhvr>
                                      <p:to>
                                        <p:strVal val="visible"/>
                                      </p:to>
                                    </p:set>
                                  </p:childTnLst>
                                </p:cTn>
                              </p:par>
                            </p:childTnLst>
                          </p:cTn>
                        </p:par>
                        <p:par>
                          <p:cTn id="22" fill="hold">
                            <p:stCondLst>
                              <p:cond delay="2750"/>
                            </p:stCondLst>
                            <p:childTnLst>
                              <p:par>
                                <p:cTn id="23" presetID="1" presetClass="entr" presetSubtype="0" fill="hold" grpId="0" nodeType="afterEffect">
                                  <p:stCondLst>
                                    <p:cond delay="1000"/>
                                  </p:stCondLst>
                                  <p:childTnLst>
                                    <p:set>
                                      <p:cBhvr>
                                        <p:cTn id="24" dur="1" fill="hold">
                                          <p:stCondLst>
                                            <p:cond delay="0"/>
                                          </p:stCondLst>
                                        </p:cTn>
                                        <p:tgtEl>
                                          <p:spTgt spid="21"/>
                                        </p:tgtEl>
                                        <p:attrNameLst>
                                          <p:attrName>style.visibility</p:attrName>
                                        </p:attrNameLst>
                                      </p:cBhvr>
                                      <p:to>
                                        <p:strVal val="visible"/>
                                      </p:to>
                                    </p:set>
                                  </p:childTnLst>
                                </p:cTn>
                              </p:par>
                            </p:childTnLst>
                          </p:cTn>
                        </p:par>
                        <p:par>
                          <p:cTn id="25" fill="hold">
                            <p:stCondLst>
                              <p:cond delay="3750"/>
                            </p:stCondLst>
                            <p:childTnLst>
                              <p:par>
                                <p:cTn id="26" presetID="1" presetClass="entr" presetSubtype="0" fill="hold" nodeType="afterEffect">
                                  <p:stCondLst>
                                    <p:cond delay="250"/>
                                  </p:stCondLst>
                                  <p:childTnLst>
                                    <p:set>
                                      <p:cBhvr>
                                        <p:cTn id="27" dur="1" fill="hold">
                                          <p:stCondLst>
                                            <p:cond delay="0"/>
                                          </p:stCondLst>
                                        </p:cTn>
                                        <p:tgtEl>
                                          <p:spTgt spid="37"/>
                                        </p:tgtEl>
                                        <p:attrNameLst>
                                          <p:attrName>style.visibility</p:attrName>
                                        </p:attrNameLst>
                                      </p:cBhvr>
                                      <p:to>
                                        <p:strVal val="visible"/>
                                      </p:to>
                                    </p:set>
                                  </p:childTnLst>
                                </p:cTn>
                              </p:par>
                            </p:childTnLst>
                          </p:cTn>
                        </p:par>
                        <p:par>
                          <p:cTn id="28" fill="hold">
                            <p:stCondLst>
                              <p:cond delay="4000"/>
                            </p:stCondLst>
                            <p:childTnLst>
                              <p:par>
                                <p:cTn id="29" presetID="1" presetClass="entr" presetSubtype="0" fill="hold" nodeType="afterEffect">
                                  <p:stCondLst>
                                    <p:cond delay="1000"/>
                                  </p:stCondLst>
                                  <p:childTnLst>
                                    <p:set>
                                      <p:cBhvr>
                                        <p:cTn id="30" dur="1" fill="hold">
                                          <p:stCondLst>
                                            <p:cond delay="0"/>
                                          </p:stCondLst>
                                        </p:cTn>
                                        <p:tgtEl>
                                          <p:spTgt spid="28"/>
                                        </p:tgtEl>
                                        <p:attrNameLst>
                                          <p:attrName>style.visibility</p:attrName>
                                        </p:attrNameLst>
                                      </p:cBhvr>
                                      <p:to>
                                        <p:strVal val="visible"/>
                                      </p:to>
                                    </p:set>
                                  </p:childTnLst>
                                </p:cTn>
                              </p:par>
                            </p:childTnLst>
                          </p:cTn>
                        </p:par>
                        <p:par>
                          <p:cTn id="31" fill="hold">
                            <p:stCondLst>
                              <p:cond delay="5000"/>
                            </p:stCondLst>
                            <p:childTnLst>
                              <p:par>
                                <p:cTn id="32" presetID="1" presetClass="entr" presetSubtype="0" fill="hold" grpId="0" nodeType="afterEffect">
                                  <p:stCondLst>
                                    <p:cond delay="1000"/>
                                  </p:stCondLst>
                                  <p:childTnLst>
                                    <p:set>
                                      <p:cBhvr>
                                        <p:cTn id="33" dur="1" fill="hold">
                                          <p:stCondLst>
                                            <p:cond delay="0"/>
                                          </p:stCondLst>
                                        </p:cTn>
                                        <p:tgtEl>
                                          <p:spTgt spid="24"/>
                                        </p:tgtEl>
                                        <p:attrNameLst>
                                          <p:attrName>style.visibility</p:attrName>
                                        </p:attrNameLst>
                                      </p:cBhvr>
                                      <p:to>
                                        <p:strVal val="visible"/>
                                      </p:to>
                                    </p:set>
                                  </p:childTnLst>
                                </p:cTn>
                              </p:par>
                            </p:childTnLst>
                          </p:cTn>
                        </p:par>
                        <p:par>
                          <p:cTn id="34" fill="hold">
                            <p:stCondLst>
                              <p:cond delay="6000"/>
                            </p:stCondLst>
                            <p:childTnLst>
                              <p:par>
                                <p:cTn id="35" presetID="1" presetClass="entr" presetSubtype="0" fill="hold" nodeType="afterEffect">
                                  <p:stCondLst>
                                    <p:cond delay="250"/>
                                  </p:stCondLst>
                                  <p:childTnLst>
                                    <p:set>
                                      <p:cBhvr>
                                        <p:cTn id="36" dur="1" fill="hold">
                                          <p:stCondLst>
                                            <p:cond delay="0"/>
                                          </p:stCondLst>
                                        </p:cTn>
                                        <p:tgtEl>
                                          <p:spTgt spid="36"/>
                                        </p:tgtEl>
                                        <p:attrNameLst>
                                          <p:attrName>style.visibility</p:attrName>
                                        </p:attrNameLst>
                                      </p:cBhvr>
                                      <p:to>
                                        <p:strVal val="visible"/>
                                      </p:to>
                                    </p:set>
                                  </p:childTnLst>
                                </p:cTn>
                              </p:par>
                            </p:childTnLst>
                          </p:cTn>
                        </p:par>
                        <p:par>
                          <p:cTn id="37" fill="hold">
                            <p:stCondLst>
                              <p:cond delay="6250"/>
                            </p:stCondLst>
                            <p:childTnLst>
                              <p:par>
                                <p:cTn id="38" presetID="1" presetClass="entr" presetSubtype="0" fill="hold" grpId="0" nodeType="afterEffect">
                                  <p:stCondLst>
                                    <p:cond delay="1000"/>
                                  </p:stCondLst>
                                  <p:childTnLst>
                                    <p:set>
                                      <p:cBhvr>
                                        <p:cTn id="39" dur="1" fill="hold">
                                          <p:stCondLst>
                                            <p:cond delay="0"/>
                                          </p:stCondLst>
                                        </p:cTn>
                                        <p:tgtEl>
                                          <p:spTgt spid="26"/>
                                        </p:tgtEl>
                                        <p:attrNameLst>
                                          <p:attrName>style.visibility</p:attrName>
                                        </p:attrNameLst>
                                      </p:cBhvr>
                                      <p:to>
                                        <p:strVal val="visible"/>
                                      </p:to>
                                    </p:set>
                                  </p:childTnLst>
                                </p:cTn>
                              </p:par>
                            </p:childTnLst>
                          </p:cTn>
                        </p:par>
                        <p:par>
                          <p:cTn id="40" fill="hold">
                            <p:stCondLst>
                              <p:cond delay="7250"/>
                            </p:stCondLst>
                            <p:childTnLst>
                              <p:par>
                                <p:cTn id="41" presetID="1" presetClass="entr" presetSubtype="0" fill="hold" nodeType="afterEffect">
                                  <p:stCondLst>
                                    <p:cond delay="250"/>
                                  </p:stCondLst>
                                  <p:childTnLst>
                                    <p:set>
                                      <p:cBhvr>
                                        <p:cTn id="42" dur="1" fill="hold">
                                          <p:stCondLst>
                                            <p:cond delay="0"/>
                                          </p:stCondLst>
                                        </p:cTn>
                                        <p:tgtEl>
                                          <p:spTgt spid="34"/>
                                        </p:tgtEl>
                                        <p:attrNameLst>
                                          <p:attrName>style.visibility</p:attrName>
                                        </p:attrNameLst>
                                      </p:cBhvr>
                                      <p:to>
                                        <p:strVal val="visible"/>
                                      </p:to>
                                    </p:set>
                                  </p:childTnLst>
                                </p:cTn>
                              </p:par>
                            </p:childTnLst>
                          </p:cTn>
                        </p:par>
                        <p:par>
                          <p:cTn id="43" fill="hold">
                            <p:stCondLst>
                              <p:cond delay="7500"/>
                            </p:stCondLst>
                            <p:childTnLst>
                              <p:par>
                                <p:cTn id="44" presetID="1" presetClass="entr" presetSubtype="0" fill="hold" grpId="0" nodeType="afterEffect">
                                  <p:stCondLst>
                                    <p:cond delay="1000"/>
                                  </p:stCondLst>
                                  <p:childTnLst>
                                    <p:set>
                                      <p:cBhvr>
                                        <p:cTn id="45" dur="1" fill="hold">
                                          <p:stCondLst>
                                            <p:cond delay="0"/>
                                          </p:stCondLst>
                                        </p:cTn>
                                        <p:tgtEl>
                                          <p:spTgt spid="35"/>
                                        </p:tgtEl>
                                        <p:attrNameLst>
                                          <p:attrName>style.visibility</p:attrName>
                                        </p:attrNameLst>
                                      </p:cBhvr>
                                      <p:to>
                                        <p:strVal val="visible"/>
                                      </p:to>
                                    </p:set>
                                  </p:childTnLst>
                                </p:cTn>
                              </p:par>
                            </p:childTnLst>
                          </p:cTn>
                        </p:par>
                        <p:par>
                          <p:cTn id="46" fill="hold">
                            <p:stCondLst>
                              <p:cond delay="8500"/>
                            </p:stCondLst>
                            <p:childTnLst>
                              <p:par>
                                <p:cTn id="47" presetID="1" presetClass="entr" presetSubtype="0" fill="hold" nodeType="afterEffect">
                                  <p:stCondLst>
                                    <p:cond delay="250"/>
                                  </p:stCondLst>
                                  <p:childTnLst>
                                    <p:set>
                                      <p:cBhvr>
                                        <p:cTn id="48"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9" grpId="0"/>
      <p:bldP spid="21" grpId="0"/>
      <p:bldP spid="24" grpId="0"/>
      <p:bldP spid="26" grpId="0"/>
      <p:bldP spid="35"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Transition </a:t>
            </a:r>
            <a:r>
              <a:rPr lang="en-US" dirty="0"/>
              <a:t>to New Approach for Textile/footwear </a:t>
            </a:r>
            <a:r>
              <a:rPr lang="en-US" dirty="0" smtClean="0"/>
              <a:t>Industry</a:t>
            </a:r>
            <a:endParaRPr lang="en-US" dirty="0"/>
          </a:p>
        </p:txBody>
      </p:sp>
      <p:sp>
        <p:nvSpPr>
          <p:cNvPr id="8" name="Content Placeholder 7"/>
          <p:cNvSpPr>
            <a:spLocks noGrp="1"/>
          </p:cNvSpPr>
          <p:nvPr>
            <p:ph sz="quarter" idx="13"/>
            <p:custDataLst>
              <p:tags r:id="rId1"/>
            </p:custDataLst>
          </p:nvPr>
        </p:nvSpPr>
        <p:spPr/>
        <p:txBody>
          <a:bodyPr/>
          <a:lstStyle>
            <a:lvl1pPr marL="180000" indent="-180000" algn="l" defTabSz="1219170" rtl="0" eaLnBrk="1" latinLnBrk="0" hangingPunct="1">
              <a:buClr>
                <a:schemeClr val="tx2"/>
              </a:buClr>
              <a:buFont typeface="Wingdings" panose="05000000000000000000" pitchFamily="2" charset="2"/>
              <a:buChar char="§"/>
            </a:lvl1pPr>
            <a:lvl2pPr marL="180000" indent="-180000" algn="l" defTabSz="1219170" rtl="0" eaLnBrk="1" latinLnBrk="0" hangingPunct="1">
              <a:buClr>
                <a:schemeClr val="tx2"/>
              </a:buClr>
              <a:buFont typeface="Wingdings" panose="05000000000000000000" pitchFamily="2" charset="2"/>
              <a:buChar char="§"/>
            </a:lvl2pPr>
            <a:lvl3pPr marL="360000" indent="-180000" algn="l" defTabSz="1219170" rtl="0" eaLnBrk="1" latinLnBrk="0" hangingPunct="1">
              <a:buClr>
                <a:schemeClr val="tx1"/>
              </a:buClr>
              <a:buFont typeface="Symbol" panose="05050102010706020507" pitchFamily="18" charset="2"/>
              <a:buChar char="-"/>
            </a:lvl3pPr>
            <a:lvl4pPr marL="538163" indent="-180975" algn="l" defTabSz="1219170" rtl="0" eaLnBrk="1" latinLnBrk="0" hangingPunct="1">
              <a:buFont typeface="Symbol" panose="05050102010706020507" pitchFamily="18" charset="2"/>
              <a:buChar char="-"/>
            </a:lvl4pPr>
            <a:lvl5pPr marL="539750" indent="-180000" algn="l" defTabSz="1219170" rtl="0" eaLnBrk="1" latinLnBrk="0" hangingPunct="1">
              <a:buFont typeface="Symbol" panose="05050102010706020507" pitchFamily="18" charset="2"/>
              <a:buChar char="-"/>
            </a:lvl5pPr>
            <a:lvl6pPr marL="539750" indent="-180000" algn="l" defTabSz="1219170" rtl="0" eaLnBrk="1" latinLnBrk="0" hangingPunct="1">
              <a:buFont typeface="Symbol" pitchFamily="18" charset="2"/>
              <a:buChar char="-"/>
            </a:lvl6pPr>
            <a:lvl7pPr marL="539750" indent="-180000" algn="l" defTabSz="1219170" rtl="0" eaLnBrk="1" latinLnBrk="0" hangingPunct="1">
              <a:buFont typeface="Symbol" pitchFamily="18" charset="2"/>
              <a:buChar char="-"/>
            </a:lvl7pPr>
            <a:lvl8pPr marL="539750" indent="-180000" algn="l" defTabSz="1219170" rtl="0" eaLnBrk="1" latinLnBrk="0" hangingPunct="1">
              <a:buFont typeface="Symbol" pitchFamily="18" charset="2"/>
              <a:buChar char="-"/>
            </a:lvl8pPr>
            <a:lvl9pPr marL="539750" indent="-180000" algn="l" defTabSz="1219170" rtl="0" eaLnBrk="1" latinLnBrk="0" hangingPunct="1">
              <a:buFont typeface="Symbol" pitchFamily="18" charset="2"/>
              <a:buChar char="-"/>
            </a:lvl9pPr>
          </a:lstStyle>
          <a:p>
            <a:pPr marL="0" indent="0">
              <a:buNone/>
            </a:pPr>
            <a:r>
              <a:rPr lang="en-US" sz="1800" b="1" dirty="0"/>
              <a:t>Do you know which chemicals are considered essential for your production and what are common finding as part of a plan to ensure consistent compliance</a:t>
            </a:r>
            <a:r>
              <a:rPr lang="en-US" sz="1800" b="1" dirty="0" smtClean="0"/>
              <a:t>?</a:t>
            </a:r>
          </a:p>
          <a:p>
            <a:pPr>
              <a:buNone/>
            </a:pPr>
            <a:endParaRPr lang="en-US" sz="1800" dirty="0"/>
          </a:p>
          <a:p>
            <a:pPr marL="0" indent="0">
              <a:buNone/>
            </a:pPr>
            <a:r>
              <a:rPr lang="en-US" sz="1800" dirty="0"/>
              <a:t>Brands, </a:t>
            </a:r>
            <a:r>
              <a:rPr lang="en-US" sz="1800" dirty="0" smtClean="0"/>
              <a:t>Retailers have an increasing </a:t>
            </a:r>
            <a:r>
              <a:rPr lang="en-US" sz="1800" dirty="0"/>
              <a:t>demand </a:t>
            </a:r>
            <a:r>
              <a:rPr lang="en-US" sz="1800" dirty="0" smtClean="0"/>
              <a:t>for safer product due to shift in market for Toxic free, sustainable and environmental-friendly products.</a:t>
            </a:r>
          </a:p>
          <a:p>
            <a:pPr marL="0" indent="0">
              <a:buNone/>
            </a:pPr>
            <a:r>
              <a:rPr lang="en-US" sz="1800" dirty="0" smtClean="0"/>
              <a:t>In order to meet with these increasing demands, for example products should contain less or no harmful substances.</a:t>
            </a:r>
          </a:p>
          <a:p>
            <a:pPr marL="0" indent="0">
              <a:buNone/>
            </a:pPr>
            <a:endParaRPr lang="en-US" sz="1800" dirty="0" smtClean="0"/>
          </a:p>
          <a:p>
            <a:pPr>
              <a:buNone/>
            </a:pPr>
            <a:r>
              <a:rPr lang="en-US" sz="1800" dirty="0" smtClean="0"/>
              <a:t>Meetings this </a:t>
            </a:r>
            <a:r>
              <a:rPr lang="en-US" sz="1800" dirty="0"/>
              <a:t>basic demand </a:t>
            </a:r>
            <a:r>
              <a:rPr lang="en-US" sz="1800" dirty="0" smtClean="0"/>
              <a:t>a manufacturers </a:t>
            </a:r>
            <a:r>
              <a:rPr lang="en-US" sz="1800" dirty="0"/>
              <a:t>need to have </a:t>
            </a:r>
            <a:r>
              <a:rPr lang="en-US" sz="1800" dirty="0" smtClean="0"/>
              <a:t>robust systems </a:t>
            </a:r>
            <a:r>
              <a:rPr lang="en-US" sz="1800" dirty="0"/>
              <a:t>in place to </a:t>
            </a:r>
            <a:r>
              <a:rPr lang="en-US" sz="1800" dirty="0" smtClean="0"/>
              <a:t>allow</a:t>
            </a:r>
          </a:p>
          <a:p>
            <a:pPr>
              <a:buFont typeface="Arial" panose="020B0604020202020204" pitchFamily="34" charset="0"/>
              <a:buChar char="•"/>
            </a:pPr>
            <a:r>
              <a:rPr lang="en-US" sz="1800" dirty="0" smtClean="0"/>
              <a:t>Review,</a:t>
            </a:r>
          </a:p>
          <a:p>
            <a:pPr>
              <a:buFont typeface="Arial" panose="020B0604020202020204" pitchFamily="34" charset="0"/>
              <a:buChar char="•"/>
            </a:pPr>
            <a:r>
              <a:rPr lang="en-US" sz="1800" dirty="0" smtClean="0"/>
              <a:t>Supervision</a:t>
            </a:r>
            <a:r>
              <a:rPr lang="en-US" sz="1800" dirty="0"/>
              <a:t>,</a:t>
            </a:r>
            <a:endParaRPr lang="en-US" sz="1800" dirty="0" smtClean="0"/>
          </a:p>
          <a:p>
            <a:pPr>
              <a:buFont typeface="Arial" panose="020B0604020202020204" pitchFamily="34" charset="0"/>
              <a:buChar char="•"/>
            </a:pPr>
            <a:r>
              <a:rPr lang="en-US" sz="1800" dirty="0" smtClean="0"/>
              <a:t>Communication,</a:t>
            </a:r>
          </a:p>
          <a:p>
            <a:pPr>
              <a:buFont typeface="Arial" panose="020B0604020202020204" pitchFamily="34" charset="0"/>
              <a:buChar char="•"/>
            </a:pPr>
            <a:r>
              <a:rPr lang="en-US" sz="1800" dirty="0" smtClean="0"/>
              <a:t>Design and</a:t>
            </a:r>
          </a:p>
          <a:p>
            <a:pPr>
              <a:buFont typeface="Arial" panose="020B0604020202020204" pitchFamily="34" charset="0"/>
              <a:buChar char="•"/>
            </a:pPr>
            <a:r>
              <a:rPr lang="en-US" sz="1800" dirty="0" smtClean="0"/>
              <a:t>Manufacturing </a:t>
            </a:r>
            <a:r>
              <a:rPr lang="en-US" sz="1800" dirty="0"/>
              <a:t>of safer products</a:t>
            </a:r>
            <a:r>
              <a:rPr lang="en-US" sz="1800" dirty="0" smtClean="0"/>
              <a:t>.</a:t>
            </a:r>
            <a:endParaRPr lang="en-US" sz="1800" dirty="0"/>
          </a:p>
        </p:txBody>
      </p:sp>
      <p:sp>
        <p:nvSpPr>
          <p:cNvPr id="9" name="Text Placeholder 8"/>
          <p:cNvSpPr>
            <a:spLocks noGrp="1"/>
          </p:cNvSpPr>
          <p:nvPr>
            <p:ph type="body" sz="quarter" idx="14"/>
          </p:nvPr>
        </p:nvSpPr>
        <p:spPr/>
        <p:txBody>
          <a:bodyPr/>
          <a:lstStyle/>
          <a:p>
            <a:r>
              <a:rPr lang="en-US" dirty="0" smtClean="0"/>
              <a:t>DETOX and Possible Elimination Strategy </a:t>
            </a:r>
            <a:endParaRPr lang="en-US" dirty="0"/>
          </a:p>
        </p:txBody>
      </p:sp>
      <p:cxnSp>
        <p:nvCxnSpPr>
          <p:cNvPr id="6" name="Straight Connector 5"/>
          <p:cNvCxnSpPr/>
          <p:nvPr/>
        </p:nvCxnSpPr>
        <p:spPr>
          <a:xfrm>
            <a:off x="550486" y="2349644"/>
            <a:ext cx="4752610" cy="0"/>
          </a:xfrm>
          <a:prstGeom prst="line">
            <a:avLst/>
          </a:prstGeom>
          <a:ln w="19050">
            <a:solidFill>
              <a:srgbClr val="0071B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00820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58727" y="280604"/>
            <a:ext cx="11225338" cy="830997"/>
          </a:xfrm>
          <a:prstGeom prst="rect">
            <a:avLst/>
          </a:prstGeom>
          <a:noFill/>
        </p:spPr>
        <p:txBody>
          <a:bodyPr wrap="square" rtlCol="0">
            <a:spAutoFit/>
          </a:bodyPr>
          <a:lstStyle/>
          <a:p>
            <a:r>
              <a:rPr lang="en-US" b="1" dirty="0">
                <a:solidFill>
                  <a:srgbClr val="0071B9"/>
                </a:solidFill>
                <a:ea typeface="Arial" charset="0"/>
                <a:cs typeface="Arial" charset="0"/>
              </a:rPr>
              <a:t>ZDHC </a:t>
            </a:r>
            <a:r>
              <a:rPr lang="en-US" dirty="0">
                <a:solidFill>
                  <a:srgbClr val="0071B9"/>
                </a:solidFill>
                <a:ea typeface="Arial" charset="0"/>
                <a:cs typeface="Arial" charset="0"/>
              </a:rPr>
              <a:t>Roadmap to Zero Programme: A holistic approach</a:t>
            </a:r>
            <a:r>
              <a:rPr lang="en-GB" dirty="0">
                <a:solidFill>
                  <a:srgbClr val="0071B9"/>
                </a:solidFill>
                <a:ea typeface="Arial" charset="0"/>
                <a:cs typeface="Arial" charset="0"/>
              </a:rPr>
              <a:t> to sustainable chemical management</a:t>
            </a:r>
            <a:endParaRPr lang="ru-RU" dirty="0">
              <a:solidFill>
                <a:srgbClr val="0071B9"/>
              </a:solidFill>
              <a:ea typeface="Arial" charset="0"/>
              <a:cs typeface="Arial" charset="0"/>
            </a:endParaRPr>
          </a:p>
        </p:txBody>
      </p:sp>
      <p:pic>
        <p:nvPicPr>
          <p:cNvPr id="11" name="Picture 10">
            <a:extLst>
              <a:ext uri="{FF2B5EF4-FFF2-40B4-BE49-F238E27FC236}">
                <a16:creationId xmlns:a16="http://schemas.microsoft.com/office/drawing/2014/main" id="{9E956C8E-C24E-404F-8A47-6D9D04F7AACE}"/>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71421" y="1702819"/>
            <a:ext cx="9142809" cy="4851905"/>
          </a:xfrm>
          <a:prstGeom prst="rect">
            <a:avLst/>
          </a:prstGeom>
          <a:ln w="12700">
            <a:solidFill>
              <a:schemeClr val="accent1"/>
            </a:solidFill>
          </a:ln>
        </p:spPr>
      </p:pic>
    </p:spTree>
    <p:extLst>
      <p:ext uri="{BB962C8B-B14F-4D97-AF65-F5344CB8AC3E}">
        <p14:creationId xmlns:p14="http://schemas.microsoft.com/office/powerpoint/2010/main" val="3662771788"/>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TW" dirty="0" smtClean="0"/>
              <a:t>Our Motivation : Weaving a safe future</a:t>
            </a:r>
            <a:endParaRPr lang="zh-TW" altLang="en-US" dirty="0"/>
          </a:p>
        </p:txBody>
      </p:sp>
      <p:sp>
        <p:nvSpPr>
          <p:cNvPr id="7" name="Content Placeholder 6"/>
          <p:cNvSpPr>
            <a:spLocks noGrp="1"/>
          </p:cNvSpPr>
          <p:nvPr>
            <p:ph sz="quarter" idx="15"/>
          </p:nvPr>
        </p:nvSpPr>
        <p:spPr/>
        <p:txBody>
          <a:bodyPr/>
          <a:lstStyle/>
          <a:p>
            <a:pPr marL="0" indent="0">
              <a:buNone/>
            </a:pPr>
            <a:endParaRPr lang="en-US" altLang="zh-TW" dirty="0" smtClean="0"/>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endParaRPr lang="en-US" altLang="zh-TW" dirty="0" smtClean="0"/>
          </a:p>
          <a:p>
            <a:pPr marL="0" indent="0">
              <a:buNone/>
            </a:pPr>
            <a:endParaRPr lang="en-US" altLang="zh-TW" dirty="0"/>
          </a:p>
          <a:p>
            <a:pPr marL="0" indent="0">
              <a:buNone/>
            </a:pPr>
            <a:endParaRPr lang="en-US" altLang="zh-TW" dirty="0" smtClean="0"/>
          </a:p>
          <a:p>
            <a:pPr marL="0" indent="0">
              <a:buNone/>
            </a:pPr>
            <a:r>
              <a:rPr lang="en-US" altLang="zh-TW" dirty="0" smtClean="0"/>
              <a:t>We </a:t>
            </a:r>
            <a:r>
              <a:rPr lang="en-US" altLang="zh-TW" dirty="0"/>
              <a:t>continuously strive to ensure the safety, quality, and economic efficiency of the interaction between </a:t>
            </a:r>
            <a:r>
              <a:rPr lang="en-US" altLang="zh-TW" dirty="0" smtClean="0"/>
              <a:t>People, </a:t>
            </a:r>
            <a:r>
              <a:rPr lang="en-US" altLang="zh-TW" dirty="0"/>
              <a:t>technology and the environment. This philosophy is embodied in our triangular logo.</a:t>
            </a:r>
          </a:p>
          <a:p>
            <a:pPr marL="0" indent="0">
              <a:buNone/>
            </a:pPr>
            <a:endParaRPr lang="zh-TW" altLang="en-US" dirty="0"/>
          </a:p>
        </p:txBody>
      </p:sp>
      <p:grpSp>
        <p:nvGrpSpPr>
          <p:cNvPr id="13" name="Group 12"/>
          <p:cNvGrpSpPr/>
          <p:nvPr/>
        </p:nvGrpSpPr>
        <p:grpSpPr>
          <a:xfrm>
            <a:off x="1535782" y="1476360"/>
            <a:ext cx="3456087" cy="2376587"/>
            <a:chOff x="467544" y="1182161"/>
            <a:chExt cx="3456087" cy="2376587"/>
          </a:xfrm>
        </p:grpSpPr>
        <p:sp>
          <p:nvSpPr>
            <p:cNvPr id="14" name="Rectangle 16"/>
            <p:cNvSpPr>
              <a:spLocks noChangeArrowheads="1"/>
            </p:cNvSpPr>
            <p:nvPr/>
          </p:nvSpPr>
          <p:spPr bwMode="auto">
            <a:xfrm>
              <a:off x="2483768" y="3198385"/>
              <a:ext cx="143986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5263" indent="-195263" eaLnBrk="0" hangingPunct="0">
                <a:tabLst>
                  <a:tab pos="757238" algn="l"/>
                </a:tabLst>
                <a:defRPr sz="2400">
                  <a:solidFill>
                    <a:schemeClr val="tx1"/>
                  </a:solidFill>
                  <a:latin typeface="Arial" charset="0"/>
                  <a:ea typeface="ＭＳ Ｐゴシック" pitchFamily="50" charset="-128"/>
                </a:defRPr>
              </a:lvl1pPr>
              <a:lvl2pPr marL="742950" indent="-285750" eaLnBrk="0" hangingPunct="0">
                <a:tabLst>
                  <a:tab pos="757238" algn="l"/>
                </a:tabLst>
                <a:defRPr sz="2400">
                  <a:solidFill>
                    <a:schemeClr val="tx1"/>
                  </a:solidFill>
                  <a:latin typeface="Arial" charset="0"/>
                  <a:ea typeface="ＭＳ Ｐゴシック" pitchFamily="50" charset="-128"/>
                </a:defRPr>
              </a:lvl2pPr>
              <a:lvl3pPr marL="1143000" indent="-228600" eaLnBrk="0" hangingPunct="0">
                <a:tabLst>
                  <a:tab pos="757238" algn="l"/>
                </a:tabLst>
                <a:defRPr sz="2400">
                  <a:solidFill>
                    <a:schemeClr val="tx1"/>
                  </a:solidFill>
                  <a:latin typeface="Arial" charset="0"/>
                  <a:ea typeface="ＭＳ Ｐゴシック" pitchFamily="50" charset="-128"/>
                </a:defRPr>
              </a:lvl3pPr>
              <a:lvl4pPr marL="1600200" indent="-228600" eaLnBrk="0" hangingPunct="0">
                <a:tabLst>
                  <a:tab pos="757238" algn="l"/>
                </a:tabLst>
                <a:defRPr sz="2400">
                  <a:solidFill>
                    <a:schemeClr val="tx1"/>
                  </a:solidFill>
                  <a:latin typeface="Arial" charset="0"/>
                  <a:ea typeface="ＭＳ Ｐゴシック" pitchFamily="50" charset="-128"/>
                </a:defRPr>
              </a:lvl4pPr>
              <a:lvl5pPr marL="2057400" indent="-228600" eaLnBrk="0" hangingPunct="0">
                <a:tabLst>
                  <a:tab pos="757238" algn="l"/>
                </a:tabLst>
                <a:defRPr sz="2400">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9pPr>
            </a:lstStyle>
            <a:p>
              <a:pPr algn="ctr" eaLnBrk="1" hangingPunct="1">
                <a:lnSpc>
                  <a:spcPct val="108000"/>
                </a:lnSpc>
                <a:spcBef>
                  <a:spcPct val="40000"/>
                </a:spcBef>
                <a:buClr>
                  <a:srgbClr val="000000"/>
                </a:buClr>
                <a:buSzPct val="100000"/>
                <a:buFont typeface="Arial" charset="0"/>
                <a:buNone/>
              </a:pPr>
              <a:r>
                <a:rPr lang="de-DE" altLang="ja-JP" sz="2000" b="1" dirty="0">
                  <a:solidFill>
                    <a:schemeClr val="dk2"/>
                  </a:solidFill>
                  <a:latin typeface="Calibri" pitchFamily="34" charset="0"/>
                </a:rPr>
                <a:t>Environment</a:t>
              </a:r>
            </a:p>
          </p:txBody>
        </p:sp>
        <p:sp>
          <p:nvSpPr>
            <p:cNvPr id="15" name="Rectangle 17"/>
            <p:cNvSpPr>
              <a:spLocks noChangeArrowheads="1"/>
            </p:cNvSpPr>
            <p:nvPr/>
          </p:nvSpPr>
          <p:spPr bwMode="auto">
            <a:xfrm>
              <a:off x="1619399" y="1182161"/>
              <a:ext cx="1368425"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5263" indent="-195263" eaLnBrk="0" hangingPunct="0">
                <a:tabLst>
                  <a:tab pos="757238" algn="l"/>
                </a:tabLst>
                <a:defRPr sz="2400">
                  <a:solidFill>
                    <a:schemeClr val="tx1"/>
                  </a:solidFill>
                  <a:latin typeface="Arial" charset="0"/>
                  <a:ea typeface="ＭＳ Ｐゴシック" pitchFamily="50" charset="-128"/>
                </a:defRPr>
              </a:lvl1pPr>
              <a:lvl2pPr marL="742950" indent="-285750" eaLnBrk="0" hangingPunct="0">
                <a:tabLst>
                  <a:tab pos="757238" algn="l"/>
                </a:tabLst>
                <a:defRPr sz="2400">
                  <a:solidFill>
                    <a:schemeClr val="tx1"/>
                  </a:solidFill>
                  <a:latin typeface="Arial" charset="0"/>
                  <a:ea typeface="ＭＳ Ｐゴシック" pitchFamily="50" charset="-128"/>
                </a:defRPr>
              </a:lvl2pPr>
              <a:lvl3pPr marL="1143000" indent="-228600" eaLnBrk="0" hangingPunct="0">
                <a:tabLst>
                  <a:tab pos="757238" algn="l"/>
                </a:tabLst>
                <a:defRPr sz="2400">
                  <a:solidFill>
                    <a:schemeClr val="tx1"/>
                  </a:solidFill>
                  <a:latin typeface="Arial" charset="0"/>
                  <a:ea typeface="ＭＳ Ｐゴシック" pitchFamily="50" charset="-128"/>
                </a:defRPr>
              </a:lvl3pPr>
              <a:lvl4pPr marL="1600200" indent="-228600" eaLnBrk="0" hangingPunct="0">
                <a:tabLst>
                  <a:tab pos="757238" algn="l"/>
                </a:tabLst>
                <a:defRPr sz="2400">
                  <a:solidFill>
                    <a:schemeClr val="tx1"/>
                  </a:solidFill>
                  <a:latin typeface="Arial" charset="0"/>
                  <a:ea typeface="ＭＳ Ｐゴシック" pitchFamily="50" charset="-128"/>
                </a:defRPr>
              </a:lvl4pPr>
              <a:lvl5pPr marL="2057400" indent="-228600" eaLnBrk="0" hangingPunct="0">
                <a:tabLst>
                  <a:tab pos="757238" algn="l"/>
                </a:tabLst>
                <a:defRPr sz="2400">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9pPr>
            </a:lstStyle>
            <a:p>
              <a:pPr algn="ctr" eaLnBrk="1" hangingPunct="1">
                <a:lnSpc>
                  <a:spcPct val="108000"/>
                </a:lnSpc>
                <a:spcBef>
                  <a:spcPct val="40000"/>
                </a:spcBef>
                <a:buClr>
                  <a:srgbClr val="000000"/>
                </a:buClr>
                <a:buSzPct val="100000"/>
                <a:buFont typeface="Arial" charset="0"/>
                <a:buNone/>
              </a:pPr>
              <a:r>
                <a:rPr lang="de-DE" altLang="ja-JP" sz="2000" b="1" dirty="0" smtClean="0">
                  <a:solidFill>
                    <a:schemeClr val="dk2"/>
                  </a:solidFill>
                  <a:latin typeface="Calibri" pitchFamily="34" charset="0"/>
                </a:rPr>
                <a:t>People</a:t>
              </a:r>
              <a:endParaRPr lang="de-DE" altLang="ja-JP" sz="2000" b="1" dirty="0">
                <a:solidFill>
                  <a:schemeClr val="dk2"/>
                </a:solidFill>
                <a:latin typeface="Calibri" pitchFamily="34" charset="0"/>
              </a:endParaRPr>
            </a:p>
          </p:txBody>
        </p:sp>
        <p:sp>
          <p:nvSpPr>
            <p:cNvPr id="16" name="Rectangle 18"/>
            <p:cNvSpPr>
              <a:spLocks noChangeArrowheads="1"/>
            </p:cNvSpPr>
            <p:nvPr/>
          </p:nvSpPr>
          <p:spPr bwMode="auto">
            <a:xfrm>
              <a:off x="467544" y="3198385"/>
              <a:ext cx="165576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95263" indent="-195263" eaLnBrk="0" hangingPunct="0">
                <a:tabLst>
                  <a:tab pos="757238" algn="l"/>
                </a:tabLst>
                <a:defRPr sz="2400">
                  <a:solidFill>
                    <a:schemeClr val="tx1"/>
                  </a:solidFill>
                  <a:latin typeface="Arial" charset="0"/>
                  <a:ea typeface="ＭＳ Ｐゴシック" pitchFamily="50" charset="-128"/>
                </a:defRPr>
              </a:lvl1pPr>
              <a:lvl2pPr marL="742950" indent="-285750" eaLnBrk="0" hangingPunct="0">
                <a:tabLst>
                  <a:tab pos="757238" algn="l"/>
                </a:tabLst>
                <a:defRPr sz="2400">
                  <a:solidFill>
                    <a:schemeClr val="tx1"/>
                  </a:solidFill>
                  <a:latin typeface="Arial" charset="0"/>
                  <a:ea typeface="ＭＳ Ｐゴシック" pitchFamily="50" charset="-128"/>
                </a:defRPr>
              </a:lvl2pPr>
              <a:lvl3pPr marL="1143000" indent="-228600" eaLnBrk="0" hangingPunct="0">
                <a:tabLst>
                  <a:tab pos="757238" algn="l"/>
                </a:tabLst>
                <a:defRPr sz="2400">
                  <a:solidFill>
                    <a:schemeClr val="tx1"/>
                  </a:solidFill>
                  <a:latin typeface="Arial" charset="0"/>
                  <a:ea typeface="ＭＳ Ｐゴシック" pitchFamily="50" charset="-128"/>
                </a:defRPr>
              </a:lvl3pPr>
              <a:lvl4pPr marL="1600200" indent="-228600" eaLnBrk="0" hangingPunct="0">
                <a:tabLst>
                  <a:tab pos="757238" algn="l"/>
                </a:tabLst>
                <a:defRPr sz="2400">
                  <a:solidFill>
                    <a:schemeClr val="tx1"/>
                  </a:solidFill>
                  <a:latin typeface="Arial" charset="0"/>
                  <a:ea typeface="ＭＳ Ｐゴシック" pitchFamily="50" charset="-128"/>
                </a:defRPr>
              </a:lvl4pPr>
              <a:lvl5pPr marL="2057400" indent="-228600" eaLnBrk="0" hangingPunct="0">
                <a:tabLst>
                  <a:tab pos="757238" algn="l"/>
                </a:tabLst>
                <a:defRPr sz="2400">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tabLst>
                  <a:tab pos="757238" algn="l"/>
                </a:tabLst>
                <a:defRPr sz="2400">
                  <a:solidFill>
                    <a:schemeClr val="tx1"/>
                  </a:solidFill>
                  <a:latin typeface="Arial" charset="0"/>
                  <a:ea typeface="ＭＳ Ｐゴシック" pitchFamily="50" charset="-128"/>
                </a:defRPr>
              </a:lvl9pPr>
            </a:lstStyle>
            <a:p>
              <a:pPr algn="ctr" eaLnBrk="1" hangingPunct="1">
                <a:lnSpc>
                  <a:spcPct val="108000"/>
                </a:lnSpc>
                <a:spcBef>
                  <a:spcPct val="40000"/>
                </a:spcBef>
                <a:buClr>
                  <a:srgbClr val="000000"/>
                </a:buClr>
                <a:buSzPct val="100000"/>
                <a:buFont typeface="Arial" charset="0"/>
                <a:buNone/>
              </a:pPr>
              <a:r>
                <a:rPr lang="de-DE" altLang="ja-JP" sz="2000" b="1" dirty="0">
                  <a:solidFill>
                    <a:schemeClr val="dk2"/>
                  </a:solidFill>
                  <a:latin typeface="Calibri" pitchFamily="34" charset="0"/>
                </a:rPr>
                <a:t>Technology</a:t>
              </a:r>
            </a:p>
          </p:txBody>
        </p:sp>
        <p:pic>
          <p:nvPicPr>
            <p:cNvPr id="17" name="Picture 19"/>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22931" y="1502148"/>
              <a:ext cx="1828800" cy="1655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Content Placeholder 19"/>
          <p:cNvSpPr>
            <a:spLocks noGrp="1"/>
          </p:cNvSpPr>
          <p:nvPr>
            <p:ph sz="quarter" idx="14"/>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r>
              <a:rPr lang="en-US" dirty="0" smtClean="0"/>
              <a:t>We </a:t>
            </a:r>
            <a:r>
              <a:rPr lang="en-US" dirty="0"/>
              <a:t>are committed to the principles of the UN Global Compact. </a:t>
            </a:r>
          </a:p>
          <a:p>
            <a:pPr marL="342900" indent="-342900">
              <a:buFont typeface="+mj-lt"/>
              <a:buAutoNum type="alphaLcParenR"/>
            </a:pPr>
            <a:r>
              <a:rPr lang="en-US" dirty="0" smtClean="0"/>
              <a:t>Human </a:t>
            </a:r>
            <a:r>
              <a:rPr lang="en-US" dirty="0"/>
              <a:t>rights</a:t>
            </a:r>
          </a:p>
          <a:p>
            <a:pPr marL="342900" indent="-342900">
              <a:buFont typeface="+mj-lt"/>
              <a:buAutoNum type="alphaLcParenR"/>
            </a:pPr>
            <a:r>
              <a:rPr lang="en-US" dirty="0"/>
              <a:t>Labor standards </a:t>
            </a:r>
          </a:p>
          <a:p>
            <a:pPr marL="342900" indent="-342900">
              <a:buFont typeface="+mj-lt"/>
              <a:buAutoNum type="alphaLcParenR"/>
            </a:pPr>
            <a:r>
              <a:rPr lang="en-US" dirty="0"/>
              <a:t>Environmental protection</a:t>
            </a:r>
          </a:p>
          <a:p>
            <a:pPr marL="342900" indent="-342900">
              <a:buFont typeface="+mj-lt"/>
              <a:buAutoNum type="alphaLcParenR"/>
            </a:pPr>
            <a:r>
              <a:rPr lang="en-US" dirty="0"/>
              <a:t>Fighting </a:t>
            </a:r>
            <a:r>
              <a:rPr lang="en-US" dirty="0" smtClean="0"/>
              <a:t>corruption</a:t>
            </a:r>
            <a:endParaRPr lang="en-US" dirty="0"/>
          </a:p>
        </p:txBody>
      </p:sp>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l="26526" r="26212"/>
          <a:stretch/>
        </p:blipFill>
        <p:spPr>
          <a:xfrm>
            <a:off x="8039745" y="1405851"/>
            <a:ext cx="1737360" cy="2067772"/>
          </a:xfrm>
          <a:prstGeom prst="rect">
            <a:avLst/>
          </a:prstGeom>
        </p:spPr>
      </p:pic>
    </p:spTree>
    <p:extLst>
      <p:ext uri="{BB962C8B-B14F-4D97-AF65-F5344CB8AC3E}">
        <p14:creationId xmlns:p14="http://schemas.microsoft.com/office/powerpoint/2010/main" val="273310722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806" y="406044"/>
            <a:ext cx="5627511" cy="439102"/>
          </a:xfrm>
        </p:spPr>
        <p:txBody>
          <a:bodyPr/>
          <a:lstStyle/>
          <a:p>
            <a:r>
              <a:rPr lang="tr-TR" dirty="0" smtClean="0"/>
              <a:t>General </a:t>
            </a:r>
            <a:r>
              <a:rPr lang="tr-TR" dirty="0" err="1" smtClean="0"/>
              <a:t>information</a:t>
            </a:r>
            <a:r>
              <a:rPr lang="tr-TR" dirty="0" smtClean="0"/>
              <a:t> </a:t>
            </a:r>
            <a:r>
              <a:rPr lang="tr-TR" dirty="0" err="1" smtClean="0"/>
              <a:t>about</a:t>
            </a:r>
            <a:r>
              <a:rPr lang="tr-TR" dirty="0" smtClean="0"/>
              <a:t> ZDHC MRSL</a:t>
            </a:r>
            <a:endParaRPr lang="en-US" dirty="0"/>
          </a:p>
        </p:txBody>
      </p:sp>
      <p:sp>
        <p:nvSpPr>
          <p:cNvPr id="3" name="Content Placeholder 2"/>
          <p:cNvSpPr>
            <a:spLocks noGrp="1"/>
          </p:cNvSpPr>
          <p:nvPr>
            <p:ph idx="1"/>
          </p:nvPr>
        </p:nvSpPr>
        <p:spPr>
          <a:xfrm>
            <a:off x="2007214" y="1198930"/>
            <a:ext cx="8051309" cy="4746046"/>
          </a:xfrm>
        </p:spPr>
        <p:txBody>
          <a:bodyPr/>
          <a:lstStyle/>
          <a:p>
            <a:pPr marL="441095" indent="-342969" algn="just">
              <a:spcBef>
                <a:spcPts val="300"/>
              </a:spcBef>
            </a:pPr>
            <a:r>
              <a:rPr lang="en-US" dirty="0"/>
              <a:t> </a:t>
            </a:r>
            <a:r>
              <a:rPr lang="tr-TR" dirty="0" smtClean="0"/>
              <a:t>	</a:t>
            </a:r>
            <a:endParaRPr lang="en-US" kern="1200" dirty="0" smtClean="0"/>
          </a:p>
        </p:txBody>
      </p:sp>
      <p:sp>
        <p:nvSpPr>
          <p:cNvPr id="6" name="Title 1">
            <a:extLst>
              <a:ext uri="{FF2B5EF4-FFF2-40B4-BE49-F238E27FC236}">
                <a16:creationId xmlns:a16="http://schemas.microsoft.com/office/drawing/2014/main" id="{C793E060-6D5F-4C42-83AA-7D331271C167}"/>
              </a:ext>
            </a:extLst>
          </p:cNvPr>
          <p:cNvSpPr txBox="1">
            <a:spLocks/>
          </p:cNvSpPr>
          <p:nvPr/>
        </p:nvSpPr>
        <p:spPr bwMode="gray">
          <a:xfrm>
            <a:off x="550863" y="1105143"/>
            <a:ext cx="9004643" cy="507831"/>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chemeClr val="tx2"/>
                </a:solidFill>
                <a:latin typeface="+mj-lt"/>
                <a:ea typeface="+mj-ea"/>
                <a:cs typeface="+mj-cs"/>
              </a:defRPr>
            </a:lvl1pPr>
          </a:lstStyle>
          <a:p>
            <a:pPr fontAlgn="auto">
              <a:spcAft>
                <a:spcPts val="0"/>
              </a:spcAft>
            </a:pPr>
            <a:r>
              <a:rPr lang="en-GB" dirty="0" smtClean="0"/>
              <a:t>Difference</a:t>
            </a:r>
            <a:r>
              <a:rPr lang="en-GB" dirty="0" smtClean="0">
                <a:cs typeface="Calibri" panose="020F0502020204030204" pitchFamily="34" charset="0"/>
              </a:rPr>
              <a:t> </a:t>
            </a:r>
            <a:r>
              <a:rPr lang="en-GB" dirty="0" smtClean="0"/>
              <a:t>between MRSL and RSL</a:t>
            </a:r>
            <a:endParaRPr lang="en-GB" dirty="0"/>
          </a:p>
        </p:txBody>
      </p:sp>
      <p:sp>
        <p:nvSpPr>
          <p:cNvPr id="9" name="Text Placeholder 2">
            <a:extLst>
              <a:ext uri="{FF2B5EF4-FFF2-40B4-BE49-F238E27FC236}">
                <a16:creationId xmlns:a16="http://schemas.microsoft.com/office/drawing/2014/main" id="{847C4602-A1BE-0D4D-A7E5-4FCE97A56227}"/>
              </a:ext>
            </a:extLst>
          </p:cNvPr>
          <p:cNvSpPr txBox="1">
            <a:spLocks/>
          </p:cNvSpPr>
          <p:nvPr/>
        </p:nvSpPr>
        <p:spPr>
          <a:xfrm>
            <a:off x="8432225" y="2018871"/>
            <a:ext cx="3338385" cy="4327525"/>
          </a:xfrm>
        </p:spPr>
        <p:txBody>
          <a:bodyPr>
            <a:normAutofit/>
          </a:bodyPr>
          <a:lstStyle>
            <a:lvl1pPr marL="228611" indent="-228611" algn="l" defTabSz="91444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34" indent="-228611" algn="l" defTabSz="91444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57" indent="-228611" algn="l" defTabSz="91444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503"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The </a:t>
            </a:r>
            <a:r>
              <a:rPr lang="en-US" sz="2000" b="1" dirty="0"/>
              <a:t>RSL </a:t>
            </a:r>
            <a:r>
              <a:rPr lang="en-US" sz="2000" dirty="0"/>
              <a:t>governs the</a:t>
            </a:r>
            <a:r>
              <a:rPr lang="en-US" sz="2000" dirty="0">
                <a:solidFill>
                  <a:schemeClr val="accent1"/>
                </a:solidFill>
              </a:rPr>
              <a:t> </a:t>
            </a:r>
            <a:r>
              <a:rPr lang="en-US" sz="2000" b="1" dirty="0">
                <a:solidFill>
                  <a:schemeClr val="accent1"/>
                </a:solidFill>
              </a:rPr>
              <a:t>outputs</a:t>
            </a:r>
            <a:r>
              <a:rPr lang="en-US" sz="2000" dirty="0">
                <a:solidFill>
                  <a:schemeClr val="accent1"/>
                </a:solidFill>
              </a:rPr>
              <a:t> </a:t>
            </a:r>
            <a:r>
              <a:rPr lang="en-US" sz="2000" dirty="0"/>
              <a:t>(finished product) to protect </a:t>
            </a:r>
            <a:r>
              <a:rPr lang="en-US" sz="2000" b="1" dirty="0"/>
              <a:t>consumers</a:t>
            </a:r>
            <a:r>
              <a:rPr lang="en-US" sz="2000" dirty="0"/>
              <a:t>.</a:t>
            </a:r>
          </a:p>
          <a:p>
            <a:endParaRPr lang="en-US" sz="2000" dirty="0"/>
          </a:p>
          <a:p>
            <a:r>
              <a:rPr lang="en-US" sz="2000" dirty="0"/>
              <a:t>The </a:t>
            </a:r>
            <a:r>
              <a:rPr lang="en-US" sz="2000" b="1" dirty="0"/>
              <a:t>MRSL</a:t>
            </a:r>
            <a:r>
              <a:rPr lang="en-US" sz="2000" dirty="0"/>
              <a:t> governs the </a:t>
            </a:r>
            <a:r>
              <a:rPr lang="en-US" sz="2000" b="1" dirty="0">
                <a:solidFill>
                  <a:schemeClr val="accent1"/>
                </a:solidFill>
              </a:rPr>
              <a:t>inputs</a:t>
            </a:r>
            <a:r>
              <a:rPr lang="en-US" sz="2000" dirty="0"/>
              <a:t> to protect the </a:t>
            </a:r>
            <a:r>
              <a:rPr lang="en-US" sz="2000" b="1" dirty="0"/>
              <a:t>environment, worker health and safety, </a:t>
            </a:r>
            <a:r>
              <a:rPr lang="en-US" sz="2000" dirty="0"/>
              <a:t>and</a:t>
            </a:r>
            <a:r>
              <a:rPr lang="en-US" sz="2000" b="1" dirty="0"/>
              <a:t> consumers</a:t>
            </a:r>
            <a:r>
              <a:rPr lang="en-US" sz="2000" dirty="0"/>
              <a:t>.</a:t>
            </a:r>
          </a:p>
          <a:p>
            <a:pPr marL="0" indent="0">
              <a:lnSpc>
                <a:spcPct val="100000"/>
              </a:lnSpc>
              <a:buFont typeface="Arial" panose="020B0604020202020204" pitchFamily="34" charset="0"/>
              <a:buNone/>
              <a:defRPr/>
            </a:pPr>
            <a:endParaRPr lang="en-US" sz="2133" dirty="0"/>
          </a:p>
        </p:txBody>
      </p:sp>
      <p:sp>
        <p:nvSpPr>
          <p:cNvPr id="10" name="Oval 9">
            <a:extLst>
              <a:ext uri="{FF2B5EF4-FFF2-40B4-BE49-F238E27FC236}">
                <a16:creationId xmlns:a16="http://schemas.microsoft.com/office/drawing/2014/main" id="{E44B1462-84FB-7A40-9E91-02ED2A1240A9}"/>
              </a:ext>
            </a:extLst>
          </p:cNvPr>
          <p:cNvSpPr/>
          <p:nvPr/>
        </p:nvSpPr>
        <p:spPr>
          <a:xfrm>
            <a:off x="609635" y="1872971"/>
            <a:ext cx="7563820" cy="4005916"/>
          </a:xfrm>
          <a:prstGeom prst="ellipse">
            <a:avLst/>
          </a:prstGeom>
          <a:solidFill>
            <a:schemeClr val="accent2">
              <a:lumMod val="20000"/>
              <a:lumOff val="80000"/>
            </a:schemeClr>
          </a:solidFill>
          <a:ln w="19050">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1" name="Oval 10">
            <a:extLst>
              <a:ext uri="{FF2B5EF4-FFF2-40B4-BE49-F238E27FC236}">
                <a16:creationId xmlns:a16="http://schemas.microsoft.com/office/drawing/2014/main" id="{00E4A1FB-3F1A-1346-8EE4-D0841CE232BD}"/>
              </a:ext>
            </a:extLst>
          </p:cNvPr>
          <p:cNvSpPr/>
          <p:nvPr/>
        </p:nvSpPr>
        <p:spPr>
          <a:xfrm>
            <a:off x="5936661" y="2674204"/>
            <a:ext cx="2236795" cy="2360629"/>
          </a:xfrm>
          <a:prstGeom prst="ellipse">
            <a:avLst/>
          </a:prstGeom>
          <a:solidFill>
            <a:schemeClr val="accent3">
              <a:lumMod val="20000"/>
              <a:lumOff val="80000"/>
            </a:schemeClr>
          </a:solidFill>
          <a:ln w="19050">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2" name="Right Arrow 7">
            <a:extLst>
              <a:ext uri="{FF2B5EF4-FFF2-40B4-BE49-F238E27FC236}">
                <a16:creationId xmlns:a16="http://schemas.microsoft.com/office/drawing/2014/main" id="{6013BEC5-1B56-B248-8F21-E8C57418822B}"/>
              </a:ext>
            </a:extLst>
          </p:cNvPr>
          <p:cNvSpPr/>
          <p:nvPr/>
        </p:nvSpPr>
        <p:spPr>
          <a:xfrm>
            <a:off x="5457118" y="3839662"/>
            <a:ext cx="386065" cy="342972"/>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3" name="Right Arrow 8">
            <a:extLst>
              <a:ext uri="{FF2B5EF4-FFF2-40B4-BE49-F238E27FC236}">
                <a16:creationId xmlns:a16="http://schemas.microsoft.com/office/drawing/2014/main" id="{5EF57C60-FC62-914A-9D67-1F86B00E5246}"/>
              </a:ext>
            </a:extLst>
          </p:cNvPr>
          <p:cNvSpPr/>
          <p:nvPr/>
        </p:nvSpPr>
        <p:spPr>
          <a:xfrm>
            <a:off x="2314637" y="3839662"/>
            <a:ext cx="386065" cy="342972"/>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14" name="TextBox 9">
            <a:extLst>
              <a:ext uri="{FF2B5EF4-FFF2-40B4-BE49-F238E27FC236}">
                <a16:creationId xmlns:a16="http://schemas.microsoft.com/office/drawing/2014/main" id="{CCC005C2-2B5E-7F4E-8FC4-F0FFE5ECF513}"/>
              </a:ext>
            </a:extLst>
          </p:cNvPr>
          <p:cNvSpPr txBox="1"/>
          <p:nvPr/>
        </p:nvSpPr>
        <p:spPr>
          <a:xfrm>
            <a:off x="581909" y="3389548"/>
            <a:ext cx="1093851" cy="502573"/>
          </a:xfrm>
          <a:prstGeom prst="rect">
            <a:avLst/>
          </a:prstGeom>
          <a:noFill/>
        </p:spPr>
        <p:txBody>
          <a:bodyPr wrap="square" rtlCol="0">
            <a:spAutoFit/>
          </a:bodyPr>
          <a:lstStyle/>
          <a:p>
            <a:pPr algn="ctr"/>
            <a:r>
              <a:rPr lang="en-US" sz="1333" b="1" dirty="0">
                <a:solidFill>
                  <a:srgbClr val="333333"/>
                </a:solidFill>
              </a:rPr>
              <a:t>Raw Materials</a:t>
            </a:r>
          </a:p>
        </p:txBody>
      </p:sp>
      <p:sp>
        <p:nvSpPr>
          <p:cNvPr id="15" name="TextBox 10">
            <a:extLst>
              <a:ext uri="{FF2B5EF4-FFF2-40B4-BE49-F238E27FC236}">
                <a16:creationId xmlns:a16="http://schemas.microsoft.com/office/drawing/2014/main" id="{9F705780-9A1B-4144-94D2-F1919DF4FBFF}"/>
              </a:ext>
            </a:extLst>
          </p:cNvPr>
          <p:cNvSpPr txBox="1"/>
          <p:nvPr/>
        </p:nvSpPr>
        <p:spPr>
          <a:xfrm>
            <a:off x="2975111" y="5034837"/>
            <a:ext cx="860316" cy="420756"/>
          </a:xfrm>
          <a:prstGeom prst="rect">
            <a:avLst/>
          </a:prstGeom>
          <a:noFill/>
        </p:spPr>
        <p:txBody>
          <a:bodyPr wrap="square" rtlCol="0">
            <a:spAutoFit/>
          </a:bodyPr>
          <a:lstStyle/>
          <a:p>
            <a:pPr algn="ctr"/>
            <a:r>
              <a:rPr lang="en-US" sz="1067" b="1" dirty="0">
                <a:solidFill>
                  <a:srgbClr val="333333"/>
                </a:solidFill>
              </a:rPr>
              <a:t>WASTE WATER</a:t>
            </a:r>
          </a:p>
        </p:txBody>
      </p:sp>
      <p:sp>
        <p:nvSpPr>
          <p:cNvPr id="16" name="TextBox 11">
            <a:extLst>
              <a:ext uri="{FF2B5EF4-FFF2-40B4-BE49-F238E27FC236}">
                <a16:creationId xmlns:a16="http://schemas.microsoft.com/office/drawing/2014/main" id="{A5A45B6B-2227-8F4E-A795-2564753E1C05}"/>
              </a:ext>
            </a:extLst>
          </p:cNvPr>
          <p:cNvSpPr txBox="1"/>
          <p:nvPr/>
        </p:nvSpPr>
        <p:spPr>
          <a:xfrm>
            <a:off x="4033676" y="5019419"/>
            <a:ext cx="1293347" cy="584968"/>
          </a:xfrm>
          <a:prstGeom prst="rect">
            <a:avLst/>
          </a:prstGeom>
          <a:noFill/>
        </p:spPr>
        <p:txBody>
          <a:bodyPr wrap="square" rtlCol="0">
            <a:spAutoFit/>
          </a:bodyPr>
          <a:lstStyle/>
          <a:p>
            <a:pPr algn="ctr"/>
            <a:r>
              <a:rPr lang="en-US" sz="1067" b="1" dirty="0">
                <a:solidFill>
                  <a:srgbClr val="333333"/>
                </a:solidFill>
              </a:rPr>
              <a:t>WORKER HEALTH &amp; SAFTEY</a:t>
            </a:r>
          </a:p>
        </p:txBody>
      </p:sp>
      <p:sp>
        <p:nvSpPr>
          <p:cNvPr id="17" name="TextBox 12">
            <a:extLst>
              <a:ext uri="{FF2B5EF4-FFF2-40B4-BE49-F238E27FC236}">
                <a16:creationId xmlns:a16="http://schemas.microsoft.com/office/drawing/2014/main" id="{25B33FAD-4B1D-D84F-A68A-0E5D20BE55F6}"/>
              </a:ext>
            </a:extLst>
          </p:cNvPr>
          <p:cNvSpPr txBox="1"/>
          <p:nvPr/>
        </p:nvSpPr>
        <p:spPr>
          <a:xfrm>
            <a:off x="7156729" y="3705189"/>
            <a:ext cx="1202043" cy="502573"/>
          </a:xfrm>
          <a:prstGeom prst="rect">
            <a:avLst/>
          </a:prstGeom>
          <a:noFill/>
        </p:spPr>
        <p:txBody>
          <a:bodyPr wrap="square" rtlCol="0">
            <a:spAutoFit/>
          </a:bodyPr>
          <a:lstStyle/>
          <a:p>
            <a:pPr algn="ctr"/>
            <a:r>
              <a:rPr lang="en-US" sz="1333" b="1" dirty="0">
                <a:solidFill>
                  <a:srgbClr val="333333"/>
                </a:solidFill>
              </a:rPr>
              <a:t>Finished Product</a:t>
            </a:r>
          </a:p>
        </p:txBody>
      </p:sp>
      <p:sp>
        <p:nvSpPr>
          <p:cNvPr id="18" name="TextBox 13">
            <a:extLst>
              <a:ext uri="{FF2B5EF4-FFF2-40B4-BE49-F238E27FC236}">
                <a16:creationId xmlns:a16="http://schemas.microsoft.com/office/drawing/2014/main" id="{018D93E6-A918-8245-A09A-19E8DAD8A8C2}"/>
              </a:ext>
            </a:extLst>
          </p:cNvPr>
          <p:cNvSpPr txBox="1"/>
          <p:nvPr/>
        </p:nvSpPr>
        <p:spPr>
          <a:xfrm>
            <a:off x="6954031" y="2888808"/>
            <a:ext cx="731290" cy="420564"/>
          </a:xfrm>
          <a:prstGeom prst="rect">
            <a:avLst/>
          </a:prstGeom>
          <a:noFill/>
        </p:spPr>
        <p:txBody>
          <a:bodyPr wrap="none" rtlCol="0">
            <a:spAutoFit/>
          </a:bodyPr>
          <a:lstStyle/>
          <a:p>
            <a:r>
              <a:rPr lang="en-US" sz="2133" b="1" dirty="0">
                <a:solidFill>
                  <a:srgbClr val="2886CC"/>
                </a:solidFill>
              </a:rPr>
              <a:t>RSL</a:t>
            </a:r>
          </a:p>
        </p:txBody>
      </p:sp>
      <p:sp>
        <p:nvSpPr>
          <p:cNvPr id="19" name="TextBox 14">
            <a:extLst>
              <a:ext uri="{FF2B5EF4-FFF2-40B4-BE49-F238E27FC236}">
                <a16:creationId xmlns:a16="http://schemas.microsoft.com/office/drawing/2014/main" id="{239DDF2D-4D00-DA46-A8C8-01357649C672}"/>
              </a:ext>
            </a:extLst>
          </p:cNvPr>
          <p:cNvSpPr txBox="1"/>
          <p:nvPr/>
        </p:nvSpPr>
        <p:spPr>
          <a:xfrm>
            <a:off x="1281279" y="2601601"/>
            <a:ext cx="1130468" cy="748795"/>
          </a:xfrm>
          <a:prstGeom prst="rect">
            <a:avLst/>
          </a:prstGeom>
          <a:noFill/>
        </p:spPr>
        <p:txBody>
          <a:bodyPr wrap="square" rtlCol="0">
            <a:spAutoFit/>
          </a:bodyPr>
          <a:lstStyle/>
          <a:p>
            <a:r>
              <a:rPr lang="en-US" sz="2133" b="1" dirty="0">
                <a:solidFill>
                  <a:srgbClr val="50AB37"/>
                </a:solidFill>
              </a:rPr>
              <a:t>ZDHC</a:t>
            </a:r>
          </a:p>
          <a:p>
            <a:r>
              <a:rPr lang="en-US" sz="2133" b="1" dirty="0">
                <a:solidFill>
                  <a:srgbClr val="50AB37"/>
                </a:solidFill>
              </a:rPr>
              <a:t>MRSL</a:t>
            </a:r>
            <a:endParaRPr lang="en-US" sz="1867" b="1" dirty="0">
              <a:solidFill>
                <a:srgbClr val="50AB37"/>
              </a:solidFill>
            </a:endParaRPr>
          </a:p>
        </p:txBody>
      </p:sp>
      <p:cxnSp>
        <p:nvCxnSpPr>
          <p:cNvPr id="20" name="Straight Arrow Connector 15">
            <a:extLst>
              <a:ext uri="{FF2B5EF4-FFF2-40B4-BE49-F238E27FC236}">
                <a16:creationId xmlns:a16="http://schemas.microsoft.com/office/drawing/2014/main" id="{C9CD9847-D38C-FA4C-804D-A536C74BC602}"/>
              </a:ext>
            </a:extLst>
          </p:cNvPr>
          <p:cNvCxnSpPr/>
          <p:nvPr/>
        </p:nvCxnSpPr>
        <p:spPr>
          <a:xfrm>
            <a:off x="4380128" y="4677163"/>
            <a:ext cx="236013" cy="342256"/>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1" name="Straight Arrow Connector 16">
            <a:extLst>
              <a:ext uri="{FF2B5EF4-FFF2-40B4-BE49-F238E27FC236}">
                <a16:creationId xmlns:a16="http://schemas.microsoft.com/office/drawing/2014/main" id="{3C9B97A7-F1DA-354E-BAC1-993229314397}"/>
              </a:ext>
            </a:extLst>
          </p:cNvPr>
          <p:cNvCxnSpPr/>
          <p:nvPr/>
        </p:nvCxnSpPr>
        <p:spPr>
          <a:xfrm flipH="1">
            <a:off x="3213480" y="4677165"/>
            <a:ext cx="350821" cy="35767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2" name="Picture 17">
            <a:extLst>
              <a:ext uri="{FF2B5EF4-FFF2-40B4-BE49-F238E27FC236}">
                <a16:creationId xmlns:a16="http://schemas.microsoft.com/office/drawing/2014/main" id="{908D9666-5B07-CA43-94ED-C1B439726A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9536" y="4876351"/>
            <a:ext cx="683781" cy="721636"/>
          </a:xfrm>
          <a:prstGeom prst="rect">
            <a:avLst/>
          </a:prstGeom>
        </p:spPr>
      </p:pic>
      <p:pic>
        <p:nvPicPr>
          <p:cNvPr id="23" name="Picture 18">
            <a:extLst>
              <a:ext uri="{FF2B5EF4-FFF2-40B4-BE49-F238E27FC236}">
                <a16:creationId xmlns:a16="http://schemas.microsoft.com/office/drawing/2014/main" id="{3F8BC570-A817-8148-8643-4A2B8DA907C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9816" y="3430976"/>
            <a:ext cx="913403" cy="963971"/>
          </a:xfrm>
          <a:prstGeom prst="rect">
            <a:avLst/>
          </a:prstGeom>
        </p:spPr>
      </p:pic>
      <p:pic>
        <p:nvPicPr>
          <p:cNvPr id="24" name="Picture 19">
            <a:extLst>
              <a:ext uri="{FF2B5EF4-FFF2-40B4-BE49-F238E27FC236}">
                <a16:creationId xmlns:a16="http://schemas.microsoft.com/office/drawing/2014/main" id="{E9ED4646-3E71-0542-A91D-763E0B3676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26445" y="2159483"/>
            <a:ext cx="2300825" cy="2428204"/>
          </a:xfrm>
          <a:prstGeom prst="rect">
            <a:avLst/>
          </a:prstGeom>
        </p:spPr>
      </p:pic>
      <p:pic>
        <p:nvPicPr>
          <p:cNvPr id="26" name="Picture 21">
            <a:extLst>
              <a:ext uri="{FF2B5EF4-FFF2-40B4-BE49-F238E27FC236}">
                <a16:creationId xmlns:a16="http://schemas.microsoft.com/office/drawing/2014/main" id="{AB0F7B08-A7CD-9744-96F1-CD3D5353BB0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38502" y="4776756"/>
            <a:ext cx="674980" cy="712349"/>
          </a:xfrm>
          <a:prstGeom prst="rect">
            <a:avLst/>
          </a:prstGeom>
        </p:spPr>
      </p:pic>
      <p:sp>
        <p:nvSpPr>
          <p:cNvPr id="27" name="TextBox 22">
            <a:extLst>
              <a:ext uri="{FF2B5EF4-FFF2-40B4-BE49-F238E27FC236}">
                <a16:creationId xmlns:a16="http://schemas.microsoft.com/office/drawing/2014/main" id="{0A0F1282-2FAC-F346-9206-7476291E3346}"/>
              </a:ext>
            </a:extLst>
          </p:cNvPr>
          <p:cNvSpPr txBox="1"/>
          <p:nvPr/>
        </p:nvSpPr>
        <p:spPr>
          <a:xfrm>
            <a:off x="4492759" y="1938423"/>
            <a:ext cx="605072" cy="256545"/>
          </a:xfrm>
          <a:prstGeom prst="rect">
            <a:avLst/>
          </a:prstGeom>
          <a:noFill/>
        </p:spPr>
        <p:txBody>
          <a:bodyPr wrap="square" rtlCol="0">
            <a:spAutoFit/>
          </a:bodyPr>
          <a:lstStyle/>
          <a:p>
            <a:pPr algn="ctr"/>
            <a:r>
              <a:rPr lang="en-US" sz="1067" b="1" dirty="0">
                <a:solidFill>
                  <a:srgbClr val="333333"/>
                </a:solidFill>
              </a:rPr>
              <a:t>AIR</a:t>
            </a:r>
            <a:endParaRPr lang="en-US" sz="1333" b="1" dirty="0">
              <a:solidFill>
                <a:srgbClr val="333333"/>
              </a:solidFill>
            </a:endParaRPr>
          </a:p>
        </p:txBody>
      </p:sp>
      <p:cxnSp>
        <p:nvCxnSpPr>
          <p:cNvPr id="28" name="Straight Arrow Connector 23">
            <a:extLst>
              <a:ext uri="{FF2B5EF4-FFF2-40B4-BE49-F238E27FC236}">
                <a16:creationId xmlns:a16="http://schemas.microsoft.com/office/drawing/2014/main" id="{35AAD7E7-0345-E149-9B18-FAB43A4A3DD0}"/>
              </a:ext>
            </a:extLst>
          </p:cNvPr>
          <p:cNvCxnSpPr/>
          <p:nvPr/>
        </p:nvCxnSpPr>
        <p:spPr>
          <a:xfrm flipV="1">
            <a:off x="4091708" y="2345417"/>
            <a:ext cx="489317" cy="325811"/>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29" name="Picture 24">
            <a:extLst>
              <a:ext uri="{FF2B5EF4-FFF2-40B4-BE49-F238E27FC236}">
                <a16:creationId xmlns:a16="http://schemas.microsoft.com/office/drawing/2014/main" id="{0128F751-C686-F54F-9942-5B48577C8A4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36815" y="2026883"/>
            <a:ext cx="573844" cy="605613"/>
          </a:xfrm>
          <a:prstGeom prst="rect">
            <a:avLst/>
          </a:prstGeom>
        </p:spPr>
      </p:pic>
      <p:sp>
        <p:nvSpPr>
          <p:cNvPr id="7" name="Rectangle 6"/>
          <p:cNvSpPr/>
          <p:nvPr/>
        </p:nvSpPr>
        <p:spPr>
          <a:xfrm>
            <a:off x="6063396" y="71197"/>
            <a:ext cx="6092825" cy="1323439"/>
          </a:xfrm>
          <a:prstGeom prst="rect">
            <a:avLst/>
          </a:prstGeom>
        </p:spPr>
        <p:txBody>
          <a:bodyPr>
            <a:spAutoFit/>
          </a:bodyPr>
          <a:lstStyle/>
          <a:p>
            <a:r>
              <a:rPr lang="en-GB" sz="2000" b="1" dirty="0">
                <a:solidFill>
                  <a:schemeClr val="dk1"/>
                </a:solidFill>
                <a:latin typeface="Arial" panose="020B0604020202020204" pitchFamily="34" charset="0"/>
              </a:rPr>
              <a:t>A chemical substance is usually identifiable by a single,</a:t>
            </a:r>
          </a:p>
          <a:p>
            <a:r>
              <a:rPr lang="fr-FR" sz="2000" b="1" dirty="0">
                <a:solidFill>
                  <a:schemeClr val="dk1"/>
                </a:solidFill>
                <a:latin typeface="Arial" panose="020B0604020202020204" pitchFamily="34" charset="0"/>
              </a:rPr>
              <a:t>unique Chemical Abstracts Service (CAS) </a:t>
            </a:r>
            <a:r>
              <a:rPr lang="fr-FR" sz="2000" b="1" dirty="0" smtClean="0">
                <a:solidFill>
                  <a:schemeClr val="dk1"/>
                </a:solidFill>
                <a:latin typeface="Arial" panose="020B0604020202020204" pitchFamily="34" charset="0"/>
              </a:rPr>
              <a:t>number or Color index number(CI)</a:t>
            </a:r>
            <a:endParaRPr lang="en-GB" sz="2000" b="1" dirty="0">
              <a:solidFill>
                <a:schemeClr val="dk1"/>
              </a:solidFill>
            </a:endParaRPr>
          </a:p>
        </p:txBody>
      </p:sp>
      <p:pic>
        <p:nvPicPr>
          <p:cNvPr id="8" name="Picture 7"/>
          <p:cNvPicPr>
            <a:picLocks noChangeAspect="1"/>
          </p:cNvPicPr>
          <p:nvPr/>
        </p:nvPicPr>
        <p:blipFill>
          <a:blip r:embed="rId8"/>
          <a:stretch>
            <a:fillRect/>
          </a:stretch>
        </p:blipFill>
        <p:spPr>
          <a:xfrm>
            <a:off x="6264508" y="3258708"/>
            <a:ext cx="1038225" cy="1266825"/>
          </a:xfrm>
          <a:prstGeom prst="rect">
            <a:avLst/>
          </a:prstGeom>
        </p:spPr>
      </p:pic>
    </p:spTree>
    <p:extLst>
      <p:ext uri="{BB962C8B-B14F-4D97-AF65-F5344CB8AC3E}">
        <p14:creationId xmlns:p14="http://schemas.microsoft.com/office/powerpoint/2010/main" val="111042452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DHC </a:t>
            </a:r>
            <a:r>
              <a:rPr lang="en-US" dirty="0"/>
              <a:t>MRSL Version 2.0 </a:t>
            </a:r>
            <a:r>
              <a:rPr lang="en-US" dirty="0" smtClean="0"/>
              <a:t>: Your road to the top</a:t>
            </a:r>
            <a:endParaRPr lang="en-US" dirty="0"/>
          </a:p>
        </p:txBody>
      </p:sp>
      <p:sp>
        <p:nvSpPr>
          <p:cNvPr id="3" name="Content Placeholder 2"/>
          <p:cNvSpPr>
            <a:spLocks noGrp="1"/>
          </p:cNvSpPr>
          <p:nvPr>
            <p:ph idx="4294967295"/>
          </p:nvPr>
        </p:nvSpPr>
        <p:spPr>
          <a:xfrm>
            <a:off x="0" y="1198563"/>
            <a:ext cx="8051800" cy="4746625"/>
          </a:xfrm>
        </p:spPr>
        <p:txBody>
          <a:bodyPr/>
          <a:lstStyle/>
          <a:p>
            <a:pPr marL="441095" indent="-342969" algn="just">
              <a:spcBef>
                <a:spcPts val="300"/>
              </a:spcBef>
            </a:pPr>
            <a:r>
              <a:rPr lang="en-US" dirty="0" smtClean="0"/>
              <a:t> 	</a:t>
            </a:r>
          </a:p>
          <a:p>
            <a:pPr marL="441095" indent="-342969" algn="just">
              <a:spcBef>
                <a:spcPts val="300"/>
              </a:spcBef>
            </a:pPr>
            <a:r>
              <a:rPr lang="en-US" dirty="0" smtClean="0"/>
              <a:t>	</a:t>
            </a:r>
            <a:endParaRPr lang="en-US" kern="1200" dirty="0" smtClean="0"/>
          </a:p>
        </p:txBody>
      </p:sp>
      <p:sp>
        <p:nvSpPr>
          <p:cNvPr id="7" name="Rectangle 4">
            <a:extLst>
              <a:ext uri="{FF2B5EF4-FFF2-40B4-BE49-F238E27FC236}">
                <a16:creationId xmlns:a16="http://schemas.microsoft.com/office/drawing/2014/main" id="{FF9D37C9-DC97-F74C-B1D4-BE3E1AC03213}"/>
              </a:ext>
            </a:extLst>
          </p:cNvPr>
          <p:cNvSpPr/>
          <p:nvPr/>
        </p:nvSpPr>
        <p:spPr>
          <a:xfrm>
            <a:off x="7031310" y="1989634"/>
            <a:ext cx="3652415" cy="3785652"/>
          </a:xfrm>
          <a:prstGeom prst="rect">
            <a:avLst/>
          </a:prstGeom>
        </p:spPr>
        <p:txBody>
          <a:bodyPr wrap="square">
            <a:spAutoFit/>
          </a:bodyPr>
          <a:lstStyle/>
          <a:p>
            <a:pPr marL="380981" indent="-380981">
              <a:buFont typeface="Arial" charset="0"/>
              <a:buChar char="•"/>
            </a:pPr>
            <a:r>
              <a:rPr lang="en-US" sz="1600" dirty="0">
                <a:solidFill>
                  <a:srgbClr val="555555"/>
                </a:solidFill>
              </a:rPr>
              <a:t>Higher conformance level  means more extensive review of the chemical formulation and its producer.  </a:t>
            </a:r>
          </a:p>
          <a:p>
            <a:pPr marL="380981" indent="-380981">
              <a:buFont typeface="Arial" charset="0"/>
              <a:buChar char="•"/>
            </a:pPr>
            <a:endParaRPr lang="en-US" sz="1600" dirty="0">
              <a:solidFill>
                <a:srgbClr val="555555"/>
              </a:solidFill>
            </a:endParaRPr>
          </a:p>
          <a:p>
            <a:pPr marL="380981" indent="-380981">
              <a:buFont typeface="Arial" charset="0"/>
              <a:buChar char="•"/>
            </a:pPr>
            <a:r>
              <a:rPr lang="en-US" sz="1600" dirty="0">
                <a:solidFill>
                  <a:srgbClr val="96C11F"/>
                </a:solidFill>
              </a:rPr>
              <a:t>ZDHC MRSL Conformance Guidance </a:t>
            </a:r>
            <a:r>
              <a:rPr lang="en-US" sz="1600" dirty="0">
                <a:solidFill>
                  <a:srgbClr val="555555"/>
                </a:solidFill>
              </a:rPr>
              <a:t>forms the backbone of the </a:t>
            </a:r>
            <a:r>
              <a:rPr lang="en-US" sz="1600" dirty="0">
                <a:solidFill>
                  <a:srgbClr val="952885"/>
                </a:solidFill>
              </a:rPr>
              <a:t>ZDHC Gateway - Chemical Module</a:t>
            </a:r>
          </a:p>
          <a:p>
            <a:pPr marL="380981" indent="-380981">
              <a:buFont typeface="Arial" charset="0"/>
              <a:buChar char="•"/>
            </a:pPr>
            <a:endParaRPr lang="en-US" sz="1600" dirty="0">
              <a:solidFill>
                <a:srgbClr val="555555"/>
              </a:solidFill>
            </a:endParaRPr>
          </a:p>
          <a:p>
            <a:pPr marL="380981" indent="-380981">
              <a:buFont typeface="Arial" charset="0"/>
              <a:buChar char="•"/>
            </a:pPr>
            <a:r>
              <a:rPr lang="en-US" sz="1600" dirty="0">
                <a:solidFill>
                  <a:srgbClr val="555555"/>
                </a:solidFill>
              </a:rPr>
              <a:t>Manufacturers and brands can use the </a:t>
            </a:r>
            <a:r>
              <a:rPr lang="en-US" sz="1600" dirty="0">
                <a:solidFill>
                  <a:srgbClr val="952885"/>
                </a:solidFill>
              </a:rPr>
              <a:t>ZDHC Gateway - Chemical Module </a:t>
            </a:r>
            <a:r>
              <a:rPr lang="en-US" sz="1600" dirty="0">
                <a:solidFill>
                  <a:srgbClr val="555555"/>
                </a:solidFill>
              </a:rPr>
              <a:t>to find </a:t>
            </a:r>
            <a:r>
              <a:rPr lang="en-US" sz="1600" dirty="0">
                <a:solidFill>
                  <a:srgbClr val="96C11F"/>
                </a:solidFill>
              </a:rPr>
              <a:t>ZDHC MRSL </a:t>
            </a:r>
            <a:r>
              <a:rPr lang="en-US" sz="1600" dirty="0">
                <a:solidFill>
                  <a:srgbClr val="555555"/>
                </a:solidFill>
              </a:rPr>
              <a:t>conformant safer alternatives.</a:t>
            </a:r>
          </a:p>
        </p:txBody>
      </p:sp>
      <p:pic>
        <p:nvPicPr>
          <p:cNvPr id="6" name="Picture 5"/>
          <p:cNvPicPr>
            <a:picLocks noChangeAspect="1"/>
          </p:cNvPicPr>
          <p:nvPr/>
        </p:nvPicPr>
        <p:blipFill rotWithShape="1">
          <a:blip r:embed="rId3"/>
          <a:srcRect t="5086"/>
          <a:stretch/>
        </p:blipFill>
        <p:spPr>
          <a:xfrm>
            <a:off x="550486" y="1917627"/>
            <a:ext cx="5381557" cy="3384376"/>
          </a:xfrm>
          <a:prstGeom prst="rect">
            <a:avLst/>
          </a:prstGeom>
        </p:spPr>
      </p:pic>
      <p:sp>
        <p:nvSpPr>
          <p:cNvPr id="11" name="Rectangle 10"/>
          <p:cNvSpPr/>
          <p:nvPr/>
        </p:nvSpPr>
        <p:spPr>
          <a:xfrm>
            <a:off x="3934966" y="2248050"/>
            <a:ext cx="1569661" cy="923330"/>
          </a:xfrm>
          <a:prstGeom prst="rect">
            <a:avLst/>
          </a:prstGeom>
          <a:noFill/>
        </p:spPr>
        <p:txBody>
          <a:bodyPr wrap="none" lIns="91440" tIns="45720" rIns="91440" bIns="45720">
            <a:spAutoFit/>
          </a:bodyPr>
          <a:lstStyle/>
          <a:p>
            <a:pPr algn="ctr"/>
            <a:r>
              <a:rPr lang="en-US" sz="54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XXX</a:t>
            </a:r>
            <a:endPar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
        <p:nvSpPr>
          <p:cNvPr id="12" name="TextBox 11"/>
          <p:cNvSpPr txBox="1"/>
          <p:nvPr/>
        </p:nvSpPr>
        <p:spPr>
          <a:xfrm rot="5400000">
            <a:off x="11522722" y="2040581"/>
            <a:ext cx="1008112" cy="330155"/>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900" b="0" i="0" u="none" baseline="0" dirty="0" smtClean="0">
                <a:solidFill>
                  <a:srgbClr val="000000"/>
                </a:solidFill>
                <a:latin typeface="Arial" panose="020B0604020202020204" pitchFamily="34" charset="0"/>
              </a:rPr>
              <a:t>Source :</a:t>
            </a:r>
            <a:r>
              <a:rPr lang="en-US" sz="900" b="0" i="0" u="none" dirty="0" smtClean="0">
                <a:solidFill>
                  <a:srgbClr val="000000"/>
                </a:solidFill>
                <a:latin typeface="Arial" panose="020B0604020202020204" pitchFamily="34" charset="0"/>
              </a:rPr>
              <a:t> ZDHC</a:t>
            </a:r>
            <a:endParaRPr lang="en-GB" sz="900" b="0" i="0" u="none" baseline="0" dirty="0"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66910511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71B9"/>
                </a:solidFill>
              </a:rPr>
              <a:t>ZDHC MRSL Management Team</a:t>
            </a:r>
            <a:endParaRPr lang="en-GB" dirty="0"/>
          </a:p>
        </p:txBody>
      </p:sp>
      <p:sp>
        <p:nvSpPr>
          <p:cNvPr id="6" name="Content Placeholder 5"/>
          <p:cNvSpPr>
            <a:spLocks noGrp="1"/>
          </p:cNvSpPr>
          <p:nvPr>
            <p:ph sz="quarter" idx="13"/>
          </p:nvPr>
        </p:nvSpPr>
        <p:spPr/>
        <p:txBody>
          <a:bodyPr/>
          <a:lstStyle/>
          <a:p>
            <a:pPr marL="171450" indent="-171450">
              <a:buFont typeface="Wingdings" panose="05000000000000000000" pitchFamily="2" charset="2"/>
              <a:buChar char="q"/>
            </a:pPr>
            <a:r>
              <a:rPr lang="en-US" sz="1800" dirty="0"/>
              <a:t>EHS Manager to oversee the entire Chemical Management  System </a:t>
            </a:r>
          </a:p>
          <a:p>
            <a:pPr marL="171450" indent="-171450">
              <a:buFont typeface="Wingdings" panose="05000000000000000000" pitchFamily="2" charset="2"/>
              <a:buChar char="q"/>
            </a:pPr>
            <a:r>
              <a:rPr lang="en-US" sz="1800" dirty="0"/>
              <a:t>Effluent treatment Plant(ETP) Manger/Technician to provide insight and understanding of the impacts on effluent from Chemical Inputs</a:t>
            </a:r>
          </a:p>
          <a:p>
            <a:pPr marL="171450" indent="-171450">
              <a:buFont typeface="Wingdings" panose="05000000000000000000" pitchFamily="2" charset="2"/>
              <a:buChar char="q"/>
            </a:pPr>
            <a:r>
              <a:rPr lang="en-US" sz="1800" dirty="0"/>
              <a:t>Product Quality Manager to ensure performance quality of the purchased Chemicals while ensuring compliance with the ZDHC MRSL</a:t>
            </a:r>
          </a:p>
          <a:p>
            <a:pPr marL="171450" indent="-171450">
              <a:buFont typeface="Wingdings" panose="05000000000000000000" pitchFamily="2" charset="2"/>
              <a:buChar char="q"/>
            </a:pPr>
            <a:r>
              <a:rPr lang="en-US" sz="1800" dirty="0"/>
              <a:t>Operation/Production  Manger to ensure the proper application of Chemicals ( For example nature, quantity) for the production of products</a:t>
            </a:r>
          </a:p>
          <a:p>
            <a:pPr marL="171450" indent="-171450">
              <a:buFont typeface="Wingdings" panose="05000000000000000000" pitchFamily="2" charset="2"/>
              <a:buChar char="q"/>
            </a:pPr>
            <a:r>
              <a:rPr lang="en-US" sz="1800" dirty="0"/>
              <a:t>Purchasing/Procurement Manger/Officer   to ensure alignment of Purchasing Chemicals in compliance with the ZDHC MRSL .</a:t>
            </a:r>
          </a:p>
          <a:p>
            <a:r>
              <a:rPr lang="en-US" sz="1800" dirty="0"/>
              <a:t>The   above team members should work together and communicate regularly amongst themselves and factory Management</a:t>
            </a:r>
            <a:endParaRPr lang="en-GB" sz="1800" dirty="0"/>
          </a:p>
          <a:p>
            <a:endParaRPr lang="en-GB" dirty="0"/>
          </a:p>
        </p:txBody>
      </p:sp>
      <p:sp>
        <p:nvSpPr>
          <p:cNvPr id="7" name="Text Placeholder 6"/>
          <p:cNvSpPr>
            <a:spLocks noGrp="1"/>
          </p:cNvSpPr>
          <p:nvPr>
            <p:ph type="body" sz="quarter" idx="14"/>
          </p:nvPr>
        </p:nvSpPr>
        <p:spPr/>
        <p:txBody>
          <a:bodyPr/>
          <a:lstStyle/>
          <a:p>
            <a:r>
              <a:rPr lang="en-US" b="1" dirty="0"/>
              <a:t>ZDHC Strongly recommends involving the following Team :</a:t>
            </a:r>
          </a:p>
          <a:p>
            <a:endParaRPr lang="en-GB" dirty="0"/>
          </a:p>
        </p:txBody>
      </p:sp>
    </p:spTree>
    <p:extLst>
      <p:ext uri="{BB962C8B-B14F-4D97-AF65-F5344CB8AC3E}">
        <p14:creationId xmlns:p14="http://schemas.microsoft.com/office/powerpoint/2010/main" val="270086060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62558" y="333450"/>
            <a:ext cx="11665296" cy="5625231"/>
          </a:xfrm>
          <a:prstGeom prst="rect">
            <a:avLst/>
          </a:prstGeom>
        </p:spPr>
      </p:pic>
    </p:spTree>
    <p:extLst>
      <p:ext uri="{BB962C8B-B14F-4D97-AF65-F5344CB8AC3E}">
        <p14:creationId xmlns:p14="http://schemas.microsoft.com/office/powerpoint/2010/main" val="15834319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06416" y="1701554"/>
            <a:ext cx="11233560" cy="4752660"/>
          </a:xfrm>
          <a:prstGeom prst="rect">
            <a:avLst/>
          </a:prstGeom>
        </p:spPr>
      </p:pic>
      <p:sp>
        <p:nvSpPr>
          <p:cNvPr id="3" name="TextBox 2"/>
          <p:cNvSpPr txBox="1"/>
          <p:nvPr/>
        </p:nvSpPr>
        <p:spPr>
          <a:xfrm>
            <a:off x="406416" y="405374"/>
            <a:ext cx="6624920" cy="374461"/>
          </a:xfrm>
          <a:prstGeom prst="rect">
            <a:avLst/>
          </a:prstGeom>
          <a:noFill/>
        </p:spPr>
        <p:txBody>
          <a:bodyPr wrap="square" lIns="0" rtlCol="0">
            <a:spAutoFit/>
          </a:bodyPr>
          <a:lstStyle/>
          <a:p>
            <a:pPr>
              <a:lnSpc>
                <a:spcPts val="2200"/>
              </a:lnSpc>
              <a:buClr>
                <a:schemeClr val="tx2"/>
              </a:buClr>
            </a:pPr>
            <a:r>
              <a:rPr lang="en-US" b="1" dirty="0" smtClean="0">
                <a:solidFill>
                  <a:schemeClr val="dk2"/>
                </a:solidFill>
              </a:rPr>
              <a:t>Types of Chemicals in Leather Supply Chain</a:t>
            </a:r>
            <a:endParaRPr lang="en-GB" b="1" dirty="0" smtClean="0">
              <a:solidFill>
                <a:schemeClr val="dk2"/>
              </a:solidFill>
            </a:endParaRPr>
          </a:p>
        </p:txBody>
      </p:sp>
    </p:spTree>
    <p:extLst>
      <p:ext uri="{BB962C8B-B14F-4D97-AF65-F5344CB8AC3E}">
        <p14:creationId xmlns:p14="http://schemas.microsoft.com/office/powerpoint/2010/main" val="236191581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Classes of Priority Chemicals</a:t>
            </a:r>
            <a:endParaRPr lang="en-GB" dirty="0"/>
          </a:p>
        </p:txBody>
      </p:sp>
      <p:sp>
        <p:nvSpPr>
          <p:cNvPr id="3" name="Content Placeholder 2"/>
          <p:cNvSpPr>
            <a:spLocks noGrp="1"/>
          </p:cNvSpPr>
          <p:nvPr>
            <p:ph sz="quarter" idx="13"/>
          </p:nvPr>
        </p:nvSpPr>
        <p:spPr/>
        <p:txBody>
          <a:bodyPr/>
          <a:lstStyle/>
          <a:p>
            <a:endParaRPr lang="en-GB" dirty="0"/>
          </a:p>
        </p:txBody>
      </p:sp>
      <p:pic>
        <p:nvPicPr>
          <p:cNvPr id="4" name="Picture 3"/>
          <p:cNvPicPr>
            <a:picLocks noChangeAspect="1"/>
          </p:cNvPicPr>
          <p:nvPr/>
        </p:nvPicPr>
        <p:blipFill>
          <a:blip r:embed="rId2"/>
          <a:stretch>
            <a:fillRect/>
          </a:stretch>
        </p:blipFill>
        <p:spPr>
          <a:xfrm>
            <a:off x="295506" y="1053464"/>
            <a:ext cx="11598587" cy="5148250"/>
          </a:xfrm>
          <a:prstGeom prst="rect">
            <a:avLst/>
          </a:prstGeom>
        </p:spPr>
      </p:pic>
    </p:spTree>
    <p:extLst>
      <p:ext uri="{BB962C8B-B14F-4D97-AF65-F5344CB8AC3E}">
        <p14:creationId xmlns:p14="http://schemas.microsoft.com/office/powerpoint/2010/main" val="651498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Chemicals used at each stage of Manufacturing Process</a:t>
            </a:r>
            <a:endParaRPr lang="en-GB" dirty="0"/>
          </a:p>
        </p:txBody>
      </p:sp>
      <p:pic>
        <p:nvPicPr>
          <p:cNvPr id="5" name="Content Placeholder 4"/>
          <p:cNvPicPr>
            <a:picLocks noGrp="1" noChangeAspect="1"/>
          </p:cNvPicPr>
          <p:nvPr>
            <p:ph sz="quarter" idx="13"/>
          </p:nvPr>
        </p:nvPicPr>
        <p:blipFill>
          <a:blip r:embed="rId2"/>
          <a:stretch>
            <a:fillRect/>
          </a:stretch>
        </p:blipFill>
        <p:spPr>
          <a:xfrm>
            <a:off x="552876" y="1269494"/>
            <a:ext cx="11303130" cy="4608640"/>
          </a:xfrm>
          <a:prstGeom prst="rect">
            <a:avLst/>
          </a:prstGeom>
        </p:spPr>
      </p:pic>
    </p:spTree>
    <p:extLst>
      <p:ext uri="{BB962C8B-B14F-4D97-AF65-F5344CB8AC3E}">
        <p14:creationId xmlns:p14="http://schemas.microsoft.com/office/powerpoint/2010/main" val="3113855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54506" y="3125034"/>
            <a:ext cx="9721349" cy="1909305"/>
          </a:xfrm>
          <a:prstGeom prst="rect">
            <a:avLst/>
          </a:prstGeom>
          <a:noFill/>
        </p:spPr>
        <p:txBody>
          <a:bodyPr wrap="square" rtlCol="0">
            <a:spAutoFit/>
          </a:bodyPr>
          <a:lstStyle/>
          <a:p>
            <a:pPr lvl="0">
              <a:lnSpc>
                <a:spcPct val="200000"/>
              </a:lnSpc>
              <a:defRPr/>
            </a:pPr>
            <a:r>
              <a:rPr lang="en-GB" sz="3200" dirty="0">
                <a:solidFill>
                  <a:srgbClr val="0071B9"/>
                </a:solidFill>
              </a:rPr>
              <a:t>BIS – Footwear, Toys; New Era of Product Certification in India</a:t>
            </a:r>
            <a:endParaRPr lang="en-US" sz="3200" b="1" cap="all" dirty="0">
              <a:solidFill>
                <a:srgbClr val="0071B9"/>
              </a:solidFill>
            </a:endParaRPr>
          </a:p>
        </p:txBody>
      </p:sp>
      <p:grpSp>
        <p:nvGrpSpPr>
          <p:cNvPr id="16" name="Group 15">
            <a:extLst>
              <a:ext uri="{FF2B5EF4-FFF2-40B4-BE49-F238E27FC236}">
                <a16:creationId xmlns:a16="http://schemas.microsoft.com/office/drawing/2014/main" id="{8EE939A6-7A5B-5A46-9FA4-585496E429E0}"/>
              </a:ext>
            </a:extLst>
          </p:cNvPr>
          <p:cNvGrpSpPr/>
          <p:nvPr/>
        </p:nvGrpSpPr>
        <p:grpSpPr>
          <a:xfrm rot="10800000">
            <a:off x="4510986" y="4577199"/>
            <a:ext cx="457140" cy="457140"/>
            <a:chOff x="6324600" y="4114799"/>
            <a:chExt cx="685800" cy="685800"/>
          </a:xfrm>
        </p:grpSpPr>
        <p:cxnSp>
          <p:nvCxnSpPr>
            <p:cNvPr id="17" name="Straight Connector 16">
              <a:extLst>
                <a:ext uri="{FF2B5EF4-FFF2-40B4-BE49-F238E27FC236}">
                  <a16:creationId xmlns:a16="http://schemas.microsoft.com/office/drawing/2014/main" id="{4AEC0260-616B-E54B-82FE-15A118660D80}"/>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DC18E9C-2780-2F4C-82DA-1666B220D238}"/>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CA12C4E7-F3DB-3848-AD02-793DDC649D85}"/>
              </a:ext>
            </a:extLst>
          </p:cNvPr>
          <p:cNvGrpSpPr/>
          <p:nvPr/>
        </p:nvGrpSpPr>
        <p:grpSpPr>
          <a:xfrm>
            <a:off x="1023119" y="3501153"/>
            <a:ext cx="457140" cy="457140"/>
            <a:chOff x="6324600" y="4114799"/>
            <a:chExt cx="685800" cy="685800"/>
          </a:xfrm>
        </p:grpSpPr>
        <p:cxnSp>
          <p:nvCxnSpPr>
            <p:cNvPr id="20" name="Straight Connector 19">
              <a:extLst>
                <a:ext uri="{FF2B5EF4-FFF2-40B4-BE49-F238E27FC236}">
                  <a16:creationId xmlns:a16="http://schemas.microsoft.com/office/drawing/2014/main" id="{979FE5C7-9DA7-6E48-8054-6DD4E54CE025}"/>
                </a:ext>
              </a:extLst>
            </p:cNvPr>
            <p:cNvCxnSpPr/>
            <p:nvPr/>
          </p:nvCxnSpPr>
          <p:spPr>
            <a:xfrm flipV="1">
              <a:off x="6324600" y="4114799"/>
              <a:ext cx="0" cy="68580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5E7422F-A53E-294C-9DFC-FBFDC987B287}"/>
                </a:ext>
              </a:extLst>
            </p:cNvPr>
            <p:cNvCxnSpPr/>
            <p:nvPr/>
          </p:nvCxnSpPr>
          <p:spPr>
            <a:xfrm>
              <a:off x="6324600" y="4114799"/>
              <a:ext cx="685800" cy="0"/>
            </a:xfrm>
            <a:prstGeom prst="line">
              <a:avLst/>
            </a:prstGeom>
            <a:ln w="38100" cap="sq">
              <a:solidFill>
                <a:schemeClr val="bg2"/>
              </a:solidFill>
              <a:beve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58255880"/>
      </p:ext>
    </p:extLst>
  </p:cSld>
  <p:clrMapOvr>
    <a:masterClrMapping/>
  </p:clrMapOvr>
  <mc:AlternateContent xmlns:mc="http://schemas.openxmlformats.org/markup-compatibility/2006" xmlns:p14="http://schemas.microsoft.com/office/powerpoint/2010/main">
    <mc:Choice Requires="p14">
      <p:transition spd="slow" p14:dur="2500">
        <p14:flip dir="r"/>
      </p:transition>
    </mc:Choice>
    <mc:Fallback xmlns="">
      <p:transition spd="slow">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054506" y="549394"/>
            <a:ext cx="9546000" cy="4924409"/>
          </a:xfrm>
          <a:prstGeom prst="rect">
            <a:avLst/>
          </a:prstGeom>
        </p:spPr>
      </p:pic>
    </p:spTree>
    <p:extLst>
      <p:ext uri="{BB962C8B-B14F-4D97-AF65-F5344CB8AC3E}">
        <p14:creationId xmlns:p14="http://schemas.microsoft.com/office/powerpoint/2010/main" val="273537133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gray">
          <a:xfrm>
            <a:off x="552876" y="405374"/>
            <a:ext cx="11087100" cy="648090"/>
          </a:xfrm>
          <a:prstGeom prst="rect">
            <a:avLst/>
          </a:prstGeom>
        </p:spPr>
        <p:txBody>
          <a:bodyPr vert="horz" lIns="0" tIns="0" rIns="0" bIns="0" rtlCol="0" anchor="t" anchorCtr="0">
            <a:noAutofit/>
          </a:bodyPr>
          <a:lstStyle>
            <a:lvl1pPr algn="l" defTabSz="1219170" rtl="0" eaLnBrk="1" latinLnBrk="0" hangingPunct="1">
              <a:spcBef>
                <a:spcPct val="0"/>
              </a:spcBef>
              <a:buNone/>
              <a:defRPr sz="3200" kern="1200" baseline="0">
                <a:solidFill>
                  <a:schemeClr val="bg1"/>
                </a:solidFill>
                <a:latin typeface="+mj-lt"/>
                <a:ea typeface="+mj-ea"/>
                <a:cs typeface="+mj-cs"/>
              </a:defRPr>
            </a:lvl1pPr>
          </a:lstStyle>
          <a:p>
            <a:r>
              <a:rPr lang="en-US" sz="2400" dirty="0" smtClean="0">
                <a:solidFill>
                  <a:schemeClr val="tx2"/>
                </a:solidFill>
              </a:rPr>
              <a:t>Whom it is applicable</a:t>
            </a:r>
            <a:endParaRPr lang="en-US" sz="2400" dirty="0">
              <a:solidFill>
                <a:schemeClr val="tx2"/>
              </a:solidFill>
            </a:endParaRPr>
          </a:p>
        </p:txBody>
      </p:sp>
      <p:pic>
        <p:nvPicPr>
          <p:cNvPr id="3" name="Picture 2"/>
          <p:cNvPicPr>
            <a:picLocks noChangeAspect="1"/>
          </p:cNvPicPr>
          <p:nvPr/>
        </p:nvPicPr>
        <p:blipFill>
          <a:blip r:embed="rId2"/>
          <a:stretch>
            <a:fillRect/>
          </a:stretch>
        </p:blipFill>
        <p:spPr>
          <a:xfrm>
            <a:off x="524409" y="1053464"/>
            <a:ext cx="10971547" cy="5058240"/>
          </a:xfrm>
          <a:prstGeom prst="rect">
            <a:avLst/>
          </a:prstGeom>
        </p:spPr>
      </p:pic>
    </p:spTree>
    <p:extLst>
      <p:ext uri="{BB962C8B-B14F-4D97-AF65-F5344CB8AC3E}">
        <p14:creationId xmlns:p14="http://schemas.microsoft.com/office/powerpoint/2010/main" val="9960661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a:xfrm>
            <a:off x="2062023" y="30170"/>
            <a:ext cx="6734146" cy="893969"/>
          </a:xfrm>
        </p:spPr>
        <p:txBody>
          <a:bodyPr/>
          <a:lstStyle/>
          <a:p>
            <a:r>
              <a:rPr lang="en-US" altLang="zh-CN" dirty="0" smtClean="0">
                <a:ea typeface="SimSun" panose="02010600030101010101" pitchFamily="2" charset="-122"/>
                <a:sym typeface="Arial" panose="020B0604020202020204" pitchFamily="34" charset="0"/>
              </a:rPr>
              <a:t>Softlines.</a:t>
            </a:r>
            <a:endParaRPr lang="en-US" altLang="en-US" dirty="0" smtClean="0"/>
          </a:p>
        </p:txBody>
      </p:sp>
      <p:sp>
        <p:nvSpPr>
          <p:cNvPr id="72707" name="Content Placeholder 2"/>
          <p:cNvSpPr>
            <a:spLocks noGrp="1"/>
          </p:cNvSpPr>
          <p:nvPr>
            <p:ph idx="1"/>
          </p:nvPr>
        </p:nvSpPr>
        <p:spPr>
          <a:xfrm>
            <a:off x="2062023" y="1773649"/>
            <a:ext cx="8052076" cy="4033183"/>
          </a:xfrm>
        </p:spPr>
        <p:txBody>
          <a:bodyPr/>
          <a:lstStyle/>
          <a:p>
            <a:pPr>
              <a:spcBef>
                <a:spcPct val="0"/>
              </a:spcBef>
            </a:pPr>
            <a:endParaRPr lang="en-US" altLang="en-US" smtClean="0"/>
          </a:p>
          <a:p>
            <a:pPr>
              <a:spcBef>
                <a:spcPct val="0"/>
              </a:spcBef>
            </a:pPr>
            <a:endParaRPr lang="en-US" altLang="en-US" smtClean="0"/>
          </a:p>
        </p:txBody>
      </p:sp>
      <p:sp>
        <p:nvSpPr>
          <p:cNvPr id="72710" name="Text Placeholder 6"/>
          <p:cNvSpPr>
            <a:spLocks noGrp="1"/>
          </p:cNvSpPr>
          <p:nvPr>
            <p:ph type="body" sz="quarter" idx="13"/>
          </p:nvPr>
        </p:nvSpPr>
        <p:spPr>
          <a:xfrm>
            <a:off x="2062023" y="1268707"/>
            <a:ext cx="8052076" cy="360445"/>
          </a:xfrm>
        </p:spPr>
        <p:txBody>
          <a:bodyPr/>
          <a:lstStyle/>
          <a:p>
            <a:endParaRPr lang="en-US" altLang="en-US" smtClean="0"/>
          </a:p>
          <a:p>
            <a:endParaRPr lang="en-US" altLang="en-US" smtClean="0"/>
          </a:p>
        </p:txBody>
      </p:sp>
      <p:sp>
        <p:nvSpPr>
          <p:cNvPr id="72712" name="Rectangle 4"/>
          <p:cNvSpPr>
            <a:spLocks/>
          </p:cNvSpPr>
          <p:nvPr/>
        </p:nvSpPr>
        <p:spPr bwMode="auto">
          <a:xfrm>
            <a:off x="6599276" y="1165972"/>
            <a:ext cx="4898572" cy="1003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40648" bIns="0"/>
          <a:lstStyle>
            <a:lvl1pPr marL="39688">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zh-CN" dirty="0">
                <a:solidFill>
                  <a:srgbClr val="0071B9"/>
                </a:solidFill>
                <a:ea typeface="SimSun" panose="02010600030101010101" pitchFamily="2" charset="-122"/>
              </a:rPr>
              <a:t>We offer neutral and independent support and fundamental specialist knowledge in detecting and evaluating harmful materials and hazardous substances, performance and safety in all kinds of textile products </a:t>
            </a:r>
          </a:p>
        </p:txBody>
      </p:sp>
      <p:sp>
        <p:nvSpPr>
          <p:cNvPr id="72713" name="Rectangle 5"/>
          <p:cNvSpPr>
            <a:spLocks/>
          </p:cNvSpPr>
          <p:nvPr/>
        </p:nvSpPr>
        <p:spPr bwMode="auto">
          <a:xfrm>
            <a:off x="6736705" y="2656039"/>
            <a:ext cx="4118928" cy="2661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spcAft>
                <a:spcPts val="600"/>
              </a:spcAft>
              <a:buClr>
                <a:srgbClr val="000000"/>
              </a:buClr>
              <a:buFont typeface="Wingdings" panose="05000000000000000000" pitchFamily="2" charset="2"/>
              <a:buChar char="§"/>
              <a:tabLst>
                <a:tab pos="177800" algn="l"/>
                <a:tab pos="914400" algn="l"/>
              </a:tabLst>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tabLst>
                <a:tab pos="177800" algn="l"/>
                <a:tab pos="914400" algn="l"/>
              </a:tabLst>
              <a:defRPr sz="1600">
                <a:solidFill>
                  <a:schemeClr val="tx1"/>
                </a:solidFill>
                <a:latin typeface="Arial" panose="020B0604020202020204" pitchFamily="34" charset="0"/>
                <a:cs typeface="Arial" panose="020B0604020202020204" pitchFamily="34" charset="0"/>
              </a:defRPr>
            </a:lvl9pPr>
          </a:lstStyle>
          <a:p>
            <a:pPr>
              <a:lnSpc>
                <a:spcPct val="110000"/>
              </a:lnSpc>
              <a:spcBef>
                <a:spcPts val="413"/>
              </a:spcBef>
              <a:spcAft>
                <a:spcPct val="0"/>
              </a:spcAft>
            </a:pPr>
            <a:endParaRPr lang="zh-CN" altLang="en-US" dirty="0">
              <a:ea typeface="SimSun" panose="02010600030101010101" pitchFamily="2" charset="-122"/>
            </a:endParaRPr>
          </a:p>
          <a:p>
            <a:pPr>
              <a:lnSpc>
                <a:spcPct val="110000"/>
              </a:lnSpc>
              <a:spcBef>
                <a:spcPts val="413"/>
              </a:spcBef>
              <a:spcAft>
                <a:spcPct val="0"/>
              </a:spcAft>
            </a:pPr>
            <a:r>
              <a:rPr lang="en-US" altLang="zh-CN" dirty="0">
                <a:ea typeface="SimSun" panose="02010600030101010101" pitchFamily="2" charset="-122"/>
              </a:rPr>
              <a:t>	 Apparel</a:t>
            </a:r>
          </a:p>
          <a:p>
            <a:pPr>
              <a:lnSpc>
                <a:spcPct val="110000"/>
              </a:lnSpc>
              <a:spcBef>
                <a:spcPts val="413"/>
              </a:spcBef>
              <a:spcAft>
                <a:spcPct val="0"/>
              </a:spcAft>
            </a:pPr>
            <a:r>
              <a:rPr lang="en-US" altLang="zh-CN" dirty="0">
                <a:ea typeface="SimSun" panose="02010600030101010101" pitchFamily="2" charset="-122"/>
              </a:rPr>
              <a:t>  Leather and Footwear</a:t>
            </a:r>
          </a:p>
          <a:p>
            <a:pPr>
              <a:lnSpc>
                <a:spcPct val="110000"/>
              </a:lnSpc>
              <a:spcBef>
                <a:spcPts val="413"/>
              </a:spcBef>
              <a:spcAft>
                <a:spcPct val="0"/>
              </a:spcAft>
            </a:pPr>
            <a:r>
              <a:rPr lang="en-US" altLang="zh-CN" dirty="0">
                <a:ea typeface="SimSun" panose="02010600030101010101" pitchFamily="2" charset="-122"/>
              </a:rPr>
              <a:t>  Home textiles</a:t>
            </a:r>
          </a:p>
          <a:p>
            <a:pPr>
              <a:lnSpc>
                <a:spcPct val="110000"/>
              </a:lnSpc>
              <a:spcBef>
                <a:spcPts val="413"/>
              </a:spcBef>
              <a:spcAft>
                <a:spcPct val="0"/>
              </a:spcAft>
            </a:pPr>
            <a:r>
              <a:rPr lang="en-US" altLang="zh-CN" dirty="0">
                <a:ea typeface="SimSun" panose="02010600030101010101" pitchFamily="2" charset="-122"/>
              </a:rPr>
              <a:t>  Toys</a:t>
            </a:r>
          </a:p>
          <a:p>
            <a:pPr>
              <a:lnSpc>
                <a:spcPct val="110000"/>
              </a:lnSpc>
              <a:spcBef>
                <a:spcPts val="413"/>
              </a:spcBef>
              <a:spcAft>
                <a:spcPct val="0"/>
              </a:spcAft>
            </a:pPr>
            <a:r>
              <a:rPr lang="en-US" altLang="zh-CN" dirty="0">
                <a:ea typeface="SimSun" panose="02010600030101010101" pitchFamily="2" charset="-122"/>
              </a:rPr>
              <a:t>  Candle and Candle Holders</a:t>
            </a:r>
          </a:p>
          <a:p>
            <a:pPr>
              <a:lnSpc>
                <a:spcPct val="110000"/>
              </a:lnSpc>
              <a:spcBef>
                <a:spcPts val="413"/>
              </a:spcBef>
              <a:spcAft>
                <a:spcPct val="0"/>
              </a:spcAft>
            </a:pPr>
            <a:r>
              <a:rPr lang="en-US" altLang="zh-CN" dirty="0">
                <a:ea typeface="SimSun" panose="02010600030101010101" pitchFamily="2" charset="-122"/>
              </a:rPr>
              <a:t>  Jewelry</a:t>
            </a:r>
          </a:p>
          <a:p>
            <a:pPr>
              <a:lnSpc>
                <a:spcPct val="110000"/>
              </a:lnSpc>
              <a:spcBef>
                <a:spcPts val="413"/>
              </a:spcBef>
              <a:spcAft>
                <a:spcPct val="0"/>
              </a:spcAft>
            </a:pPr>
            <a:r>
              <a:rPr lang="en-US" altLang="zh-CN" dirty="0">
                <a:ea typeface="SimSun" panose="02010600030101010101" pitchFamily="2" charset="-122"/>
              </a:rPr>
              <a:t>  Fashion Accessories   </a:t>
            </a:r>
          </a:p>
          <a:p>
            <a:pPr>
              <a:lnSpc>
                <a:spcPct val="110000"/>
              </a:lnSpc>
              <a:spcBef>
                <a:spcPts val="413"/>
              </a:spcBef>
              <a:spcAft>
                <a:spcPct val="0"/>
              </a:spcAft>
            </a:pPr>
            <a:r>
              <a:rPr lang="en-US" altLang="zh-CN" dirty="0">
                <a:ea typeface="SimSun" panose="02010600030101010101" pitchFamily="2" charset="-122"/>
              </a:rPr>
              <a:t>  Food contact materials </a:t>
            </a:r>
          </a:p>
          <a:p>
            <a:pPr>
              <a:lnSpc>
                <a:spcPct val="110000"/>
              </a:lnSpc>
              <a:spcBef>
                <a:spcPts val="413"/>
              </a:spcBef>
              <a:spcAft>
                <a:spcPct val="0"/>
              </a:spcAft>
            </a:pPr>
            <a:r>
              <a:rPr lang="en-US" altLang="zh-CN" dirty="0">
                <a:ea typeface="SimSun" panose="02010600030101010101" pitchFamily="2" charset="-122"/>
              </a:rPr>
              <a:t>  DETOX Waste Water testing          </a:t>
            </a:r>
          </a:p>
          <a:p>
            <a:pPr>
              <a:lnSpc>
                <a:spcPct val="110000"/>
              </a:lnSpc>
              <a:spcBef>
                <a:spcPts val="413"/>
              </a:spcBef>
              <a:spcAft>
                <a:spcPct val="0"/>
              </a:spcAft>
              <a:buClrTx/>
              <a:buNone/>
            </a:pPr>
            <a:endParaRPr lang="en-US" altLang="zh-CN" dirty="0">
              <a:ea typeface="SimSun" panose="02010600030101010101" pitchFamily="2" charset="-122"/>
            </a:endParaRPr>
          </a:p>
        </p:txBody>
      </p:sp>
      <p:pic>
        <p:nvPicPr>
          <p:cNvPr id="10" name="Picture Placeholder 7"/>
          <p:cNvPicPr>
            <a:picLocks noGrp="1" noChangeAspect="1"/>
          </p:cNvPicPr>
          <p:nvPr/>
        </p:nvPicPr>
        <p:blipFill>
          <a:blip r:embed="rId2">
            <a:extLst>
              <a:ext uri="{28A0092B-C50C-407E-A947-70E740481C1C}">
                <a14:useLocalDpi xmlns:a14="http://schemas.microsoft.com/office/drawing/2010/main" val="0"/>
              </a:ext>
            </a:extLst>
          </a:blip>
          <a:stretch>
            <a:fillRect/>
          </a:stretch>
        </p:blipFill>
        <p:spPr bwMode="gray">
          <a:xfrm>
            <a:off x="1" y="477154"/>
            <a:ext cx="5020156" cy="3384700"/>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90411 w 12190413"/>
              <a:gd name="connsiteY3" fmla="*/ 6859588 h 6859588"/>
              <a:gd name="connsiteX4" fmla="*/ 12190412 w 12190413"/>
              <a:gd name="connsiteY4" fmla="*/ 5413773 h 6859588"/>
              <a:gd name="connsiteX5" fmla="*/ 12188206 w 12190413"/>
              <a:gd name="connsiteY5" fmla="*/ 5413259 h 6859588"/>
              <a:gd name="connsiteX6" fmla="*/ 12188206 w 12190413"/>
              <a:gd name="connsiteY6" fmla="*/ 5406635 h 6859588"/>
              <a:gd name="connsiteX7" fmla="*/ 12032390 w 12190413"/>
              <a:gd name="connsiteY7" fmla="*/ 5376956 h 6859588"/>
              <a:gd name="connsiteX8" fmla="*/ 11853287 w 12190413"/>
              <a:gd name="connsiteY8" fmla="*/ 5335228 h 6859588"/>
              <a:gd name="connsiteX9" fmla="*/ 9474399 w 12190413"/>
              <a:gd name="connsiteY9" fmla="*/ 5102230 h 6859588"/>
              <a:gd name="connsiteX10" fmla="*/ 9363219 w 12190413"/>
              <a:gd name="connsiteY10" fmla="*/ 5103271 h 6859588"/>
              <a:gd name="connsiteX11" fmla="*/ 9336724 w 12190413"/>
              <a:gd name="connsiteY11" fmla="*/ 5102803 h 6859588"/>
              <a:gd name="connsiteX12" fmla="*/ 9141154 w 12190413"/>
              <a:gd name="connsiteY12" fmla="*/ 5102803 h 6859588"/>
              <a:gd name="connsiteX13" fmla="*/ 8943837 w 12190413"/>
              <a:gd name="connsiteY13" fmla="*/ 5102802 h 6859588"/>
              <a:gd name="connsiteX14" fmla="*/ 8746521 w 12190413"/>
              <a:gd name="connsiteY14" fmla="*/ 5106295 h 6859588"/>
              <a:gd name="connsiteX15" fmla="*/ 8552697 w 12190413"/>
              <a:gd name="connsiteY15" fmla="*/ 5111534 h 6859588"/>
              <a:gd name="connsiteX16" fmla="*/ 8357128 w 12190413"/>
              <a:gd name="connsiteY16" fmla="*/ 5122010 h 6859588"/>
              <a:gd name="connsiteX17" fmla="*/ 8163303 w 12190413"/>
              <a:gd name="connsiteY17" fmla="*/ 5134233 h 6859588"/>
              <a:gd name="connsiteX18" fmla="*/ 7972972 w 12190413"/>
              <a:gd name="connsiteY18" fmla="*/ 5146457 h 6859588"/>
              <a:gd name="connsiteX19" fmla="*/ 7779149 w 12190413"/>
              <a:gd name="connsiteY19" fmla="*/ 5162171 h 6859588"/>
              <a:gd name="connsiteX20" fmla="*/ 7587072 w 12190413"/>
              <a:gd name="connsiteY20" fmla="*/ 5181379 h 6859588"/>
              <a:gd name="connsiteX21" fmla="*/ 7396738 w 12190413"/>
              <a:gd name="connsiteY21" fmla="*/ 5204080 h 6859588"/>
              <a:gd name="connsiteX22" fmla="*/ 7209903 w 12190413"/>
              <a:gd name="connsiteY22" fmla="*/ 5226779 h 6859588"/>
              <a:gd name="connsiteX23" fmla="*/ 7019571 w 12190413"/>
              <a:gd name="connsiteY23" fmla="*/ 5251226 h 6859588"/>
              <a:gd name="connsiteX24" fmla="*/ 6853019 w 12190413"/>
              <a:gd name="connsiteY24" fmla="*/ 5277687 h 6859588"/>
              <a:gd name="connsiteX25" fmla="*/ 6718666 w 12190413"/>
              <a:gd name="connsiteY25" fmla="*/ 5294934 h 6859588"/>
              <a:gd name="connsiteX26" fmla="*/ 6545441 w 12190413"/>
              <a:gd name="connsiteY26" fmla="*/ 5324130 h 6859588"/>
              <a:gd name="connsiteX27" fmla="*/ 6460798 w 12190413"/>
              <a:gd name="connsiteY27" fmla="*/ 5336788 h 6859588"/>
              <a:gd name="connsiteX28" fmla="*/ 6387367 w 12190413"/>
              <a:gd name="connsiteY28" fmla="*/ 5350775 h 6859588"/>
              <a:gd name="connsiteX29" fmla="*/ 6041160 w 12190413"/>
              <a:gd name="connsiteY29" fmla="*/ 5409129 h 6859588"/>
              <a:gd name="connsiteX30" fmla="*/ 5887321 w 12190413"/>
              <a:gd name="connsiteY30" fmla="*/ 5441440 h 6859588"/>
              <a:gd name="connsiteX31" fmla="*/ 5857713 w 12190413"/>
              <a:gd name="connsiteY31" fmla="*/ 5446426 h 6859588"/>
              <a:gd name="connsiteX32" fmla="*/ 1438219 w 12190413"/>
              <a:gd name="connsiteY32" fmla="*/ 5629855 h 6859588"/>
              <a:gd name="connsiteX33" fmla="*/ 1112913 w 12190413"/>
              <a:gd name="connsiteY33" fmla="*/ 5593328 h 6859588"/>
              <a:gd name="connsiteX34" fmla="*/ 1063194 w 12190413"/>
              <a:gd name="connsiteY34" fmla="*/ 5586942 h 6859588"/>
              <a:gd name="connsiteX35" fmla="*/ 750855 w 12190413"/>
              <a:gd name="connsiteY35" fmla="*/ 5541968 h 6859588"/>
              <a:gd name="connsiteX36" fmla="*/ 268553 w 12190413"/>
              <a:gd name="connsiteY36" fmla="*/ 5451471 h 6859588"/>
              <a:gd name="connsiteX37" fmla="*/ 1 w 12190413"/>
              <a:gd name="connsiteY37" fmla="*/ 5385011 h 6859588"/>
              <a:gd name="connsiteX38" fmla="*/ 0 w 12190413"/>
              <a:gd name="connsiteY38" fmla="*/ 6859588 h 6859588"/>
              <a:gd name="connsiteX39" fmla="*/ 0 w 12190413"/>
              <a:gd name="connsiteY39" fmla="*/ 6859588 h 6859588"/>
              <a:gd name="connsiteX0" fmla="*/ 0 w 12190413"/>
              <a:gd name="connsiteY0" fmla="*/ 0 h 6859588"/>
              <a:gd name="connsiteX1" fmla="*/ 12190413 w 12190413"/>
              <a:gd name="connsiteY1" fmla="*/ 0 h 6859588"/>
              <a:gd name="connsiteX2" fmla="*/ 12190413 w 12190413"/>
              <a:gd name="connsiteY2" fmla="*/ 6859588 h 6859588"/>
              <a:gd name="connsiteX3" fmla="*/ 12190412 w 12190413"/>
              <a:gd name="connsiteY3" fmla="*/ 5413773 h 6859588"/>
              <a:gd name="connsiteX4" fmla="*/ 12188206 w 12190413"/>
              <a:gd name="connsiteY4" fmla="*/ 5413259 h 6859588"/>
              <a:gd name="connsiteX5" fmla="*/ 12188206 w 12190413"/>
              <a:gd name="connsiteY5" fmla="*/ 5406635 h 6859588"/>
              <a:gd name="connsiteX6" fmla="*/ 12032390 w 12190413"/>
              <a:gd name="connsiteY6" fmla="*/ 5376956 h 6859588"/>
              <a:gd name="connsiteX7" fmla="*/ 11853287 w 12190413"/>
              <a:gd name="connsiteY7" fmla="*/ 5335228 h 6859588"/>
              <a:gd name="connsiteX8" fmla="*/ 9474399 w 12190413"/>
              <a:gd name="connsiteY8" fmla="*/ 5102230 h 6859588"/>
              <a:gd name="connsiteX9" fmla="*/ 9363219 w 12190413"/>
              <a:gd name="connsiteY9" fmla="*/ 5103271 h 6859588"/>
              <a:gd name="connsiteX10" fmla="*/ 9336724 w 12190413"/>
              <a:gd name="connsiteY10" fmla="*/ 5102803 h 6859588"/>
              <a:gd name="connsiteX11" fmla="*/ 9141154 w 12190413"/>
              <a:gd name="connsiteY11" fmla="*/ 5102803 h 6859588"/>
              <a:gd name="connsiteX12" fmla="*/ 8943837 w 12190413"/>
              <a:gd name="connsiteY12" fmla="*/ 5102802 h 6859588"/>
              <a:gd name="connsiteX13" fmla="*/ 8746521 w 12190413"/>
              <a:gd name="connsiteY13" fmla="*/ 5106295 h 6859588"/>
              <a:gd name="connsiteX14" fmla="*/ 8552697 w 12190413"/>
              <a:gd name="connsiteY14" fmla="*/ 5111534 h 6859588"/>
              <a:gd name="connsiteX15" fmla="*/ 8357128 w 12190413"/>
              <a:gd name="connsiteY15" fmla="*/ 5122010 h 6859588"/>
              <a:gd name="connsiteX16" fmla="*/ 8163303 w 12190413"/>
              <a:gd name="connsiteY16" fmla="*/ 5134233 h 6859588"/>
              <a:gd name="connsiteX17" fmla="*/ 7972972 w 12190413"/>
              <a:gd name="connsiteY17" fmla="*/ 5146457 h 6859588"/>
              <a:gd name="connsiteX18" fmla="*/ 7779149 w 12190413"/>
              <a:gd name="connsiteY18" fmla="*/ 5162171 h 6859588"/>
              <a:gd name="connsiteX19" fmla="*/ 7587072 w 12190413"/>
              <a:gd name="connsiteY19" fmla="*/ 5181379 h 6859588"/>
              <a:gd name="connsiteX20" fmla="*/ 7396738 w 12190413"/>
              <a:gd name="connsiteY20" fmla="*/ 5204080 h 6859588"/>
              <a:gd name="connsiteX21" fmla="*/ 7209903 w 12190413"/>
              <a:gd name="connsiteY21" fmla="*/ 5226779 h 6859588"/>
              <a:gd name="connsiteX22" fmla="*/ 7019571 w 12190413"/>
              <a:gd name="connsiteY22" fmla="*/ 5251226 h 6859588"/>
              <a:gd name="connsiteX23" fmla="*/ 6853019 w 12190413"/>
              <a:gd name="connsiteY23" fmla="*/ 5277687 h 6859588"/>
              <a:gd name="connsiteX24" fmla="*/ 6718666 w 12190413"/>
              <a:gd name="connsiteY24" fmla="*/ 5294934 h 6859588"/>
              <a:gd name="connsiteX25" fmla="*/ 6545441 w 12190413"/>
              <a:gd name="connsiteY25" fmla="*/ 5324130 h 6859588"/>
              <a:gd name="connsiteX26" fmla="*/ 6460798 w 12190413"/>
              <a:gd name="connsiteY26" fmla="*/ 5336788 h 6859588"/>
              <a:gd name="connsiteX27" fmla="*/ 6387367 w 12190413"/>
              <a:gd name="connsiteY27" fmla="*/ 5350775 h 6859588"/>
              <a:gd name="connsiteX28" fmla="*/ 6041160 w 12190413"/>
              <a:gd name="connsiteY28" fmla="*/ 5409129 h 6859588"/>
              <a:gd name="connsiteX29" fmla="*/ 5887321 w 12190413"/>
              <a:gd name="connsiteY29" fmla="*/ 5441440 h 6859588"/>
              <a:gd name="connsiteX30" fmla="*/ 5857713 w 12190413"/>
              <a:gd name="connsiteY30" fmla="*/ 5446426 h 6859588"/>
              <a:gd name="connsiteX31" fmla="*/ 1438219 w 12190413"/>
              <a:gd name="connsiteY31" fmla="*/ 5629855 h 6859588"/>
              <a:gd name="connsiteX32" fmla="*/ 1112913 w 12190413"/>
              <a:gd name="connsiteY32" fmla="*/ 5593328 h 6859588"/>
              <a:gd name="connsiteX33" fmla="*/ 1063194 w 12190413"/>
              <a:gd name="connsiteY33" fmla="*/ 5586942 h 6859588"/>
              <a:gd name="connsiteX34" fmla="*/ 750855 w 12190413"/>
              <a:gd name="connsiteY34" fmla="*/ 5541968 h 6859588"/>
              <a:gd name="connsiteX35" fmla="*/ 268553 w 12190413"/>
              <a:gd name="connsiteY35" fmla="*/ 5451471 h 6859588"/>
              <a:gd name="connsiteX36" fmla="*/ 1 w 12190413"/>
              <a:gd name="connsiteY36" fmla="*/ 5385011 h 6859588"/>
              <a:gd name="connsiteX37" fmla="*/ 0 w 12190413"/>
              <a:gd name="connsiteY37" fmla="*/ 6859588 h 6859588"/>
              <a:gd name="connsiteX38" fmla="*/ 0 w 12190413"/>
              <a:gd name="connsiteY38" fmla="*/ 6859588 h 6859588"/>
              <a:gd name="connsiteX39" fmla="*/ 0 w 12190413"/>
              <a:gd name="connsiteY39"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6859588 h 6859588"/>
              <a:gd name="connsiteX38" fmla="*/ 0 w 12190413"/>
              <a:gd name="connsiteY38" fmla="*/ 0 h 6859588"/>
              <a:gd name="connsiteX0" fmla="*/ 0 w 12190413"/>
              <a:gd name="connsiteY0" fmla="*/ 0 h 6859588"/>
              <a:gd name="connsiteX1" fmla="*/ 12190413 w 12190413"/>
              <a:gd name="connsiteY1" fmla="*/ 0 h 6859588"/>
              <a:gd name="connsiteX2" fmla="*/ 12190412 w 12190413"/>
              <a:gd name="connsiteY2" fmla="*/ 5413773 h 6859588"/>
              <a:gd name="connsiteX3" fmla="*/ 12188206 w 12190413"/>
              <a:gd name="connsiteY3" fmla="*/ 5413259 h 6859588"/>
              <a:gd name="connsiteX4" fmla="*/ 12188206 w 12190413"/>
              <a:gd name="connsiteY4" fmla="*/ 5406635 h 6859588"/>
              <a:gd name="connsiteX5" fmla="*/ 12032390 w 12190413"/>
              <a:gd name="connsiteY5" fmla="*/ 5376956 h 6859588"/>
              <a:gd name="connsiteX6" fmla="*/ 11853287 w 12190413"/>
              <a:gd name="connsiteY6" fmla="*/ 5335228 h 6859588"/>
              <a:gd name="connsiteX7" fmla="*/ 9474399 w 12190413"/>
              <a:gd name="connsiteY7" fmla="*/ 5102230 h 6859588"/>
              <a:gd name="connsiteX8" fmla="*/ 9363219 w 12190413"/>
              <a:gd name="connsiteY8" fmla="*/ 5103271 h 6859588"/>
              <a:gd name="connsiteX9" fmla="*/ 9336724 w 12190413"/>
              <a:gd name="connsiteY9" fmla="*/ 5102803 h 6859588"/>
              <a:gd name="connsiteX10" fmla="*/ 9141154 w 12190413"/>
              <a:gd name="connsiteY10" fmla="*/ 5102803 h 6859588"/>
              <a:gd name="connsiteX11" fmla="*/ 8943837 w 12190413"/>
              <a:gd name="connsiteY11" fmla="*/ 5102802 h 6859588"/>
              <a:gd name="connsiteX12" fmla="*/ 8746521 w 12190413"/>
              <a:gd name="connsiteY12" fmla="*/ 5106295 h 6859588"/>
              <a:gd name="connsiteX13" fmla="*/ 8552697 w 12190413"/>
              <a:gd name="connsiteY13" fmla="*/ 5111534 h 6859588"/>
              <a:gd name="connsiteX14" fmla="*/ 8357128 w 12190413"/>
              <a:gd name="connsiteY14" fmla="*/ 5122010 h 6859588"/>
              <a:gd name="connsiteX15" fmla="*/ 8163303 w 12190413"/>
              <a:gd name="connsiteY15" fmla="*/ 5134233 h 6859588"/>
              <a:gd name="connsiteX16" fmla="*/ 7972972 w 12190413"/>
              <a:gd name="connsiteY16" fmla="*/ 5146457 h 6859588"/>
              <a:gd name="connsiteX17" fmla="*/ 7779149 w 12190413"/>
              <a:gd name="connsiteY17" fmla="*/ 5162171 h 6859588"/>
              <a:gd name="connsiteX18" fmla="*/ 7587072 w 12190413"/>
              <a:gd name="connsiteY18" fmla="*/ 5181379 h 6859588"/>
              <a:gd name="connsiteX19" fmla="*/ 7396738 w 12190413"/>
              <a:gd name="connsiteY19" fmla="*/ 5204080 h 6859588"/>
              <a:gd name="connsiteX20" fmla="*/ 7209903 w 12190413"/>
              <a:gd name="connsiteY20" fmla="*/ 5226779 h 6859588"/>
              <a:gd name="connsiteX21" fmla="*/ 7019571 w 12190413"/>
              <a:gd name="connsiteY21" fmla="*/ 5251226 h 6859588"/>
              <a:gd name="connsiteX22" fmla="*/ 6853019 w 12190413"/>
              <a:gd name="connsiteY22" fmla="*/ 5277687 h 6859588"/>
              <a:gd name="connsiteX23" fmla="*/ 6718666 w 12190413"/>
              <a:gd name="connsiteY23" fmla="*/ 5294934 h 6859588"/>
              <a:gd name="connsiteX24" fmla="*/ 6545441 w 12190413"/>
              <a:gd name="connsiteY24" fmla="*/ 5324130 h 6859588"/>
              <a:gd name="connsiteX25" fmla="*/ 6460798 w 12190413"/>
              <a:gd name="connsiteY25" fmla="*/ 5336788 h 6859588"/>
              <a:gd name="connsiteX26" fmla="*/ 6387367 w 12190413"/>
              <a:gd name="connsiteY26" fmla="*/ 5350775 h 6859588"/>
              <a:gd name="connsiteX27" fmla="*/ 6041160 w 12190413"/>
              <a:gd name="connsiteY27" fmla="*/ 5409129 h 6859588"/>
              <a:gd name="connsiteX28" fmla="*/ 5887321 w 12190413"/>
              <a:gd name="connsiteY28" fmla="*/ 5441440 h 6859588"/>
              <a:gd name="connsiteX29" fmla="*/ 5857713 w 12190413"/>
              <a:gd name="connsiteY29" fmla="*/ 5446426 h 6859588"/>
              <a:gd name="connsiteX30" fmla="*/ 1438219 w 12190413"/>
              <a:gd name="connsiteY30" fmla="*/ 5629855 h 6859588"/>
              <a:gd name="connsiteX31" fmla="*/ 1112913 w 12190413"/>
              <a:gd name="connsiteY31" fmla="*/ 5593328 h 6859588"/>
              <a:gd name="connsiteX32" fmla="*/ 1063194 w 12190413"/>
              <a:gd name="connsiteY32" fmla="*/ 5586942 h 6859588"/>
              <a:gd name="connsiteX33" fmla="*/ 750855 w 12190413"/>
              <a:gd name="connsiteY33" fmla="*/ 5541968 h 6859588"/>
              <a:gd name="connsiteX34" fmla="*/ 268553 w 12190413"/>
              <a:gd name="connsiteY34" fmla="*/ 5451471 h 6859588"/>
              <a:gd name="connsiteX35" fmla="*/ 1 w 12190413"/>
              <a:gd name="connsiteY35" fmla="*/ 5385011 h 6859588"/>
              <a:gd name="connsiteX36" fmla="*/ 0 w 12190413"/>
              <a:gd name="connsiteY36" fmla="*/ 6859588 h 6859588"/>
              <a:gd name="connsiteX37" fmla="*/ 0 w 12190413"/>
              <a:gd name="connsiteY37" fmla="*/ 0 h 6859588"/>
              <a:gd name="connsiteX0" fmla="*/ 913021 w 13103434"/>
              <a:gd name="connsiteY0" fmla="*/ 0 h 5693899"/>
              <a:gd name="connsiteX1" fmla="*/ 13103434 w 13103434"/>
              <a:gd name="connsiteY1" fmla="*/ 0 h 5693899"/>
              <a:gd name="connsiteX2" fmla="*/ 13103433 w 13103434"/>
              <a:gd name="connsiteY2" fmla="*/ 5413773 h 5693899"/>
              <a:gd name="connsiteX3" fmla="*/ 13101227 w 13103434"/>
              <a:gd name="connsiteY3" fmla="*/ 5413259 h 5693899"/>
              <a:gd name="connsiteX4" fmla="*/ 13101227 w 13103434"/>
              <a:gd name="connsiteY4" fmla="*/ 5406635 h 5693899"/>
              <a:gd name="connsiteX5" fmla="*/ 12945411 w 13103434"/>
              <a:gd name="connsiteY5" fmla="*/ 5376956 h 5693899"/>
              <a:gd name="connsiteX6" fmla="*/ 12766308 w 13103434"/>
              <a:gd name="connsiteY6" fmla="*/ 5335228 h 5693899"/>
              <a:gd name="connsiteX7" fmla="*/ 10387420 w 13103434"/>
              <a:gd name="connsiteY7" fmla="*/ 5102230 h 5693899"/>
              <a:gd name="connsiteX8" fmla="*/ 10276240 w 13103434"/>
              <a:gd name="connsiteY8" fmla="*/ 5103271 h 5693899"/>
              <a:gd name="connsiteX9" fmla="*/ 10249745 w 13103434"/>
              <a:gd name="connsiteY9" fmla="*/ 5102803 h 5693899"/>
              <a:gd name="connsiteX10" fmla="*/ 10054175 w 13103434"/>
              <a:gd name="connsiteY10" fmla="*/ 5102803 h 5693899"/>
              <a:gd name="connsiteX11" fmla="*/ 9856858 w 13103434"/>
              <a:gd name="connsiteY11" fmla="*/ 5102802 h 5693899"/>
              <a:gd name="connsiteX12" fmla="*/ 9659542 w 13103434"/>
              <a:gd name="connsiteY12" fmla="*/ 5106295 h 5693899"/>
              <a:gd name="connsiteX13" fmla="*/ 9465718 w 13103434"/>
              <a:gd name="connsiteY13" fmla="*/ 5111534 h 5693899"/>
              <a:gd name="connsiteX14" fmla="*/ 9270149 w 13103434"/>
              <a:gd name="connsiteY14" fmla="*/ 5122010 h 5693899"/>
              <a:gd name="connsiteX15" fmla="*/ 9076324 w 13103434"/>
              <a:gd name="connsiteY15" fmla="*/ 5134233 h 5693899"/>
              <a:gd name="connsiteX16" fmla="*/ 8885993 w 13103434"/>
              <a:gd name="connsiteY16" fmla="*/ 5146457 h 5693899"/>
              <a:gd name="connsiteX17" fmla="*/ 8692170 w 13103434"/>
              <a:gd name="connsiteY17" fmla="*/ 5162171 h 5693899"/>
              <a:gd name="connsiteX18" fmla="*/ 8500093 w 13103434"/>
              <a:gd name="connsiteY18" fmla="*/ 5181379 h 5693899"/>
              <a:gd name="connsiteX19" fmla="*/ 8309759 w 13103434"/>
              <a:gd name="connsiteY19" fmla="*/ 5204080 h 5693899"/>
              <a:gd name="connsiteX20" fmla="*/ 8122924 w 13103434"/>
              <a:gd name="connsiteY20" fmla="*/ 5226779 h 5693899"/>
              <a:gd name="connsiteX21" fmla="*/ 7932592 w 13103434"/>
              <a:gd name="connsiteY21" fmla="*/ 5251226 h 5693899"/>
              <a:gd name="connsiteX22" fmla="*/ 7766040 w 13103434"/>
              <a:gd name="connsiteY22" fmla="*/ 5277687 h 5693899"/>
              <a:gd name="connsiteX23" fmla="*/ 7631687 w 13103434"/>
              <a:gd name="connsiteY23" fmla="*/ 5294934 h 5693899"/>
              <a:gd name="connsiteX24" fmla="*/ 7458462 w 13103434"/>
              <a:gd name="connsiteY24" fmla="*/ 5324130 h 5693899"/>
              <a:gd name="connsiteX25" fmla="*/ 7373819 w 13103434"/>
              <a:gd name="connsiteY25" fmla="*/ 5336788 h 5693899"/>
              <a:gd name="connsiteX26" fmla="*/ 7300388 w 13103434"/>
              <a:gd name="connsiteY26" fmla="*/ 5350775 h 5693899"/>
              <a:gd name="connsiteX27" fmla="*/ 6954181 w 13103434"/>
              <a:gd name="connsiteY27" fmla="*/ 5409129 h 5693899"/>
              <a:gd name="connsiteX28" fmla="*/ 6800342 w 13103434"/>
              <a:gd name="connsiteY28" fmla="*/ 5441440 h 5693899"/>
              <a:gd name="connsiteX29" fmla="*/ 6770734 w 13103434"/>
              <a:gd name="connsiteY29" fmla="*/ 5446426 h 5693899"/>
              <a:gd name="connsiteX30" fmla="*/ 2351240 w 13103434"/>
              <a:gd name="connsiteY30" fmla="*/ 5629855 h 5693899"/>
              <a:gd name="connsiteX31" fmla="*/ 2025934 w 13103434"/>
              <a:gd name="connsiteY31" fmla="*/ 5593328 h 5693899"/>
              <a:gd name="connsiteX32" fmla="*/ 1976215 w 13103434"/>
              <a:gd name="connsiteY32" fmla="*/ 5586942 h 5693899"/>
              <a:gd name="connsiteX33" fmla="*/ 1663876 w 13103434"/>
              <a:gd name="connsiteY33" fmla="*/ 5541968 h 5693899"/>
              <a:gd name="connsiteX34" fmla="*/ 1181574 w 13103434"/>
              <a:gd name="connsiteY34" fmla="*/ 5451471 h 5693899"/>
              <a:gd name="connsiteX35" fmla="*/ 913022 w 13103434"/>
              <a:gd name="connsiteY35" fmla="*/ 5385011 h 5693899"/>
              <a:gd name="connsiteX36" fmla="*/ 913021 w 13103434"/>
              <a:gd name="connsiteY36" fmla="*/ 0 h 5693899"/>
              <a:gd name="connsiteX0" fmla="*/ 48639 w 12239052"/>
              <a:gd name="connsiteY0" fmla="*/ 0 h 5693899"/>
              <a:gd name="connsiteX1" fmla="*/ 12239052 w 12239052"/>
              <a:gd name="connsiteY1" fmla="*/ 0 h 5693899"/>
              <a:gd name="connsiteX2" fmla="*/ 12239051 w 12239052"/>
              <a:gd name="connsiteY2" fmla="*/ 5413773 h 5693899"/>
              <a:gd name="connsiteX3" fmla="*/ 12236845 w 12239052"/>
              <a:gd name="connsiteY3" fmla="*/ 5413259 h 5693899"/>
              <a:gd name="connsiteX4" fmla="*/ 12236845 w 12239052"/>
              <a:gd name="connsiteY4" fmla="*/ 5406635 h 5693899"/>
              <a:gd name="connsiteX5" fmla="*/ 12081029 w 12239052"/>
              <a:gd name="connsiteY5" fmla="*/ 5376956 h 5693899"/>
              <a:gd name="connsiteX6" fmla="*/ 11901926 w 12239052"/>
              <a:gd name="connsiteY6" fmla="*/ 5335228 h 5693899"/>
              <a:gd name="connsiteX7" fmla="*/ 9523038 w 12239052"/>
              <a:gd name="connsiteY7" fmla="*/ 5102230 h 5693899"/>
              <a:gd name="connsiteX8" fmla="*/ 9411858 w 12239052"/>
              <a:gd name="connsiteY8" fmla="*/ 5103271 h 5693899"/>
              <a:gd name="connsiteX9" fmla="*/ 9385363 w 12239052"/>
              <a:gd name="connsiteY9" fmla="*/ 5102803 h 5693899"/>
              <a:gd name="connsiteX10" fmla="*/ 9189793 w 12239052"/>
              <a:gd name="connsiteY10" fmla="*/ 5102803 h 5693899"/>
              <a:gd name="connsiteX11" fmla="*/ 8992476 w 12239052"/>
              <a:gd name="connsiteY11" fmla="*/ 5102802 h 5693899"/>
              <a:gd name="connsiteX12" fmla="*/ 8795160 w 12239052"/>
              <a:gd name="connsiteY12" fmla="*/ 5106295 h 5693899"/>
              <a:gd name="connsiteX13" fmla="*/ 8601336 w 12239052"/>
              <a:gd name="connsiteY13" fmla="*/ 5111534 h 5693899"/>
              <a:gd name="connsiteX14" fmla="*/ 8405767 w 12239052"/>
              <a:gd name="connsiteY14" fmla="*/ 5122010 h 5693899"/>
              <a:gd name="connsiteX15" fmla="*/ 8211942 w 12239052"/>
              <a:gd name="connsiteY15" fmla="*/ 5134233 h 5693899"/>
              <a:gd name="connsiteX16" fmla="*/ 8021611 w 12239052"/>
              <a:gd name="connsiteY16" fmla="*/ 5146457 h 5693899"/>
              <a:gd name="connsiteX17" fmla="*/ 7827788 w 12239052"/>
              <a:gd name="connsiteY17" fmla="*/ 5162171 h 5693899"/>
              <a:gd name="connsiteX18" fmla="*/ 7635711 w 12239052"/>
              <a:gd name="connsiteY18" fmla="*/ 5181379 h 5693899"/>
              <a:gd name="connsiteX19" fmla="*/ 7445377 w 12239052"/>
              <a:gd name="connsiteY19" fmla="*/ 5204080 h 5693899"/>
              <a:gd name="connsiteX20" fmla="*/ 7258542 w 12239052"/>
              <a:gd name="connsiteY20" fmla="*/ 5226779 h 5693899"/>
              <a:gd name="connsiteX21" fmla="*/ 7068210 w 12239052"/>
              <a:gd name="connsiteY21" fmla="*/ 5251226 h 5693899"/>
              <a:gd name="connsiteX22" fmla="*/ 6901658 w 12239052"/>
              <a:gd name="connsiteY22" fmla="*/ 5277687 h 5693899"/>
              <a:gd name="connsiteX23" fmla="*/ 6767305 w 12239052"/>
              <a:gd name="connsiteY23" fmla="*/ 5294934 h 5693899"/>
              <a:gd name="connsiteX24" fmla="*/ 6594080 w 12239052"/>
              <a:gd name="connsiteY24" fmla="*/ 5324130 h 5693899"/>
              <a:gd name="connsiteX25" fmla="*/ 6509437 w 12239052"/>
              <a:gd name="connsiteY25" fmla="*/ 5336788 h 5693899"/>
              <a:gd name="connsiteX26" fmla="*/ 6436006 w 12239052"/>
              <a:gd name="connsiteY26" fmla="*/ 5350775 h 5693899"/>
              <a:gd name="connsiteX27" fmla="*/ 6089799 w 12239052"/>
              <a:gd name="connsiteY27" fmla="*/ 5409129 h 5693899"/>
              <a:gd name="connsiteX28" fmla="*/ 5935960 w 12239052"/>
              <a:gd name="connsiteY28" fmla="*/ 5441440 h 5693899"/>
              <a:gd name="connsiteX29" fmla="*/ 5906352 w 12239052"/>
              <a:gd name="connsiteY29" fmla="*/ 5446426 h 5693899"/>
              <a:gd name="connsiteX30" fmla="*/ 1486858 w 12239052"/>
              <a:gd name="connsiteY30" fmla="*/ 5629855 h 5693899"/>
              <a:gd name="connsiteX31" fmla="*/ 1161552 w 12239052"/>
              <a:gd name="connsiteY31" fmla="*/ 5593328 h 5693899"/>
              <a:gd name="connsiteX32" fmla="*/ 1111833 w 12239052"/>
              <a:gd name="connsiteY32" fmla="*/ 5586942 h 5693899"/>
              <a:gd name="connsiteX33" fmla="*/ 799494 w 12239052"/>
              <a:gd name="connsiteY33" fmla="*/ 5541968 h 5693899"/>
              <a:gd name="connsiteX34" fmla="*/ 317192 w 12239052"/>
              <a:gd name="connsiteY34" fmla="*/ 5451471 h 5693899"/>
              <a:gd name="connsiteX35" fmla="*/ 48640 w 12239052"/>
              <a:gd name="connsiteY35" fmla="*/ 5385011 h 5693899"/>
              <a:gd name="connsiteX36" fmla="*/ 48639 w 12239052"/>
              <a:gd name="connsiteY36" fmla="*/ 0 h 5693899"/>
              <a:gd name="connsiteX0" fmla="*/ 19150 w 12209563"/>
              <a:gd name="connsiteY0" fmla="*/ 0 h 5693899"/>
              <a:gd name="connsiteX1" fmla="*/ 12209563 w 12209563"/>
              <a:gd name="connsiteY1" fmla="*/ 0 h 5693899"/>
              <a:gd name="connsiteX2" fmla="*/ 12209562 w 12209563"/>
              <a:gd name="connsiteY2" fmla="*/ 5413773 h 5693899"/>
              <a:gd name="connsiteX3" fmla="*/ 12207356 w 12209563"/>
              <a:gd name="connsiteY3" fmla="*/ 5413259 h 5693899"/>
              <a:gd name="connsiteX4" fmla="*/ 12207356 w 12209563"/>
              <a:gd name="connsiteY4" fmla="*/ 5406635 h 5693899"/>
              <a:gd name="connsiteX5" fmla="*/ 12051540 w 12209563"/>
              <a:gd name="connsiteY5" fmla="*/ 5376956 h 5693899"/>
              <a:gd name="connsiteX6" fmla="*/ 11872437 w 12209563"/>
              <a:gd name="connsiteY6" fmla="*/ 5335228 h 5693899"/>
              <a:gd name="connsiteX7" fmla="*/ 9493549 w 12209563"/>
              <a:gd name="connsiteY7" fmla="*/ 5102230 h 5693899"/>
              <a:gd name="connsiteX8" fmla="*/ 9382369 w 12209563"/>
              <a:gd name="connsiteY8" fmla="*/ 5103271 h 5693899"/>
              <a:gd name="connsiteX9" fmla="*/ 9355874 w 12209563"/>
              <a:gd name="connsiteY9" fmla="*/ 5102803 h 5693899"/>
              <a:gd name="connsiteX10" fmla="*/ 9160304 w 12209563"/>
              <a:gd name="connsiteY10" fmla="*/ 5102803 h 5693899"/>
              <a:gd name="connsiteX11" fmla="*/ 8962987 w 12209563"/>
              <a:gd name="connsiteY11" fmla="*/ 5102802 h 5693899"/>
              <a:gd name="connsiteX12" fmla="*/ 8765671 w 12209563"/>
              <a:gd name="connsiteY12" fmla="*/ 5106295 h 5693899"/>
              <a:gd name="connsiteX13" fmla="*/ 8571847 w 12209563"/>
              <a:gd name="connsiteY13" fmla="*/ 5111534 h 5693899"/>
              <a:gd name="connsiteX14" fmla="*/ 8376278 w 12209563"/>
              <a:gd name="connsiteY14" fmla="*/ 5122010 h 5693899"/>
              <a:gd name="connsiteX15" fmla="*/ 8182453 w 12209563"/>
              <a:gd name="connsiteY15" fmla="*/ 5134233 h 5693899"/>
              <a:gd name="connsiteX16" fmla="*/ 7992122 w 12209563"/>
              <a:gd name="connsiteY16" fmla="*/ 5146457 h 5693899"/>
              <a:gd name="connsiteX17" fmla="*/ 7798299 w 12209563"/>
              <a:gd name="connsiteY17" fmla="*/ 5162171 h 5693899"/>
              <a:gd name="connsiteX18" fmla="*/ 7606222 w 12209563"/>
              <a:gd name="connsiteY18" fmla="*/ 5181379 h 5693899"/>
              <a:gd name="connsiteX19" fmla="*/ 7415888 w 12209563"/>
              <a:gd name="connsiteY19" fmla="*/ 5204080 h 5693899"/>
              <a:gd name="connsiteX20" fmla="*/ 7229053 w 12209563"/>
              <a:gd name="connsiteY20" fmla="*/ 5226779 h 5693899"/>
              <a:gd name="connsiteX21" fmla="*/ 7038721 w 12209563"/>
              <a:gd name="connsiteY21" fmla="*/ 5251226 h 5693899"/>
              <a:gd name="connsiteX22" fmla="*/ 6872169 w 12209563"/>
              <a:gd name="connsiteY22" fmla="*/ 5277687 h 5693899"/>
              <a:gd name="connsiteX23" fmla="*/ 6737816 w 12209563"/>
              <a:gd name="connsiteY23" fmla="*/ 5294934 h 5693899"/>
              <a:gd name="connsiteX24" fmla="*/ 6564591 w 12209563"/>
              <a:gd name="connsiteY24" fmla="*/ 5324130 h 5693899"/>
              <a:gd name="connsiteX25" fmla="*/ 6479948 w 12209563"/>
              <a:gd name="connsiteY25" fmla="*/ 5336788 h 5693899"/>
              <a:gd name="connsiteX26" fmla="*/ 6406517 w 12209563"/>
              <a:gd name="connsiteY26" fmla="*/ 5350775 h 5693899"/>
              <a:gd name="connsiteX27" fmla="*/ 6060310 w 12209563"/>
              <a:gd name="connsiteY27" fmla="*/ 5409129 h 5693899"/>
              <a:gd name="connsiteX28" fmla="*/ 5906471 w 12209563"/>
              <a:gd name="connsiteY28" fmla="*/ 5441440 h 5693899"/>
              <a:gd name="connsiteX29" fmla="*/ 5876863 w 12209563"/>
              <a:gd name="connsiteY29" fmla="*/ 5446426 h 5693899"/>
              <a:gd name="connsiteX30" fmla="*/ 1457369 w 12209563"/>
              <a:gd name="connsiteY30" fmla="*/ 5629855 h 5693899"/>
              <a:gd name="connsiteX31" fmla="*/ 1132063 w 12209563"/>
              <a:gd name="connsiteY31" fmla="*/ 5593328 h 5693899"/>
              <a:gd name="connsiteX32" fmla="*/ 1082344 w 12209563"/>
              <a:gd name="connsiteY32" fmla="*/ 5586942 h 5693899"/>
              <a:gd name="connsiteX33" fmla="*/ 770005 w 12209563"/>
              <a:gd name="connsiteY33" fmla="*/ 5541968 h 5693899"/>
              <a:gd name="connsiteX34" fmla="*/ 287703 w 12209563"/>
              <a:gd name="connsiteY34" fmla="*/ 5451471 h 5693899"/>
              <a:gd name="connsiteX35" fmla="*/ 19151 w 12209563"/>
              <a:gd name="connsiteY35" fmla="*/ 5385011 h 5693899"/>
              <a:gd name="connsiteX36" fmla="*/ 19150 w 12209563"/>
              <a:gd name="connsiteY36" fmla="*/ 0 h 5693899"/>
              <a:gd name="connsiteX0" fmla="*/ 0 w 12190413"/>
              <a:gd name="connsiteY0" fmla="*/ 0 h 5693899"/>
              <a:gd name="connsiteX1" fmla="*/ 12190413 w 12190413"/>
              <a:gd name="connsiteY1" fmla="*/ 0 h 5693899"/>
              <a:gd name="connsiteX2" fmla="*/ 12190412 w 12190413"/>
              <a:gd name="connsiteY2" fmla="*/ 5413773 h 5693899"/>
              <a:gd name="connsiteX3" fmla="*/ 12188206 w 12190413"/>
              <a:gd name="connsiteY3" fmla="*/ 5413259 h 5693899"/>
              <a:gd name="connsiteX4" fmla="*/ 12188206 w 12190413"/>
              <a:gd name="connsiteY4" fmla="*/ 5406635 h 5693899"/>
              <a:gd name="connsiteX5" fmla="*/ 12032390 w 12190413"/>
              <a:gd name="connsiteY5" fmla="*/ 5376956 h 5693899"/>
              <a:gd name="connsiteX6" fmla="*/ 11853287 w 12190413"/>
              <a:gd name="connsiteY6" fmla="*/ 5335228 h 5693899"/>
              <a:gd name="connsiteX7" fmla="*/ 9474399 w 12190413"/>
              <a:gd name="connsiteY7" fmla="*/ 5102230 h 5693899"/>
              <a:gd name="connsiteX8" fmla="*/ 9363219 w 12190413"/>
              <a:gd name="connsiteY8" fmla="*/ 5103271 h 5693899"/>
              <a:gd name="connsiteX9" fmla="*/ 9336724 w 12190413"/>
              <a:gd name="connsiteY9" fmla="*/ 5102803 h 5693899"/>
              <a:gd name="connsiteX10" fmla="*/ 9141154 w 12190413"/>
              <a:gd name="connsiteY10" fmla="*/ 5102803 h 5693899"/>
              <a:gd name="connsiteX11" fmla="*/ 8943837 w 12190413"/>
              <a:gd name="connsiteY11" fmla="*/ 5102802 h 5693899"/>
              <a:gd name="connsiteX12" fmla="*/ 8746521 w 12190413"/>
              <a:gd name="connsiteY12" fmla="*/ 5106295 h 5693899"/>
              <a:gd name="connsiteX13" fmla="*/ 8552697 w 12190413"/>
              <a:gd name="connsiteY13" fmla="*/ 5111534 h 5693899"/>
              <a:gd name="connsiteX14" fmla="*/ 8357128 w 12190413"/>
              <a:gd name="connsiteY14" fmla="*/ 5122010 h 5693899"/>
              <a:gd name="connsiteX15" fmla="*/ 8163303 w 12190413"/>
              <a:gd name="connsiteY15" fmla="*/ 5134233 h 5693899"/>
              <a:gd name="connsiteX16" fmla="*/ 7972972 w 12190413"/>
              <a:gd name="connsiteY16" fmla="*/ 5146457 h 5693899"/>
              <a:gd name="connsiteX17" fmla="*/ 7779149 w 12190413"/>
              <a:gd name="connsiteY17" fmla="*/ 5162171 h 5693899"/>
              <a:gd name="connsiteX18" fmla="*/ 7587072 w 12190413"/>
              <a:gd name="connsiteY18" fmla="*/ 5181379 h 5693899"/>
              <a:gd name="connsiteX19" fmla="*/ 7396738 w 12190413"/>
              <a:gd name="connsiteY19" fmla="*/ 5204080 h 5693899"/>
              <a:gd name="connsiteX20" fmla="*/ 7209903 w 12190413"/>
              <a:gd name="connsiteY20" fmla="*/ 5226779 h 5693899"/>
              <a:gd name="connsiteX21" fmla="*/ 7019571 w 12190413"/>
              <a:gd name="connsiteY21" fmla="*/ 5251226 h 5693899"/>
              <a:gd name="connsiteX22" fmla="*/ 6853019 w 12190413"/>
              <a:gd name="connsiteY22" fmla="*/ 5277687 h 5693899"/>
              <a:gd name="connsiteX23" fmla="*/ 6718666 w 12190413"/>
              <a:gd name="connsiteY23" fmla="*/ 5294934 h 5693899"/>
              <a:gd name="connsiteX24" fmla="*/ 6545441 w 12190413"/>
              <a:gd name="connsiteY24" fmla="*/ 5324130 h 5693899"/>
              <a:gd name="connsiteX25" fmla="*/ 6460798 w 12190413"/>
              <a:gd name="connsiteY25" fmla="*/ 5336788 h 5693899"/>
              <a:gd name="connsiteX26" fmla="*/ 6387367 w 12190413"/>
              <a:gd name="connsiteY26" fmla="*/ 5350775 h 5693899"/>
              <a:gd name="connsiteX27" fmla="*/ 6041160 w 12190413"/>
              <a:gd name="connsiteY27" fmla="*/ 5409129 h 5693899"/>
              <a:gd name="connsiteX28" fmla="*/ 5887321 w 12190413"/>
              <a:gd name="connsiteY28" fmla="*/ 5441440 h 5693899"/>
              <a:gd name="connsiteX29" fmla="*/ 5857713 w 12190413"/>
              <a:gd name="connsiteY29" fmla="*/ 5446426 h 5693899"/>
              <a:gd name="connsiteX30" fmla="*/ 1438219 w 12190413"/>
              <a:gd name="connsiteY30" fmla="*/ 5629855 h 5693899"/>
              <a:gd name="connsiteX31" fmla="*/ 1112913 w 12190413"/>
              <a:gd name="connsiteY31" fmla="*/ 5593328 h 5693899"/>
              <a:gd name="connsiteX32" fmla="*/ 1063194 w 12190413"/>
              <a:gd name="connsiteY32" fmla="*/ 5586942 h 5693899"/>
              <a:gd name="connsiteX33" fmla="*/ 750855 w 12190413"/>
              <a:gd name="connsiteY33" fmla="*/ 5541968 h 5693899"/>
              <a:gd name="connsiteX34" fmla="*/ 268553 w 12190413"/>
              <a:gd name="connsiteY34" fmla="*/ 5451471 h 5693899"/>
              <a:gd name="connsiteX35" fmla="*/ 1 w 12190413"/>
              <a:gd name="connsiteY35" fmla="*/ 5385011 h 5693899"/>
              <a:gd name="connsiteX36" fmla="*/ 0 w 12190413"/>
              <a:gd name="connsiteY36" fmla="*/ 0 h 569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0413" h="5693899">
                <a:moveTo>
                  <a:pt x="0" y="0"/>
                </a:moveTo>
                <a:lnTo>
                  <a:pt x="12190413" y="0"/>
                </a:lnTo>
                <a:cubicBezTo>
                  <a:pt x="12190413" y="1804591"/>
                  <a:pt x="12190412" y="3609182"/>
                  <a:pt x="12190412" y="5413773"/>
                </a:cubicBezTo>
                <a:lnTo>
                  <a:pt x="12188206" y="5413259"/>
                </a:lnTo>
                <a:lnTo>
                  <a:pt x="12188206" y="5406635"/>
                </a:lnTo>
                <a:lnTo>
                  <a:pt x="12032390" y="5376956"/>
                </a:lnTo>
                <a:lnTo>
                  <a:pt x="11853287" y="5335228"/>
                </a:lnTo>
                <a:cubicBezTo>
                  <a:pt x="11151505" y="5193032"/>
                  <a:pt x="10345755" y="5111967"/>
                  <a:pt x="9474399" y="5102230"/>
                </a:cubicBezTo>
                <a:lnTo>
                  <a:pt x="9363219" y="5103271"/>
                </a:lnTo>
                <a:lnTo>
                  <a:pt x="9336724" y="5102803"/>
                </a:lnTo>
                <a:lnTo>
                  <a:pt x="9141154" y="5102803"/>
                </a:lnTo>
                <a:lnTo>
                  <a:pt x="8943837" y="5102802"/>
                </a:lnTo>
                <a:lnTo>
                  <a:pt x="8746521" y="5106295"/>
                </a:lnTo>
                <a:lnTo>
                  <a:pt x="8552697" y="5111534"/>
                </a:lnTo>
                <a:lnTo>
                  <a:pt x="8357128" y="5122010"/>
                </a:lnTo>
                <a:lnTo>
                  <a:pt x="8163303" y="5134233"/>
                </a:lnTo>
                <a:lnTo>
                  <a:pt x="7972972" y="5146457"/>
                </a:lnTo>
                <a:lnTo>
                  <a:pt x="7779149" y="5162171"/>
                </a:lnTo>
                <a:lnTo>
                  <a:pt x="7587072" y="5181379"/>
                </a:lnTo>
                <a:lnTo>
                  <a:pt x="7396738" y="5204080"/>
                </a:lnTo>
                <a:lnTo>
                  <a:pt x="7209903" y="5226779"/>
                </a:lnTo>
                <a:lnTo>
                  <a:pt x="7019571" y="5251226"/>
                </a:lnTo>
                <a:lnTo>
                  <a:pt x="6853019" y="5277687"/>
                </a:lnTo>
                <a:lnTo>
                  <a:pt x="6718666" y="5294934"/>
                </a:lnTo>
                <a:lnTo>
                  <a:pt x="6545441" y="5324130"/>
                </a:lnTo>
                <a:lnTo>
                  <a:pt x="6460798" y="5336788"/>
                </a:lnTo>
                <a:lnTo>
                  <a:pt x="6387367" y="5350775"/>
                </a:lnTo>
                <a:lnTo>
                  <a:pt x="6041160" y="5409129"/>
                </a:lnTo>
                <a:lnTo>
                  <a:pt x="5887321" y="5441440"/>
                </a:lnTo>
                <a:lnTo>
                  <a:pt x="5857713" y="5446426"/>
                </a:lnTo>
                <a:cubicBezTo>
                  <a:pt x="4271557" y="5694949"/>
                  <a:pt x="2741498" y="5756679"/>
                  <a:pt x="1438219" y="5629855"/>
                </a:cubicBezTo>
                <a:lnTo>
                  <a:pt x="1112913" y="5593328"/>
                </a:lnTo>
                <a:lnTo>
                  <a:pt x="1063194" y="5586942"/>
                </a:lnTo>
                <a:lnTo>
                  <a:pt x="750855" y="5541968"/>
                </a:lnTo>
                <a:cubicBezTo>
                  <a:pt x="585150" y="5515316"/>
                  <a:pt x="424237" y="5485152"/>
                  <a:pt x="268553" y="5451471"/>
                </a:cubicBezTo>
                <a:lnTo>
                  <a:pt x="1" y="5385011"/>
                </a:lnTo>
                <a:cubicBezTo>
                  <a:pt x="2867" y="5388451"/>
                  <a:pt x="3441" y="1359"/>
                  <a:pt x="0" y="0"/>
                </a:cubicBezTo>
                <a:close/>
              </a:path>
            </a:pathLst>
          </a:custGeom>
          <a:solidFill>
            <a:schemeClr val="bg2"/>
          </a:solidFill>
        </p:spPr>
      </p:pic>
      <p:pic>
        <p:nvPicPr>
          <p:cNvPr id="2" name="Picture 1"/>
          <p:cNvPicPr>
            <a:picLocks noChangeAspect="1"/>
          </p:cNvPicPr>
          <p:nvPr/>
        </p:nvPicPr>
        <p:blipFill>
          <a:blip r:embed="rId3"/>
          <a:stretch>
            <a:fillRect/>
          </a:stretch>
        </p:blipFill>
        <p:spPr>
          <a:xfrm>
            <a:off x="9923548" y="2781704"/>
            <a:ext cx="1428387" cy="3022136"/>
          </a:xfrm>
          <a:prstGeom prst="rect">
            <a:avLst/>
          </a:prstGeom>
        </p:spPr>
      </p:pic>
    </p:spTree>
    <p:extLst>
      <p:ext uri="{BB962C8B-B14F-4D97-AF65-F5344CB8AC3E}">
        <p14:creationId xmlns:p14="http://schemas.microsoft.com/office/powerpoint/2010/main" val="1963399915"/>
      </p:ext>
    </p:extLst>
  </p:cSld>
  <p:clrMapOvr>
    <a:masterClrMapping/>
  </p:clrMapOvr>
  <p:transition spd="med">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gray">
          <a:xfrm>
            <a:off x="552876" y="405374"/>
            <a:ext cx="11087100" cy="648090"/>
          </a:xfrm>
          <a:prstGeom prst="rect">
            <a:avLst/>
          </a:prstGeom>
        </p:spPr>
        <p:txBody>
          <a:bodyPr vert="horz" lIns="0" tIns="0" rIns="0" bIns="0" rtlCol="0" anchor="t" anchorCtr="0">
            <a:noAutofit/>
          </a:bodyPr>
          <a:lstStyle>
            <a:lvl1pPr algn="l" defTabSz="1219170" rtl="0" eaLnBrk="1" latinLnBrk="0" hangingPunct="1">
              <a:spcBef>
                <a:spcPct val="0"/>
              </a:spcBef>
              <a:buNone/>
              <a:defRPr sz="3200" kern="1200" baseline="0">
                <a:solidFill>
                  <a:schemeClr val="bg1"/>
                </a:solidFill>
                <a:latin typeface="+mj-lt"/>
                <a:ea typeface="+mj-ea"/>
                <a:cs typeface="+mj-cs"/>
              </a:defRPr>
            </a:lvl1pPr>
          </a:lstStyle>
          <a:p>
            <a:r>
              <a:rPr lang="en-US" sz="2400" dirty="0" smtClean="0">
                <a:solidFill>
                  <a:schemeClr val="tx2"/>
                </a:solidFill>
              </a:rPr>
              <a:t>List of Mandatory Tests under the BIS Footwear QCO</a:t>
            </a:r>
            <a:endParaRPr lang="en-US" sz="2400" dirty="0">
              <a:solidFill>
                <a:schemeClr val="tx2"/>
              </a:solidFill>
            </a:endParaRPr>
          </a:p>
        </p:txBody>
      </p:sp>
      <p:pic>
        <p:nvPicPr>
          <p:cNvPr id="2" name="Picture 1"/>
          <p:cNvPicPr>
            <a:picLocks noChangeAspect="1"/>
          </p:cNvPicPr>
          <p:nvPr/>
        </p:nvPicPr>
        <p:blipFill>
          <a:blip r:embed="rId2"/>
          <a:stretch>
            <a:fillRect/>
          </a:stretch>
        </p:blipFill>
        <p:spPr>
          <a:xfrm>
            <a:off x="552876" y="981455"/>
            <a:ext cx="10790937" cy="5184720"/>
          </a:xfrm>
          <a:prstGeom prst="rect">
            <a:avLst/>
          </a:prstGeom>
        </p:spPr>
      </p:pic>
    </p:spTree>
    <p:extLst>
      <p:ext uri="{BB962C8B-B14F-4D97-AF65-F5344CB8AC3E}">
        <p14:creationId xmlns:p14="http://schemas.microsoft.com/office/powerpoint/2010/main" val="3761596892"/>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gray">
          <a:xfrm>
            <a:off x="552876" y="405374"/>
            <a:ext cx="11087100" cy="648090"/>
          </a:xfrm>
          <a:prstGeom prst="rect">
            <a:avLst/>
          </a:prstGeom>
        </p:spPr>
        <p:txBody>
          <a:bodyPr vert="horz" lIns="0" tIns="0" rIns="0" bIns="0" rtlCol="0" anchor="t" anchorCtr="0">
            <a:noAutofit/>
          </a:bodyPr>
          <a:lstStyle>
            <a:lvl1pPr algn="l" defTabSz="1219170" rtl="0" eaLnBrk="1" latinLnBrk="0" hangingPunct="1">
              <a:spcBef>
                <a:spcPct val="0"/>
              </a:spcBef>
              <a:buNone/>
              <a:defRPr sz="3200" kern="1200" baseline="0">
                <a:solidFill>
                  <a:schemeClr val="bg1"/>
                </a:solidFill>
                <a:latin typeface="+mj-lt"/>
                <a:ea typeface="+mj-ea"/>
                <a:cs typeface="+mj-cs"/>
              </a:defRPr>
            </a:lvl1pPr>
          </a:lstStyle>
          <a:p>
            <a:r>
              <a:rPr lang="en-US" sz="2400" dirty="0" smtClean="0">
                <a:solidFill>
                  <a:schemeClr val="tx2"/>
                </a:solidFill>
              </a:rPr>
              <a:t>List of Mandatory Tests under the BIS Footwear QCO</a:t>
            </a:r>
            <a:endParaRPr lang="en-US" sz="2400" dirty="0">
              <a:solidFill>
                <a:schemeClr val="tx2"/>
              </a:solidFill>
            </a:endParaRPr>
          </a:p>
        </p:txBody>
      </p:sp>
      <p:pic>
        <p:nvPicPr>
          <p:cNvPr id="3" name="Picture 2"/>
          <p:cNvPicPr>
            <a:picLocks noChangeAspect="1"/>
          </p:cNvPicPr>
          <p:nvPr/>
        </p:nvPicPr>
        <p:blipFill>
          <a:blip r:embed="rId2"/>
          <a:stretch>
            <a:fillRect/>
          </a:stretch>
        </p:blipFill>
        <p:spPr>
          <a:xfrm>
            <a:off x="552876" y="909444"/>
            <a:ext cx="10511020" cy="5224693"/>
          </a:xfrm>
          <a:prstGeom prst="rect">
            <a:avLst/>
          </a:prstGeom>
        </p:spPr>
      </p:pic>
    </p:spTree>
    <p:extLst>
      <p:ext uri="{BB962C8B-B14F-4D97-AF65-F5344CB8AC3E}">
        <p14:creationId xmlns:p14="http://schemas.microsoft.com/office/powerpoint/2010/main" val="290036914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gray">
          <a:xfrm>
            <a:off x="552876" y="405374"/>
            <a:ext cx="11087100" cy="648090"/>
          </a:xfrm>
          <a:prstGeom prst="rect">
            <a:avLst/>
          </a:prstGeom>
        </p:spPr>
        <p:txBody>
          <a:bodyPr vert="horz" lIns="0" tIns="0" rIns="0" bIns="0" rtlCol="0" anchor="t" anchorCtr="0">
            <a:noAutofit/>
          </a:bodyPr>
          <a:lstStyle>
            <a:lvl1pPr algn="l" defTabSz="1219170" rtl="0" eaLnBrk="1" latinLnBrk="0" hangingPunct="1">
              <a:spcBef>
                <a:spcPct val="0"/>
              </a:spcBef>
              <a:buNone/>
              <a:defRPr sz="3200" kern="1200" baseline="0">
                <a:solidFill>
                  <a:schemeClr val="bg1"/>
                </a:solidFill>
                <a:latin typeface="+mj-lt"/>
                <a:ea typeface="+mj-ea"/>
                <a:cs typeface="+mj-cs"/>
              </a:defRPr>
            </a:lvl1pPr>
          </a:lstStyle>
          <a:p>
            <a:r>
              <a:rPr lang="en-US" sz="2400" dirty="0" smtClean="0">
                <a:solidFill>
                  <a:schemeClr val="tx2"/>
                </a:solidFill>
              </a:rPr>
              <a:t>Procedure for Grant of License from BIS – Option 1</a:t>
            </a:r>
            <a:endParaRPr lang="en-US" sz="2400" dirty="0">
              <a:solidFill>
                <a:schemeClr val="tx2"/>
              </a:solidFill>
            </a:endParaRPr>
          </a:p>
        </p:txBody>
      </p:sp>
      <p:pic>
        <p:nvPicPr>
          <p:cNvPr id="2" name="Picture 1"/>
          <p:cNvPicPr>
            <a:picLocks noChangeAspect="1"/>
          </p:cNvPicPr>
          <p:nvPr/>
        </p:nvPicPr>
        <p:blipFill>
          <a:blip r:embed="rId2"/>
          <a:stretch>
            <a:fillRect/>
          </a:stretch>
        </p:blipFill>
        <p:spPr>
          <a:xfrm>
            <a:off x="552876" y="909444"/>
            <a:ext cx="10583030" cy="5190521"/>
          </a:xfrm>
          <a:prstGeom prst="rect">
            <a:avLst/>
          </a:prstGeom>
        </p:spPr>
      </p:pic>
    </p:spTree>
    <p:extLst>
      <p:ext uri="{BB962C8B-B14F-4D97-AF65-F5344CB8AC3E}">
        <p14:creationId xmlns:p14="http://schemas.microsoft.com/office/powerpoint/2010/main" val="241260301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bwMode="gray">
          <a:xfrm>
            <a:off x="552876" y="261354"/>
            <a:ext cx="11087100" cy="648090"/>
          </a:xfrm>
          <a:prstGeom prst="rect">
            <a:avLst/>
          </a:prstGeom>
        </p:spPr>
        <p:txBody>
          <a:bodyPr vert="horz" lIns="0" tIns="0" rIns="0" bIns="0" rtlCol="0" anchor="t" anchorCtr="0">
            <a:noAutofit/>
          </a:bodyPr>
          <a:lstStyle>
            <a:lvl1pPr algn="l" defTabSz="1219170" rtl="0" eaLnBrk="1" latinLnBrk="0" hangingPunct="1">
              <a:spcBef>
                <a:spcPct val="0"/>
              </a:spcBef>
              <a:buNone/>
              <a:defRPr sz="3200" kern="1200" baseline="0">
                <a:solidFill>
                  <a:schemeClr val="bg1"/>
                </a:solidFill>
                <a:latin typeface="+mj-lt"/>
                <a:ea typeface="+mj-ea"/>
                <a:cs typeface="+mj-cs"/>
              </a:defRPr>
            </a:lvl1pPr>
          </a:lstStyle>
          <a:p>
            <a:r>
              <a:rPr lang="en-US" sz="2400" dirty="0" smtClean="0">
                <a:solidFill>
                  <a:schemeClr val="tx2"/>
                </a:solidFill>
              </a:rPr>
              <a:t>Procedure for Grant of License from BIS – Option 2</a:t>
            </a:r>
            <a:endParaRPr lang="en-US" sz="2400" dirty="0">
              <a:solidFill>
                <a:schemeClr val="tx2"/>
              </a:solidFill>
            </a:endParaRPr>
          </a:p>
        </p:txBody>
      </p:sp>
      <p:pic>
        <p:nvPicPr>
          <p:cNvPr id="3" name="Picture 2"/>
          <p:cNvPicPr>
            <a:picLocks noChangeAspect="1"/>
          </p:cNvPicPr>
          <p:nvPr/>
        </p:nvPicPr>
        <p:blipFill>
          <a:blip r:embed="rId2"/>
          <a:stretch>
            <a:fillRect/>
          </a:stretch>
        </p:blipFill>
        <p:spPr>
          <a:xfrm>
            <a:off x="552876" y="909444"/>
            <a:ext cx="10655040" cy="5276464"/>
          </a:xfrm>
          <a:prstGeom prst="rect">
            <a:avLst/>
          </a:prstGeom>
        </p:spPr>
      </p:pic>
    </p:spTree>
    <p:extLst>
      <p:ext uri="{BB962C8B-B14F-4D97-AF65-F5344CB8AC3E}">
        <p14:creationId xmlns:p14="http://schemas.microsoft.com/office/powerpoint/2010/main" val="55246746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35462" y="297420"/>
            <a:ext cx="11449539" cy="612023"/>
          </a:xfrm>
        </p:spPr>
        <p:txBody>
          <a:bodyPr/>
          <a:lstStyle/>
          <a:p>
            <a:r>
              <a:rPr lang="en-US" dirty="0" smtClean="0"/>
              <a:t>Update on our preparations for the BIS recognition for the Footwear testing</a:t>
            </a:r>
            <a:endParaRPr lang="en-US" dirty="0"/>
          </a:p>
        </p:txBody>
      </p:sp>
      <p:sp>
        <p:nvSpPr>
          <p:cNvPr id="9" name="TextBox 8"/>
          <p:cNvSpPr txBox="1"/>
          <p:nvPr/>
        </p:nvSpPr>
        <p:spPr>
          <a:xfrm>
            <a:off x="550486" y="909444"/>
            <a:ext cx="10657054" cy="1211229"/>
          </a:xfrm>
          <a:prstGeom prst="rect">
            <a:avLst/>
          </a:prstGeom>
          <a:noFill/>
        </p:spPr>
        <p:txBody>
          <a:bodyPr vert="horz" wrap="square" lIns="0" rtlCol="0">
            <a:spAutoFit/>
          </a:bodyPr>
          <a:lstStyle/>
          <a:p>
            <a:pPr marL="285750" indent="-285750">
              <a:lnSpc>
                <a:spcPts val="2200"/>
              </a:lnSpc>
              <a:buClr>
                <a:schemeClr val="tx2"/>
              </a:buClr>
              <a:buFont typeface="Courier New" panose="02070309020205020404" pitchFamily="49" charset="0"/>
              <a:buChar char="o"/>
            </a:pPr>
            <a:r>
              <a:rPr lang="en-GB" sz="1800" dirty="0" smtClean="0">
                <a:solidFill>
                  <a:srgbClr val="000000"/>
                </a:solidFill>
                <a:latin typeface="Calibri" panose="020F0502020204030204" pitchFamily="34" charset="0"/>
                <a:cs typeface="Calibri" panose="020F0502020204030204" pitchFamily="34" charset="0"/>
              </a:rPr>
              <a:t>Our status with respect to BIS Footwear recognition is as below:</a:t>
            </a:r>
            <a:r>
              <a:rPr lang="en-US" sz="1800" dirty="0" smtClean="0">
                <a:solidFill>
                  <a:srgbClr val="000000"/>
                </a:solidFill>
                <a:latin typeface="Calibri" panose="020F0502020204030204" pitchFamily="34" charset="0"/>
                <a:cs typeface="Calibri" panose="020F0502020204030204" pitchFamily="34" charset="0"/>
              </a:rPr>
              <a:t/>
            </a:r>
            <a:br>
              <a:rPr lang="en-US" sz="1800" dirty="0" smtClean="0">
                <a:solidFill>
                  <a:srgbClr val="000000"/>
                </a:solidFill>
                <a:latin typeface="Calibri" panose="020F0502020204030204" pitchFamily="34" charset="0"/>
                <a:cs typeface="Calibri" panose="020F0502020204030204" pitchFamily="34" charset="0"/>
              </a:rPr>
            </a:br>
            <a:r>
              <a:rPr lang="en-US" sz="1800" b="0" i="0" u="none" dirty="0" smtClean="0">
                <a:solidFill>
                  <a:srgbClr val="000000"/>
                </a:solidFill>
                <a:latin typeface="Calibri" panose="020F0502020204030204" pitchFamily="34" charset="0"/>
                <a:cs typeface="Calibri" panose="020F0502020204030204" pitchFamily="34" charset="0"/>
              </a:rPr>
              <a:t> The recognition will be given if we have NABL accreditation for respective IS standard which is </a:t>
            </a:r>
            <a:r>
              <a:rPr lang="en-US" sz="1800" b="0" i="0" u="none" dirty="0" smtClean="0">
                <a:solidFill>
                  <a:srgbClr val="000000"/>
                </a:solidFill>
                <a:latin typeface="Calibri" panose="020F0502020204030204" pitchFamily="34" charset="0"/>
                <a:cs typeface="Calibri" panose="020F0502020204030204" pitchFamily="34" charset="0"/>
              </a:rPr>
              <a:t>progress and  </a:t>
            </a:r>
            <a:r>
              <a:rPr lang="en-US" sz="1800" dirty="0" smtClean="0">
                <a:solidFill>
                  <a:srgbClr val="000000"/>
                </a:solidFill>
                <a:latin typeface="Calibri" panose="020F0502020204030204" pitchFamily="34" charset="0"/>
                <a:cs typeface="Calibri" panose="020F0502020204030204" pitchFamily="34" charset="0"/>
              </a:rPr>
              <a:t>We </a:t>
            </a:r>
            <a:r>
              <a:rPr lang="en-US" sz="1800" dirty="0" smtClean="0">
                <a:solidFill>
                  <a:srgbClr val="000000"/>
                </a:solidFill>
                <a:latin typeface="Calibri" panose="020F0502020204030204" pitchFamily="34" charset="0"/>
                <a:cs typeface="Calibri" panose="020F0502020204030204" pitchFamily="34" charset="0"/>
              </a:rPr>
              <a:t>expect to secure the recognition from BIS </a:t>
            </a:r>
            <a:r>
              <a:rPr lang="en-US" sz="1800" dirty="0" smtClean="0">
                <a:solidFill>
                  <a:srgbClr val="000000"/>
                </a:solidFill>
                <a:latin typeface="Calibri" panose="020F0502020204030204" pitchFamily="34" charset="0"/>
                <a:cs typeface="Calibri" panose="020F0502020204030204" pitchFamily="34" charset="0"/>
              </a:rPr>
              <a:t>is also in process</a:t>
            </a:r>
            <a:endParaRPr lang="en-US" sz="1800" b="0" i="0" u="none" dirty="0" smtClean="0">
              <a:solidFill>
                <a:srgbClr val="000000"/>
              </a:solidFill>
              <a:latin typeface="Calibri" panose="020F0502020204030204" pitchFamily="34" charset="0"/>
              <a:cs typeface="Calibri" panose="020F0502020204030204" pitchFamily="34" charset="0"/>
            </a:endParaRPr>
          </a:p>
          <a:p>
            <a:pPr lvl="1">
              <a:lnSpc>
                <a:spcPts val="2200"/>
              </a:lnSpc>
              <a:buClr>
                <a:schemeClr val="tx2"/>
              </a:buClr>
            </a:pPr>
            <a:endParaRPr lang="en-GB" sz="1800" b="0" i="0" u="none" baseline="0" dirty="0" smtClean="0">
              <a:solidFill>
                <a:srgbClr val="000000"/>
              </a:solidFill>
              <a:latin typeface="Calibri" panose="020F0502020204030204" pitchFamily="34" charset="0"/>
              <a:cs typeface="Calibri" panose="020F050202020403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501988999"/>
              </p:ext>
            </p:extLst>
          </p:nvPr>
        </p:nvGraphicFramePr>
        <p:xfrm>
          <a:off x="550487" y="2277634"/>
          <a:ext cx="9915680" cy="3816533"/>
        </p:xfrm>
        <a:graphic>
          <a:graphicData uri="http://schemas.openxmlformats.org/drawingml/2006/table">
            <a:tbl>
              <a:tblPr/>
              <a:tblGrid>
                <a:gridCol w="586148">
                  <a:extLst>
                    <a:ext uri="{9D8B030D-6E8A-4147-A177-3AD203B41FA5}">
                      <a16:colId xmlns:a16="http://schemas.microsoft.com/office/drawing/2014/main" val="572984792"/>
                    </a:ext>
                  </a:extLst>
                </a:gridCol>
                <a:gridCol w="1208932">
                  <a:extLst>
                    <a:ext uri="{9D8B030D-6E8A-4147-A177-3AD203B41FA5}">
                      <a16:colId xmlns:a16="http://schemas.microsoft.com/office/drawing/2014/main" val="3857322004"/>
                    </a:ext>
                  </a:extLst>
                </a:gridCol>
                <a:gridCol w="3614583">
                  <a:extLst>
                    <a:ext uri="{9D8B030D-6E8A-4147-A177-3AD203B41FA5}">
                      <a16:colId xmlns:a16="http://schemas.microsoft.com/office/drawing/2014/main" val="787220520"/>
                    </a:ext>
                  </a:extLst>
                </a:gridCol>
                <a:gridCol w="1868348">
                  <a:extLst>
                    <a:ext uri="{9D8B030D-6E8A-4147-A177-3AD203B41FA5}">
                      <a16:colId xmlns:a16="http://schemas.microsoft.com/office/drawing/2014/main" val="1249427501"/>
                    </a:ext>
                  </a:extLst>
                </a:gridCol>
                <a:gridCol w="2637669">
                  <a:extLst>
                    <a:ext uri="{9D8B030D-6E8A-4147-A177-3AD203B41FA5}">
                      <a16:colId xmlns:a16="http://schemas.microsoft.com/office/drawing/2014/main" val="2486813886"/>
                    </a:ext>
                  </a:extLst>
                </a:gridCol>
              </a:tblGrid>
              <a:tr h="373454">
                <a:tc>
                  <a:txBody>
                    <a:bodyPr/>
                    <a:lstStyle/>
                    <a:p>
                      <a:pPr algn="ctr" fontAlgn="b"/>
                      <a:r>
                        <a:rPr lang="en-GB" sz="1100" b="1" i="0" u="none" strike="noStrike" dirty="0">
                          <a:solidFill>
                            <a:srgbClr val="000000"/>
                          </a:solidFill>
                          <a:effectLst/>
                          <a:latin typeface="Calibri" panose="020F0502020204030204" pitchFamily="34" charset="0"/>
                        </a:rPr>
                        <a:t>QCO</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dirty="0">
                          <a:solidFill>
                            <a:srgbClr val="000000"/>
                          </a:solidFill>
                          <a:effectLst/>
                          <a:latin typeface="Calibri" panose="020F0502020204030204" pitchFamily="34" charset="0"/>
                        </a:rPr>
                        <a:t>Test Standard</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dirty="0">
                          <a:solidFill>
                            <a:srgbClr val="000000"/>
                          </a:solidFill>
                          <a:effectLst/>
                          <a:latin typeface="Calibri" panose="020F0502020204030204" pitchFamily="34" charset="0"/>
                        </a:rPr>
                        <a:t>Test Name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dirty="0">
                          <a:solidFill>
                            <a:srgbClr val="000000"/>
                          </a:solidFill>
                          <a:effectLst/>
                          <a:latin typeface="Calibri" panose="020F0502020204030204" pitchFamily="34" charset="0"/>
                        </a:rPr>
                        <a:t>Coverage</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dirty="0">
                          <a:solidFill>
                            <a:srgbClr val="000000"/>
                          </a:solidFill>
                          <a:effectLst/>
                          <a:latin typeface="Calibri" panose="020F0502020204030204" pitchFamily="34" charset="0"/>
                        </a:rPr>
                        <a:t>BIS Statu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610178513"/>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5676: 1995</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Moulded solid rubber soles and heels-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b"/>
                      <a:r>
                        <a:rPr lang="en-GB" sz="1000" b="0" i="0" u="none" strike="noStrike" dirty="0" smtClean="0">
                          <a:solidFill>
                            <a:srgbClr val="000000"/>
                          </a:solidFill>
                          <a:effectLst/>
                          <a:latin typeface="Calibri" panose="020F0502020204030204" pitchFamily="34" charset="0"/>
                        </a:rPr>
                        <a:t>Expected recognition by BIS </a:t>
                      </a:r>
                      <a:endParaRPr lang="en-GB" sz="1000" b="0" i="0" u="none" strike="noStrike" dirty="0">
                        <a:solidFill>
                          <a:srgbClr val="000000"/>
                        </a:solidFill>
                        <a:effectLst/>
                        <a:latin typeface="Calibri" panose="020F0502020204030204" pitchFamily="34" charset="0"/>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7843434"/>
                  </a:ext>
                </a:extLst>
              </a:tr>
              <a:tr h="298848">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6664: 199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Rubber microcellular sheets for soles and heels-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59854428"/>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6719: 197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Specification for solid PVC soles and heel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1655824"/>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6721: 197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Specification for PVC sandal</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9905387"/>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0702: 199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Rubber </a:t>
                      </a:r>
                      <a:r>
                        <a:rPr lang="en-GB" sz="1000" b="0" i="0" u="none" strike="noStrike" dirty="0" err="1">
                          <a:solidFill>
                            <a:srgbClr val="000000"/>
                          </a:solidFill>
                          <a:effectLst/>
                          <a:latin typeface="Calibri" panose="020F0502020204030204" pitchFamily="34" charset="0"/>
                        </a:rPr>
                        <a:t>HawaiChappal</a:t>
                      </a:r>
                      <a:r>
                        <a:rPr lang="en-GB" sz="1000" b="0" i="0" u="none" strike="noStrike" dirty="0">
                          <a:solidFill>
                            <a:srgbClr val="000000"/>
                          </a:solidFill>
                          <a:effectLst/>
                          <a:latin typeface="Calibri" panose="020F0502020204030204" pitchFamily="34" charset="0"/>
                        </a:rPr>
                        <a:t>-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0114022"/>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1544: 1986</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Specification for slipper, rubber</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486763"/>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3893: 1994</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Polyurethane sole, </a:t>
                      </a:r>
                      <a:r>
                        <a:rPr lang="en-GB" sz="1000" b="0" i="0" u="none" strike="noStrike" dirty="0" err="1">
                          <a:solidFill>
                            <a:srgbClr val="000000"/>
                          </a:solidFill>
                          <a:effectLst/>
                          <a:latin typeface="Calibri" panose="020F0502020204030204" pitchFamily="34" charset="0"/>
                        </a:rPr>
                        <a:t>semirigid</a:t>
                      </a:r>
                      <a:r>
                        <a:rPr lang="en-GB" sz="1000" b="0" i="0" u="none" strike="noStrike" dirty="0">
                          <a:solidFill>
                            <a:srgbClr val="000000"/>
                          </a:solidFill>
                          <a:effectLst/>
                          <a:latin typeface="Calibri" panose="020F0502020204030204" pitchFamily="34" charset="0"/>
                        </a:rPr>
                        <a:t>-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2172719"/>
                  </a:ext>
                </a:extLst>
              </a:tr>
              <a:tr h="349359">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3995: 1995</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Unlined moulded rubber boots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1534171"/>
                  </a:ext>
                </a:extLst>
              </a:tr>
              <a:tr h="349359">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3735: 1996</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 Canvas Shoes, Rubber Sole-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1681127"/>
                  </a:ext>
                </a:extLst>
              </a:tr>
              <a:tr h="349359">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3736: 1995</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 Canvas Boots, Rubber Sole-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Complete product covered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8242230"/>
                  </a:ext>
                </a:extLst>
              </a:tr>
            </a:tbl>
          </a:graphicData>
        </a:graphic>
      </p:graphicFrame>
    </p:spTree>
    <p:extLst>
      <p:ext uri="{BB962C8B-B14F-4D97-AF65-F5344CB8AC3E}">
        <p14:creationId xmlns:p14="http://schemas.microsoft.com/office/powerpoint/2010/main" val="371688080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406416" y="951712"/>
            <a:ext cx="10657054" cy="374461"/>
          </a:xfrm>
          <a:prstGeom prst="rect">
            <a:avLst/>
          </a:prstGeom>
          <a:noFill/>
        </p:spPr>
        <p:txBody>
          <a:bodyPr vert="horz" wrap="square" lIns="0" rtlCol="0">
            <a:spAutoFit/>
          </a:bodyPr>
          <a:lstStyle/>
          <a:p>
            <a:pPr marL="285750" indent="-285750" algn="l" rtl="0" eaLnBrk="1" fontAlgn="auto" hangingPunct="1">
              <a:lnSpc>
                <a:spcPts val="2200"/>
              </a:lnSpc>
              <a:spcBef>
                <a:spcPts val="0"/>
              </a:spcBef>
              <a:spcAft>
                <a:spcPts val="0"/>
              </a:spcAft>
              <a:buClr>
                <a:schemeClr val="tx2"/>
              </a:buClr>
              <a:buFont typeface="Courier New" panose="02070309020205020404" pitchFamily="49" charset="0"/>
              <a:buChar char="o"/>
            </a:pPr>
            <a:r>
              <a:rPr lang="en-US" sz="1800" dirty="0" smtClean="0">
                <a:solidFill>
                  <a:srgbClr val="000000"/>
                </a:solidFill>
                <a:latin typeface="Calibri" panose="020F0502020204030204" pitchFamily="34" charset="0"/>
                <a:cs typeface="Calibri" panose="020F0502020204030204" pitchFamily="34" charset="0"/>
              </a:rPr>
              <a:t>Below are test where we have partial capability now. If we get business projection we can add these in future.</a:t>
            </a:r>
            <a:endParaRPr lang="en-GB" sz="1800" b="0" i="0" u="none" baseline="0" dirty="0" smtClean="0">
              <a:solidFill>
                <a:srgbClr val="000000"/>
              </a:solidFill>
              <a:latin typeface="Calibri" panose="020F0502020204030204" pitchFamily="34" charset="0"/>
              <a:cs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474047206"/>
              </p:ext>
            </p:extLst>
          </p:nvPr>
        </p:nvGraphicFramePr>
        <p:xfrm>
          <a:off x="406416" y="1722640"/>
          <a:ext cx="9914461" cy="4443535"/>
        </p:xfrm>
        <a:graphic>
          <a:graphicData uri="http://schemas.openxmlformats.org/drawingml/2006/table">
            <a:tbl>
              <a:tblPr/>
              <a:tblGrid>
                <a:gridCol w="586076">
                  <a:extLst>
                    <a:ext uri="{9D8B030D-6E8A-4147-A177-3AD203B41FA5}">
                      <a16:colId xmlns:a16="http://schemas.microsoft.com/office/drawing/2014/main" val="3100221890"/>
                    </a:ext>
                  </a:extLst>
                </a:gridCol>
                <a:gridCol w="1208783">
                  <a:extLst>
                    <a:ext uri="{9D8B030D-6E8A-4147-A177-3AD203B41FA5}">
                      <a16:colId xmlns:a16="http://schemas.microsoft.com/office/drawing/2014/main" val="1535729498"/>
                    </a:ext>
                  </a:extLst>
                </a:gridCol>
                <a:gridCol w="3614138">
                  <a:extLst>
                    <a:ext uri="{9D8B030D-6E8A-4147-A177-3AD203B41FA5}">
                      <a16:colId xmlns:a16="http://schemas.microsoft.com/office/drawing/2014/main" val="405475332"/>
                    </a:ext>
                  </a:extLst>
                </a:gridCol>
                <a:gridCol w="1868119">
                  <a:extLst>
                    <a:ext uri="{9D8B030D-6E8A-4147-A177-3AD203B41FA5}">
                      <a16:colId xmlns:a16="http://schemas.microsoft.com/office/drawing/2014/main" val="2901670442"/>
                    </a:ext>
                  </a:extLst>
                </a:gridCol>
                <a:gridCol w="2637345">
                  <a:extLst>
                    <a:ext uri="{9D8B030D-6E8A-4147-A177-3AD203B41FA5}">
                      <a16:colId xmlns:a16="http://schemas.microsoft.com/office/drawing/2014/main" val="594254181"/>
                    </a:ext>
                  </a:extLst>
                </a:gridCol>
              </a:tblGrid>
              <a:tr h="197349">
                <a:tc>
                  <a:txBody>
                    <a:bodyPr/>
                    <a:lstStyle/>
                    <a:p>
                      <a:pPr algn="ctr" fontAlgn="b"/>
                      <a:r>
                        <a:rPr lang="en-GB" sz="1100" b="1" i="0" u="none" strike="noStrike">
                          <a:solidFill>
                            <a:srgbClr val="000000"/>
                          </a:solidFill>
                          <a:effectLst/>
                          <a:latin typeface="Calibri" panose="020F0502020204030204" pitchFamily="34" charset="0"/>
                        </a:rPr>
                        <a:t>QCO</a:t>
                      </a: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Test Standard</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Test Name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Coverage</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dirty="0">
                          <a:solidFill>
                            <a:srgbClr val="000000"/>
                          </a:solidFill>
                          <a:effectLst/>
                          <a:latin typeface="Calibri" panose="020F0502020204030204" pitchFamily="34" charset="0"/>
                        </a:rPr>
                        <a:t>BIS Statu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79748269"/>
                  </a:ext>
                </a:extLst>
              </a:tr>
              <a:tr h="738467">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2254: 199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Polyvinyl chloride (PVC) industrial boots -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000" b="0" i="0" u="none" strike="noStrike" dirty="0" smtClean="0">
                          <a:solidFill>
                            <a:srgbClr val="000000"/>
                          </a:solidFill>
                          <a:effectLst/>
                          <a:latin typeface="Calibri" panose="020F0502020204030204" pitchFamily="34" charset="0"/>
                        </a:rPr>
                        <a:t>Partial Capability</a:t>
                      </a:r>
                      <a:endParaRPr lang="en-GB" sz="1000" b="0" i="0" u="none" strike="noStrike" dirty="0">
                        <a:solidFill>
                          <a:srgbClr val="000000"/>
                        </a:solidFill>
                        <a:effectLst/>
                        <a:latin typeface="Calibri" panose="020F0502020204030204" pitchFamily="34" charset="0"/>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0845605"/>
                  </a:ext>
                </a:extLst>
              </a:tr>
              <a:tr h="553850">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6645: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Moulded plastics footwear- Lined or Unlined polyurethane boots for general industrial use-</a:t>
                      </a:r>
                      <a:br>
                        <a:rPr lang="en-GB" sz="1000" b="0" i="0" u="none" strike="noStrike">
                          <a:solidFill>
                            <a:srgbClr val="000000"/>
                          </a:solidFill>
                          <a:effectLst/>
                          <a:latin typeface="Calibri" panose="020F0502020204030204" pitchFamily="34" charset="0"/>
                        </a:rPr>
                      </a:br>
                      <a:r>
                        <a:rPr lang="en-GB" sz="1000" b="0" i="0" u="none" strike="noStrike">
                          <a:solidFill>
                            <a:srgbClr val="000000"/>
                          </a:solidFill>
                          <a:effectLst/>
                          <a:latin typeface="Calibri" panose="020F0502020204030204" pitchFamily="34" charset="0"/>
                        </a:rPr>
                        <a:t>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Calibri" panose="020F0502020204030204" pitchFamily="34" charset="0"/>
                        </a:rPr>
                        <a:t>Partial Capability</a:t>
                      </a:r>
                      <a:endParaRPr lang="en-GB" sz="1000" b="0" i="0" u="none" strike="noStrike" dirty="0" smtClean="0">
                        <a:solidFill>
                          <a:srgbClr val="000000"/>
                        </a:solidFill>
                        <a:effectLst/>
                        <a:latin typeface="Calibri" panose="020F0502020204030204" pitchFamily="34" charset="0"/>
                      </a:endParaRPr>
                    </a:p>
                    <a:p>
                      <a:pPr algn="ctr" fontAlgn="ctr"/>
                      <a:endParaRPr lang="en-GB" sz="1000" b="0" i="0" u="none" strike="noStrike" dirty="0">
                        <a:solidFill>
                          <a:srgbClr val="000000"/>
                        </a:solidFill>
                        <a:effectLst/>
                        <a:latin typeface="Calibri" panose="020F0502020204030204" pitchFamily="34" charset="0"/>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6071638"/>
                  </a:ext>
                </a:extLst>
              </a:tr>
              <a:tr h="3692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4544: 199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 Leather safety footwear with direct moulded polyvinyl chloride (PVC) sole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Calibri" panose="020F0502020204030204" pitchFamily="34" charset="0"/>
                        </a:rPr>
                        <a:t>Partial Capability</a:t>
                      </a:r>
                      <a:endParaRPr lang="en-GB" sz="1000" b="0" i="0" u="none" strike="noStrike" dirty="0" smtClean="0">
                        <a:solidFill>
                          <a:srgbClr val="000000"/>
                        </a:solidFill>
                        <a:effectLst/>
                        <a:latin typeface="Calibri" panose="020F0502020204030204" pitchFamily="34" charset="0"/>
                      </a:endParaRPr>
                    </a:p>
                    <a:p>
                      <a:pPr algn="ctr" fontAlgn="ctr"/>
                      <a:endParaRPr lang="en-GB" sz="1000" b="0" i="0" u="none" strike="noStrike" dirty="0">
                        <a:solidFill>
                          <a:srgbClr val="000000"/>
                        </a:solidFill>
                        <a:effectLst/>
                        <a:latin typeface="Calibri" panose="020F0502020204030204" pitchFamily="34" charset="0"/>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2698976"/>
                  </a:ext>
                </a:extLst>
              </a:tr>
              <a:tr h="2215401">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5844: 2010</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dirty="0">
                          <a:solidFill>
                            <a:srgbClr val="000000"/>
                          </a:solidFill>
                          <a:effectLst/>
                          <a:latin typeface="Calibri" panose="020F0502020204030204" pitchFamily="34" charset="0"/>
                        </a:rPr>
                        <a:t> Sports Footwear-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Calibri" panose="020F0502020204030204" pitchFamily="34" charset="0"/>
                        </a:rPr>
                        <a:t>Partial Capability</a:t>
                      </a:r>
                      <a:endParaRPr lang="en-GB" sz="1000" b="0" i="0" u="none" strike="noStrike" dirty="0" smtClean="0">
                        <a:solidFill>
                          <a:srgbClr val="000000"/>
                        </a:solidFill>
                        <a:effectLst/>
                        <a:latin typeface="Calibri" panose="020F0502020204030204" pitchFamily="34" charset="0"/>
                      </a:endParaRPr>
                    </a:p>
                    <a:p>
                      <a:pPr algn="ctr" fontAlgn="ctr"/>
                      <a:endParaRPr lang="en-GB" sz="1000" b="0" i="0" u="none" strike="noStrike" dirty="0">
                        <a:solidFill>
                          <a:srgbClr val="000000"/>
                        </a:solidFill>
                        <a:effectLst/>
                        <a:latin typeface="Calibri" panose="020F0502020204030204" pitchFamily="34" charset="0"/>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5795019"/>
                  </a:ext>
                </a:extLst>
              </a:tr>
              <a:tr h="3692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7043: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en-GB" sz="1000" b="0" i="0" u="none" strike="noStrike">
                          <a:solidFill>
                            <a:srgbClr val="000000"/>
                          </a:solidFill>
                          <a:effectLst/>
                          <a:latin typeface="Calibri" panose="020F0502020204030204" pitchFamily="34" charset="0"/>
                        </a:rPr>
                        <a:t> Derby shoes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marL="0" marR="0" lvl="0" indent="0" algn="ctr" defTabSz="1219170" rtl="0" eaLnBrk="1" fontAlgn="ctr" latinLnBrk="0" hangingPunct="1">
                        <a:lnSpc>
                          <a:spcPct val="100000"/>
                        </a:lnSpc>
                        <a:spcBef>
                          <a:spcPts val="0"/>
                        </a:spcBef>
                        <a:spcAft>
                          <a:spcPts val="0"/>
                        </a:spcAft>
                        <a:buClrTx/>
                        <a:buSzTx/>
                        <a:buFontTx/>
                        <a:buNone/>
                        <a:tabLst/>
                        <a:defRPr/>
                      </a:pPr>
                      <a:r>
                        <a:rPr lang="en-US" sz="1000" b="0" i="0" u="none" strike="noStrike" dirty="0" smtClean="0">
                          <a:solidFill>
                            <a:srgbClr val="000000"/>
                          </a:solidFill>
                          <a:effectLst/>
                          <a:latin typeface="Calibri" panose="020F0502020204030204" pitchFamily="34" charset="0"/>
                        </a:rPr>
                        <a:t>Partial Capability</a:t>
                      </a:r>
                      <a:endParaRPr lang="en-GB" sz="1000" b="0" i="0" u="none" strike="noStrike" dirty="0" smtClean="0">
                        <a:solidFill>
                          <a:srgbClr val="000000"/>
                        </a:solidFill>
                        <a:effectLst/>
                        <a:latin typeface="Calibri" panose="020F0502020204030204" pitchFamily="34" charset="0"/>
                      </a:endParaRPr>
                    </a:p>
                    <a:p>
                      <a:pPr algn="ctr" fontAlgn="ctr"/>
                      <a:endParaRPr lang="en-GB" sz="1000" b="0" i="0" u="none" strike="noStrike" dirty="0">
                        <a:solidFill>
                          <a:srgbClr val="000000"/>
                        </a:solidFill>
                        <a:effectLst/>
                        <a:latin typeface="Calibri" panose="020F0502020204030204" pitchFamily="34" charset="0"/>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1219170" rtl="0" eaLnBrk="1" fontAlgn="b"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smtClean="0">
                          <a:ln>
                            <a:noFill/>
                          </a:ln>
                          <a:solidFill>
                            <a:srgbClr val="000000"/>
                          </a:solidFill>
                          <a:effectLst/>
                          <a:uLnTx/>
                          <a:uFillTx/>
                          <a:latin typeface="Calibri" panose="020F0502020204030204" pitchFamily="34" charset="0"/>
                          <a:ea typeface="+mn-ea"/>
                          <a:cs typeface="+mn-cs"/>
                        </a:rPr>
                        <a:t>Expected recognition by BIS </a:t>
                      </a:r>
                      <a:endParaRPr kumimoji="0" lang="en-GB"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0221141"/>
                  </a:ext>
                </a:extLst>
              </a:tr>
            </a:tbl>
          </a:graphicData>
        </a:graphic>
      </p:graphicFrame>
      <p:sp>
        <p:nvSpPr>
          <p:cNvPr id="8" name="Titel 1"/>
          <p:cNvSpPr>
            <a:spLocks noGrp="1"/>
          </p:cNvSpPr>
          <p:nvPr>
            <p:ph type="title"/>
          </p:nvPr>
        </p:nvSpPr>
        <p:spPr>
          <a:xfrm>
            <a:off x="335462" y="297420"/>
            <a:ext cx="11449539" cy="612023"/>
          </a:xfrm>
        </p:spPr>
        <p:txBody>
          <a:bodyPr/>
          <a:lstStyle/>
          <a:p>
            <a:r>
              <a:rPr lang="en-US" dirty="0" smtClean="0"/>
              <a:t>Update on our preparations for the BIS recognition for the Footwear testing</a:t>
            </a:r>
            <a:endParaRPr lang="en-US" dirty="0"/>
          </a:p>
        </p:txBody>
      </p:sp>
    </p:spTree>
    <p:extLst>
      <p:ext uri="{BB962C8B-B14F-4D97-AF65-F5344CB8AC3E}">
        <p14:creationId xmlns:p14="http://schemas.microsoft.com/office/powerpoint/2010/main" val="178620546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extLst/>
          </p:nvPr>
        </p:nvGraphicFramePr>
        <p:xfrm>
          <a:off x="308065" y="1629544"/>
          <a:ext cx="11737628" cy="4140118"/>
        </p:xfrm>
        <a:graphic>
          <a:graphicData uri="http://schemas.openxmlformats.org/drawingml/2006/table">
            <a:tbl>
              <a:tblPr/>
              <a:tblGrid>
                <a:gridCol w="612397">
                  <a:extLst>
                    <a:ext uri="{9D8B030D-6E8A-4147-A177-3AD203B41FA5}">
                      <a16:colId xmlns:a16="http://schemas.microsoft.com/office/drawing/2014/main" val="312874572"/>
                    </a:ext>
                  </a:extLst>
                </a:gridCol>
                <a:gridCol w="1263070">
                  <a:extLst>
                    <a:ext uri="{9D8B030D-6E8A-4147-A177-3AD203B41FA5}">
                      <a16:colId xmlns:a16="http://schemas.microsoft.com/office/drawing/2014/main" val="2583390790"/>
                    </a:ext>
                  </a:extLst>
                </a:gridCol>
                <a:gridCol w="3776455">
                  <a:extLst>
                    <a:ext uri="{9D8B030D-6E8A-4147-A177-3AD203B41FA5}">
                      <a16:colId xmlns:a16="http://schemas.microsoft.com/office/drawing/2014/main" val="3289290722"/>
                    </a:ext>
                  </a:extLst>
                </a:gridCol>
                <a:gridCol w="1952019">
                  <a:extLst>
                    <a:ext uri="{9D8B030D-6E8A-4147-A177-3AD203B41FA5}">
                      <a16:colId xmlns:a16="http://schemas.microsoft.com/office/drawing/2014/main" val="328608198"/>
                    </a:ext>
                  </a:extLst>
                </a:gridCol>
                <a:gridCol w="1377895">
                  <a:extLst>
                    <a:ext uri="{9D8B030D-6E8A-4147-A177-3AD203B41FA5}">
                      <a16:colId xmlns:a16="http://schemas.microsoft.com/office/drawing/2014/main" val="1350581632"/>
                    </a:ext>
                  </a:extLst>
                </a:gridCol>
                <a:gridCol w="2755792">
                  <a:extLst>
                    <a:ext uri="{9D8B030D-6E8A-4147-A177-3AD203B41FA5}">
                      <a16:colId xmlns:a16="http://schemas.microsoft.com/office/drawing/2014/main" val="2219661422"/>
                    </a:ext>
                  </a:extLst>
                </a:gridCol>
              </a:tblGrid>
              <a:tr h="191844">
                <a:tc>
                  <a:txBody>
                    <a:bodyPr/>
                    <a:lstStyle/>
                    <a:p>
                      <a:pPr algn="ctr" fontAlgn="b"/>
                      <a:r>
                        <a:rPr lang="en-GB" sz="1100" b="1" i="0" u="none" strike="noStrike">
                          <a:solidFill>
                            <a:srgbClr val="000000"/>
                          </a:solidFill>
                          <a:effectLst/>
                          <a:latin typeface="Calibri" panose="020F0502020204030204" pitchFamily="34" charset="0"/>
                        </a:rPr>
                        <a:t>QCO</a:t>
                      </a:r>
                    </a:p>
                  </a:txBody>
                  <a:tcPr marL="6026" marR="6026" marT="60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Test Standard</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Test Name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Coverage</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NABL Statu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GB" sz="1100" b="1" i="0" u="none" strike="noStrike">
                          <a:solidFill>
                            <a:srgbClr val="000000"/>
                          </a:solidFill>
                          <a:effectLst/>
                          <a:latin typeface="Calibri" panose="020F0502020204030204" pitchFamily="34" charset="0"/>
                        </a:rPr>
                        <a:t>BIS Statu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786533131"/>
                  </a:ext>
                </a:extLst>
              </a:tr>
              <a:tr h="358934">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5557: 2004</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dirty="0">
                          <a:solidFill>
                            <a:srgbClr val="000000"/>
                          </a:solidFill>
                          <a:effectLst/>
                          <a:latin typeface="Calibri" panose="020F0502020204030204" pitchFamily="34" charset="0"/>
                        </a:rPr>
                        <a:t>Industrial and protective rubber knee and ankle boots -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11">
                  <a:txBody>
                    <a:bodyPr/>
                    <a:lstStyle/>
                    <a:p>
                      <a:pPr algn="l" fontAlgn="ctr"/>
                      <a:r>
                        <a:rPr lang="en-GB" sz="1000" b="0" i="0" u="none" strike="noStrike">
                          <a:solidFill>
                            <a:srgbClr val="000000"/>
                          </a:solidFill>
                          <a:effectLst/>
                          <a:latin typeface="Calibri" panose="020F0502020204030204" pitchFamily="34" charset="0"/>
                        </a:rPr>
                        <a:t>As such we have no request for Safety footwear hence we have not included</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6215179"/>
                  </a:ext>
                </a:extLst>
              </a:tr>
              <a:tr h="358934">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5557 (Part 2):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dirty="0">
                          <a:solidFill>
                            <a:srgbClr val="000000"/>
                          </a:solidFill>
                          <a:effectLst/>
                          <a:latin typeface="Calibri" panose="020F0502020204030204" pitchFamily="34" charset="0"/>
                        </a:rPr>
                        <a:t>All rubber gum boots and ankle boots: Part 2 occupational purpose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3275238803"/>
                  </a:ext>
                </a:extLst>
              </a:tr>
              <a:tr h="358934">
                <a:tc>
                  <a:txBody>
                    <a:bodyPr/>
                    <a:lstStyle/>
                    <a:p>
                      <a:pPr algn="ctr" fontAlgn="ctr"/>
                      <a:r>
                        <a:rPr lang="en-GB" sz="1000" b="1" i="0" u="none" strike="noStrike">
                          <a:solidFill>
                            <a:srgbClr val="000000"/>
                          </a:solidFill>
                          <a:effectLst/>
                          <a:latin typeface="Calibri" panose="020F0502020204030204" pitchFamily="34" charset="0"/>
                        </a:rPr>
                        <a:t>QCO -1</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6994: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Footwear for men and women for municipal scavenging work</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414802289"/>
                  </a:ext>
                </a:extLst>
              </a:tr>
              <a:tr h="358934">
                <a:tc>
                  <a:txBody>
                    <a:bodyPr/>
                    <a:lstStyle/>
                    <a:p>
                      <a:pPr algn="ctr" fontAlgn="ctr"/>
                      <a:r>
                        <a:rPr lang="en-GB" sz="900" b="1" i="0" u="none" strike="noStrike">
                          <a:solidFill>
                            <a:srgbClr val="000000"/>
                          </a:solidFill>
                          <a:effectLst/>
                          <a:latin typeface="Calibri" panose="020F0502020204030204" pitchFamily="34" charset="0"/>
                        </a:rPr>
                        <a:t>QCO -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5298 (Part 2): 2016</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Personal Protective equipment - Part 2 Safety Footwear</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3431590462"/>
                  </a:ext>
                </a:extLst>
              </a:tr>
              <a:tr h="358934">
                <a:tc>
                  <a:txBody>
                    <a:bodyPr/>
                    <a:lstStyle/>
                    <a:p>
                      <a:pPr algn="ctr" fontAlgn="ctr"/>
                      <a:r>
                        <a:rPr lang="en-GB" sz="900" b="1" i="0" u="none" strike="noStrike">
                          <a:solidFill>
                            <a:srgbClr val="000000"/>
                          </a:solidFill>
                          <a:effectLst/>
                          <a:latin typeface="Calibri" panose="020F0502020204030204" pitchFamily="34" charset="0"/>
                        </a:rPr>
                        <a:t>QCO -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5298 (Part 3): 2019</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Personal Protective equipment - Part 3 Protective Footwear</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1786086619"/>
                  </a:ext>
                </a:extLst>
              </a:tr>
              <a:tr h="358934">
                <a:tc>
                  <a:txBody>
                    <a:bodyPr/>
                    <a:lstStyle/>
                    <a:p>
                      <a:pPr algn="ctr" fontAlgn="ctr"/>
                      <a:r>
                        <a:rPr lang="en-GB" sz="900" b="1" i="0" u="none" strike="noStrike">
                          <a:solidFill>
                            <a:srgbClr val="000000"/>
                          </a:solidFill>
                          <a:effectLst/>
                          <a:latin typeface="Calibri" panose="020F0502020204030204" pitchFamily="34" charset="0"/>
                        </a:rPr>
                        <a:t>QCO -2</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5298 (Part 4): 2017</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Personal Protective equipment - Part 4 Occupational Footwear</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1795454619"/>
                  </a:ext>
                </a:extLst>
              </a:tr>
              <a:tr h="3589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989 (Part 1): 1986</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Specification for leather safety boots and shoes Part 1 for miner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3153964637"/>
                  </a:ext>
                </a:extLst>
              </a:tr>
              <a:tr h="3589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989 (Part.2): 1986</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Specification for leather safety boots and shoes Part 2 for heavy metal industries</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3683006526"/>
                  </a:ext>
                </a:extLst>
              </a:tr>
              <a:tr h="3589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1226: 199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Leather safety footwear having direct moulded rubber sole-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2274772237"/>
                  </a:ext>
                </a:extLst>
              </a:tr>
              <a:tr h="3589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7012: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High ankle tactical boots with PU - Rubber Sole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3276072441"/>
                  </a:ext>
                </a:extLst>
              </a:tr>
              <a:tr h="358934">
                <a:tc>
                  <a:txBody>
                    <a:bodyPr/>
                    <a:lstStyle/>
                    <a:p>
                      <a:pPr algn="ctr" fontAlgn="ctr"/>
                      <a:r>
                        <a:rPr lang="en-GB" sz="900" b="1" i="0" u="none" strike="noStrike">
                          <a:solidFill>
                            <a:srgbClr val="000000"/>
                          </a:solidFill>
                          <a:effectLst/>
                          <a:latin typeface="Calibri" panose="020F0502020204030204" pitchFamily="34" charset="0"/>
                        </a:rPr>
                        <a:t>QCO-3</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1000" b="0" i="0" u="none" strike="noStrike">
                          <a:solidFill>
                            <a:srgbClr val="000000"/>
                          </a:solidFill>
                          <a:effectLst/>
                          <a:latin typeface="Calibri" panose="020F0502020204030204" pitchFamily="34" charset="0"/>
                        </a:rPr>
                        <a:t>IS 17037: 2018</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a:solidFill>
                            <a:srgbClr val="000000"/>
                          </a:solidFill>
                          <a:effectLst/>
                          <a:latin typeface="Calibri" panose="020F0502020204030204" pitchFamily="34" charset="0"/>
                        </a:rPr>
                        <a:t> Antiriot shoes Specification</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GB" sz="1000" b="0" i="0" u="none" strike="noStrike" dirty="0">
                          <a:solidFill>
                            <a:srgbClr val="000000"/>
                          </a:solidFill>
                          <a:effectLst/>
                          <a:latin typeface="Calibri" panose="020F0502020204030204" pitchFamily="34" charset="0"/>
                        </a:rPr>
                        <a:t>Not applied for Safety shoes </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GB" sz="1000" b="0" i="0" u="none" strike="noStrike" dirty="0">
                          <a:solidFill>
                            <a:srgbClr val="000000"/>
                          </a:solidFill>
                          <a:effectLst/>
                          <a:latin typeface="Calibri" panose="020F0502020204030204" pitchFamily="34" charset="0"/>
                        </a:rPr>
                        <a:t>Not Applying</a:t>
                      </a:r>
                    </a:p>
                  </a:txBody>
                  <a:tcPr marL="6026" marR="6026" marT="60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GB"/>
                    </a:p>
                  </a:txBody>
                  <a:tcPr/>
                </a:tc>
                <a:extLst>
                  <a:ext uri="{0D108BD9-81ED-4DB2-BD59-A6C34878D82A}">
                    <a16:rowId xmlns:a16="http://schemas.microsoft.com/office/drawing/2014/main" val="2929431065"/>
                  </a:ext>
                </a:extLst>
              </a:tr>
            </a:tbl>
          </a:graphicData>
        </a:graphic>
      </p:graphicFrame>
      <p:sp>
        <p:nvSpPr>
          <p:cNvPr id="13" name="TextBox 12"/>
          <p:cNvSpPr txBox="1"/>
          <p:nvPr/>
        </p:nvSpPr>
        <p:spPr>
          <a:xfrm>
            <a:off x="335462" y="932944"/>
            <a:ext cx="10657054" cy="364843"/>
          </a:xfrm>
          <a:prstGeom prst="rect">
            <a:avLst/>
          </a:prstGeom>
          <a:noFill/>
        </p:spPr>
        <p:txBody>
          <a:bodyPr vert="horz" wrap="square" lIns="0" rtlCol="0">
            <a:spAutoFit/>
          </a:bodyPr>
          <a:lstStyle/>
          <a:p>
            <a:pPr marL="285750" indent="-285750" algn="l" rtl="0" eaLnBrk="1" fontAlgn="auto" hangingPunct="1">
              <a:lnSpc>
                <a:spcPts val="2200"/>
              </a:lnSpc>
              <a:spcBef>
                <a:spcPts val="0"/>
              </a:spcBef>
              <a:spcAft>
                <a:spcPts val="0"/>
              </a:spcAft>
              <a:buClr>
                <a:schemeClr val="tx2"/>
              </a:buClr>
              <a:buFont typeface="Courier New" panose="02070309020205020404" pitchFamily="49" charset="0"/>
              <a:buChar char="o"/>
            </a:pPr>
            <a:r>
              <a:rPr lang="en-US" sz="1800" dirty="0" smtClean="0">
                <a:solidFill>
                  <a:srgbClr val="000000"/>
                </a:solidFill>
                <a:latin typeface="Calibri" panose="020F0502020204030204" pitchFamily="34" charset="0"/>
                <a:cs typeface="Calibri" panose="020F0502020204030204" pitchFamily="34" charset="0"/>
              </a:rPr>
              <a:t>Below are Safety shoes details, if we get business projection we can add these in future.</a:t>
            </a:r>
            <a:endParaRPr lang="en-GB" sz="1800" b="0" i="0" u="none" baseline="0" dirty="0" smtClean="0">
              <a:solidFill>
                <a:srgbClr val="000000"/>
              </a:solidFill>
              <a:latin typeface="Calibri" panose="020F0502020204030204" pitchFamily="34" charset="0"/>
              <a:cs typeface="Calibri" panose="020F0502020204030204" pitchFamily="34" charset="0"/>
            </a:endParaRPr>
          </a:p>
        </p:txBody>
      </p:sp>
      <p:sp>
        <p:nvSpPr>
          <p:cNvPr id="8" name="Titel 1"/>
          <p:cNvSpPr>
            <a:spLocks noGrp="1"/>
          </p:cNvSpPr>
          <p:nvPr>
            <p:ph type="title"/>
          </p:nvPr>
        </p:nvSpPr>
        <p:spPr>
          <a:xfrm>
            <a:off x="335462" y="297420"/>
            <a:ext cx="11449539" cy="612023"/>
          </a:xfrm>
        </p:spPr>
        <p:txBody>
          <a:bodyPr/>
          <a:lstStyle/>
          <a:p>
            <a:r>
              <a:rPr lang="en-US" dirty="0" smtClean="0"/>
              <a:t>Update on our preparations for the BIS recognition for the Footwear testing</a:t>
            </a:r>
            <a:endParaRPr lang="en-US" dirty="0"/>
          </a:p>
        </p:txBody>
      </p:sp>
    </p:spTree>
    <p:extLst>
      <p:ext uri="{BB962C8B-B14F-4D97-AF65-F5344CB8AC3E}">
        <p14:creationId xmlns:p14="http://schemas.microsoft.com/office/powerpoint/2010/main" val="3872065399"/>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098" name="Rectangle 2"/>
          <p:cNvSpPr>
            <a:spLocks noChangeArrowheads="1"/>
          </p:cNvSpPr>
          <p:nvPr/>
        </p:nvSpPr>
        <p:spPr bwMode="auto">
          <a:xfrm>
            <a:off x="223850" y="733323"/>
            <a:ext cx="9815245" cy="588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pPr algn="just" eaLnBrk="1" hangingPunct="1">
              <a:lnSpc>
                <a:spcPct val="90000"/>
              </a:lnSpc>
              <a:buClr>
                <a:srgbClr val="FF9900"/>
              </a:buClr>
              <a:buSzPct val="110000"/>
              <a:buFont typeface="Wingdings" panose="05000000000000000000" pitchFamily="2" charset="2"/>
              <a:buNone/>
            </a:pPr>
            <a:r>
              <a:rPr lang="en-US" altLang="en-US" sz="2000" dirty="0">
                <a:latin typeface="Arial" panose="020B0604020202020204" pitchFamily="34" charset="0"/>
              </a:rPr>
              <a:t> </a:t>
            </a:r>
            <a:r>
              <a:rPr lang="en-US" altLang="en-US" sz="2000" b="1" dirty="0"/>
              <a:t>Footwear and footwear components like </a:t>
            </a:r>
          </a:p>
          <a:p>
            <a:pPr lvl="1" algn="just" eaLnBrk="1" hangingPunct="1">
              <a:lnSpc>
                <a:spcPct val="90000"/>
              </a:lnSpc>
              <a:buClr>
                <a:srgbClr val="FF9900"/>
              </a:buClr>
              <a:buSzPct val="110000"/>
              <a:buFontTx/>
              <a:buChar char="•"/>
            </a:pPr>
            <a:r>
              <a:rPr lang="en-US" altLang="en-US" sz="2000" dirty="0"/>
              <a:t> </a:t>
            </a:r>
            <a:r>
              <a:rPr lang="en-US" altLang="en-US" sz="2000" dirty="0">
                <a:solidFill>
                  <a:schemeClr val="accent2"/>
                </a:solidFill>
              </a:rPr>
              <a:t>Shoes, </a:t>
            </a:r>
            <a:r>
              <a:rPr lang="en-US" altLang="en-US" sz="2000" dirty="0" smtClean="0">
                <a:solidFill>
                  <a:schemeClr val="accent2"/>
                </a:solidFill>
              </a:rPr>
              <a:t> Safety Footwears, Safety Boots, Canvas Shoes, Sports wear Shoes, Sandals etc..</a:t>
            </a:r>
            <a:endParaRPr lang="en-US" altLang="en-US" sz="2000" dirty="0">
              <a:solidFill>
                <a:schemeClr val="accent2"/>
              </a:solidFill>
            </a:endParaRPr>
          </a:p>
          <a:p>
            <a:pPr lvl="1" algn="just" eaLnBrk="1" hangingPunct="1">
              <a:lnSpc>
                <a:spcPct val="90000"/>
              </a:lnSpc>
              <a:buClr>
                <a:srgbClr val="FF9900"/>
              </a:buClr>
              <a:buSzPct val="110000"/>
              <a:buFontTx/>
              <a:buChar char="•"/>
            </a:pPr>
            <a:r>
              <a:rPr lang="en-US" altLang="en-US" sz="2000" dirty="0">
                <a:solidFill>
                  <a:schemeClr val="accent2"/>
                </a:solidFill>
              </a:rPr>
              <a:t> Shoe uppers, </a:t>
            </a:r>
          </a:p>
          <a:p>
            <a:pPr lvl="1" algn="just" eaLnBrk="1" hangingPunct="1">
              <a:lnSpc>
                <a:spcPct val="90000"/>
              </a:lnSpc>
              <a:buClr>
                <a:srgbClr val="FF9900"/>
              </a:buClr>
              <a:buSzPct val="110000"/>
              <a:buFontTx/>
              <a:buChar char="•"/>
            </a:pPr>
            <a:r>
              <a:rPr lang="en-US" altLang="en-US" sz="2000" dirty="0">
                <a:solidFill>
                  <a:schemeClr val="accent2"/>
                </a:solidFill>
              </a:rPr>
              <a:t> Soles etc.,</a:t>
            </a:r>
            <a:r>
              <a:rPr lang="en-US" altLang="en-US" sz="2000" dirty="0"/>
              <a:t> </a:t>
            </a:r>
          </a:p>
          <a:p>
            <a:pPr algn="just" eaLnBrk="1" hangingPunct="1">
              <a:lnSpc>
                <a:spcPct val="90000"/>
              </a:lnSpc>
              <a:buClr>
                <a:srgbClr val="FF9900"/>
              </a:buClr>
              <a:buSzPct val="110000"/>
              <a:buFontTx/>
              <a:buChar char="•"/>
            </a:pPr>
            <a:endParaRPr lang="en-US" altLang="en-US" sz="2000" dirty="0"/>
          </a:p>
          <a:p>
            <a:pPr algn="just" eaLnBrk="1" hangingPunct="1">
              <a:lnSpc>
                <a:spcPct val="90000"/>
              </a:lnSpc>
              <a:buClr>
                <a:srgbClr val="FF9900"/>
              </a:buClr>
              <a:buSzPct val="110000"/>
              <a:buFont typeface="Wingdings" panose="05000000000000000000" pitchFamily="2" charset="2"/>
              <a:buNone/>
            </a:pPr>
            <a:r>
              <a:rPr lang="en-US" altLang="en-US" sz="2000" b="1" dirty="0"/>
              <a:t>Other Leather Products such as</a:t>
            </a:r>
            <a:r>
              <a:rPr lang="en-US" altLang="en-US" sz="2000" dirty="0"/>
              <a:t> </a:t>
            </a:r>
          </a:p>
          <a:p>
            <a:pPr lvl="1" algn="just" eaLnBrk="1" hangingPunct="1">
              <a:lnSpc>
                <a:spcPct val="90000"/>
              </a:lnSpc>
              <a:buClr>
                <a:srgbClr val="FF9900"/>
              </a:buClr>
              <a:buSzPct val="110000"/>
              <a:buFontTx/>
              <a:buChar char="•"/>
            </a:pPr>
            <a:r>
              <a:rPr lang="en-US" altLang="en-US" sz="2000" dirty="0"/>
              <a:t> </a:t>
            </a:r>
            <a:r>
              <a:rPr lang="en-US" altLang="en-US" sz="2000" dirty="0">
                <a:solidFill>
                  <a:schemeClr val="accent2"/>
                </a:solidFill>
              </a:rPr>
              <a:t>Leather garments, </a:t>
            </a:r>
          </a:p>
          <a:p>
            <a:pPr lvl="1" algn="just" eaLnBrk="1" hangingPunct="1">
              <a:lnSpc>
                <a:spcPct val="90000"/>
              </a:lnSpc>
              <a:buClr>
                <a:srgbClr val="FF9900"/>
              </a:buClr>
              <a:buSzPct val="110000"/>
              <a:buFontTx/>
              <a:buChar char="•"/>
            </a:pPr>
            <a:r>
              <a:rPr lang="en-US" altLang="en-US" sz="2000" dirty="0">
                <a:solidFill>
                  <a:schemeClr val="accent2"/>
                </a:solidFill>
              </a:rPr>
              <a:t> Leather gloves, </a:t>
            </a:r>
          </a:p>
          <a:p>
            <a:pPr lvl="1" algn="just" eaLnBrk="1" hangingPunct="1">
              <a:lnSpc>
                <a:spcPct val="90000"/>
              </a:lnSpc>
              <a:buClr>
                <a:srgbClr val="FF9900"/>
              </a:buClr>
              <a:buSzPct val="110000"/>
              <a:buFontTx/>
              <a:buChar char="•"/>
            </a:pPr>
            <a:r>
              <a:rPr lang="en-US" altLang="en-US" sz="2000" dirty="0">
                <a:solidFill>
                  <a:schemeClr val="accent2"/>
                </a:solidFill>
              </a:rPr>
              <a:t> Leather saddlery goods, </a:t>
            </a:r>
          </a:p>
          <a:p>
            <a:pPr lvl="1" algn="just" eaLnBrk="1" hangingPunct="1">
              <a:lnSpc>
                <a:spcPct val="90000"/>
              </a:lnSpc>
              <a:buClr>
                <a:srgbClr val="FF9900"/>
              </a:buClr>
              <a:buSzPct val="110000"/>
              <a:buFontTx/>
              <a:buChar char="•"/>
            </a:pPr>
            <a:r>
              <a:rPr lang="en-US" altLang="en-US" sz="2000" dirty="0">
                <a:solidFill>
                  <a:schemeClr val="accent2"/>
                </a:solidFill>
              </a:rPr>
              <a:t> Leather travel </a:t>
            </a:r>
            <a:r>
              <a:rPr lang="en-US" altLang="en-US" sz="2000" dirty="0" smtClean="0">
                <a:solidFill>
                  <a:schemeClr val="accent2"/>
                </a:solidFill>
              </a:rPr>
              <a:t>bags </a:t>
            </a:r>
            <a:endParaRPr lang="en-US" altLang="en-US" sz="2000" dirty="0">
              <a:solidFill>
                <a:schemeClr val="accent2"/>
              </a:solidFill>
            </a:endParaRPr>
          </a:p>
          <a:p>
            <a:pPr lvl="1" algn="just" eaLnBrk="1" hangingPunct="1">
              <a:lnSpc>
                <a:spcPct val="90000"/>
              </a:lnSpc>
              <a:buClr>
                <a:srgbClr val="FF9900"/>
              </a:buClr>
              <a:buSzPct val="110000"/>
              <a:buFontTx/>
              <a:buChar char="•"/>
            </a:pPr>
            <a:r>
              <a:rPr lang="en-US" altLang="en-US" sz="2000" dirty="0">
                <a:solidFill>
                  <a:schemeClr val="accent2"/>
                </a:solidFill>
              </a:rPr>
              <a:t> Leather purses,</a:t>
            </a:r>
          </a:p>
          <a:p>
            <a:pPr lvl="1" algn="just" eaLnBrk="1" hangingPunct="1">
              <a:lnSpc>
                <a:spcPct val="90000"/>
              </a:lnSpc>
              <a:buClr>
                <a:srgbClr val="FF9900"/>
              </a:buClr>
              <a:buSzPct val="110000"/>
              <a:buFontTx/>
              <a:buChar char="•"/>
            </a:pPr>
            <a:r>
              <a:rPr lang="en-US" altLang="en-US" sz="2000" dirty="0">
                <a:solidFill>
                  <a:schemeClr val="accent2"/>
                </a:solidFill>
              </a:rPr>
              <a:t> Wallets, </a:t>
            </a:r>
          </a:p>
          <a:p>
            <a:pPr lvl="1" algn="just" eaLnBrk="1" hangingPunct="1">
              <a:lnSpc>
                <a:spcPct val="90000"/>
              </a:lnSpc>
              <a:buClr>
                <a:srgbClr val="FF9900"/>
              </a:buClr>
              <a:buSzPct val="110000"/>
              <a:buFontTx/>
              <a:buChar char="•"/>
            </a:pPr>
            <a:r>
              <a:rPr lang="en-US" altLang="en-US" sz="2000" dirty="0">
                <a:solidFill>
                  <a:schemeClr val="accent2"/>
                </a:solidFill>
              </a:rPr>
              <a:t> Briefcases </a:t>
            </a:r>
            <a:r>
              <a:rPr lang="en-US" altLang="en-US" sz="2000" dirty="0" smtClean="0">
                <a:solidFill>
                  <a:schemeClr val="accent2"/>
                </a:solidFill>
              </a:rPr>
              <a:t>etc. </a:t>
            </a:r>
            <a:endParaRPr lang="en-US" altLang="en-US" sz="2000" dirty="0">
              <a:solidFill>
                <a:schemeClr val="accent2"/>
              </a:solidFill>
            </a:endParaRPr>
          </a:p>
          <a:p>
            <a:pPr lvl="1" algn="just" eaLnBrk="1" hangingPunct="1">
              <a:lnSpc>
                <a:spcPct val="90000"/>
              </a:lnSpc>
              <a:buClr>
                <a:srgbClr val="FF9900"/>
              </a:buClr>
              <a:buSzPct val="110000"/>
              <a:buFontTx/>
              <a:buChar char="•"/>
            </a:pPr>
            <a:r>
              <a:rPr lang="en-US" altLang="en-US" sz="2000" dirty="0">
                <a:solidFill>
                  <a:schemeClr val="accent2"/>
                </a:solidFill>
              </a:rPr>
              <a:t> Industrial leather items</a:t>
            </a:r>
          </a:p>
          <a:p>
            <a:pPr lvl="1" algn="just" eaLnBrk="1" hangingPunct="1">
              <a:lnSpc>
                <a:spcPct val="90000"/>
              </a:lnSpc>
              <a:buClr>
                <a:srgbClr val="FF9900"/>
              </a:buClr>
              <a:buSzPct val="110000"/>
              <a:buFontTx/>
              <a:buChar char="•"/>
            </a:pPr>
            <a:endParaRPr lang="en-US" altLang="en-US" sz="2000" dirty="0">
              <a:solidFill>
                <a:schemeClr val="accent2"/>
              </a:solidFill>
            </a:endParaRPr>
          </a:p>
          <a:p>
            <a:pPr lvl="1" algn="just" eaLnBrk="1" hangingPunct="1">
              <a:lnSpc>
                <a:spcPct val="90000"/>
              </a:lnSpc>
              <a:buClr>
                <a:srgbClr val="FF9900"/>
              </a:buClr>
              <a:buSzPct val="110000"/>
              <a:buFont typeface="Wingdings" panose="05000000000000000000" pitchFamily="2" charset="2"/>
              <a:buChar char="q"/>
            </a:pPr>
            <a:endParaRPr lang="en-US" altLang="en-US" sz="2000" dirty="0">
              <a:solidFill>
                <a:schemeClr val="accent2"/>
              </a:solidFill>
            </a:endParaRPr>
          </a:p>
          <a:p>
            <a:pPr lvl="1" algn="just" eaLnBrk="1" hangingPunct="1">
              <a:lnSpc>
                <a:spcPct val="90000"/>
              </a:lnSpc>
              <a:buClr>
                <a:srgbClr val="FF9900"/>
              </a:buClr>
              <a:buSzPct val="110000"/>
              <a:buFont typeface="Wingdings" panose="05000000000000000000" pitchFamily="2" charset="2"/>
              <a:buChar char="q"/>
            </a:pPr>
            <a:endParaRPr lang="en-US" altLang="en-US" sz="2000" dirty="0"/>
          </a:p>
          <a:p>
            <a:pPr lvl="1" algn="just" eaLnBrk="1" hangingPunct="1">
              <a:lnSpc>
                <a:spcPct val="90000"/>
              </a:lnSpc>
              <a:buClr>
                <a:srgbClr val="FF9900"/>
              </a:buClr>
              <a:buSzPct val="110000"/>
              <a:buFont typeface="Wingdings" panose="05000000000000000000" pitchFamily="2" charset="2"/>
              <a:buChar char="q"/>
            </a:pPr>
            <a:endParaRPr lang="en-US" altLang="en-US" sz="2000" dirty="0"/>
          </a:p>
          <a:p>
            <a:pPr lvl="1" algn="just" eaLnBrk="1" hangingPunct="1">
              <a:lnSpc>
                <a:spcPct val="90000"/>
              </a:lnSpc>
              <a:buClr>
                <a:srgbClr val="FF9900"/>
              </a:buClr>
              <a:buSzPct val="110000"/>
              <a:buFont typeface="Wingdings" panose="05000000000000000000" pitchFamily="2" charset="2"/>
              <a:buChar char="q"/>
            </a:pPr>
            <a:endParaRPr lang="en-US" altLang="en-US" sz="2000" dirty="0"/>
          </a:p>
          <a:p>
            <a:pPr lvl="1" algn="just" eaLnBrk="1" hangingPunct="1">
              <a:lnSpc>
                <a:spcPct val="90000"/>
              </a:lnSpc>
              <a:buClr>
                <a:srgbClr val="FF9900"/>
              </a:buClr>
              <a:buSzPct val="110000"/>
              <a:buFont typeface="Wingdings" panose="05000000000000000000" pitchFamily="2" charset="2"/>
              <a:buNone/>
            </a:pPr>
            <a:endParaRPr lang="en-US" altLang="en-US" sz="1800" dirty="0">
              <a:latin typeface="Arial" panose="020B0604020202020204" pitchFamily="34" charset="0"/>
            </a:endParaRPr>
          </a:p>
        </p:txBody>
      </p:sp>
      <p:pic>
        <p:nvPicPr>
          <p:cNvPr id="2" name="Picture 1"/>
          <p:cNvPicPr>
            <a:picLocks noChangeAspect="1"/>
          </p:cNvPicPr>
          <p:nvPr/>
        </p:nvPicPr>
        <p:blipFill>
          <a:blip r:embed="rId2"/>
          <a:stretch>
            <a:fillRect/>
          </a:stretch>
        </p:blipFill>
        <p:spPr>
          <a:xfrm>
            <a:off x="4518754" y="3189241"/>
            <a:ext cx="1628775" cy="3171825"/>
          </a:xfrm>
          <a:prstGeom prst="rect">
            <a:avLst/>
          </a:prstGeom>
        </p:spPr>
      </p:pic>
      <p:pic>
        <p:nvPicPr>
          <p:cNvPr id="3" name="Picture 2"/>
          <p:cNvPicPr>
            <a:picLocks noChangeAspect="1"/>
          </p:cNvPicPr>
          <p:nvPr/>
        </p:nvPicPr>
        <p:blipFill>
          <a:blip r:embed="rId3"/>
          <a:stretch>
            <a:fillRect/>
          </a:stretch>
        </p:blipFill>
        <p:spPr>
          <a:xfrm>
            <a:off x="4704492" y="1751167"/>
            <a:ext cx="1257300" cy="1362075"/>
          </a:xfrm>
          <a:prstGeom prst="rect">
            <a:avLst/>
          </a:prstGeom>
        </p:spPr>
      </p:pic>
      <p:pic>
        <p:nvPicPr>
          <p:cNvPr id="4" name="Picture 3"/>
          <p:cNvPicPr>
            <a:picLocks noChangeAspect="1"/>
          </p:cNvPicPr>
          <p:nvPr/>
        </p:nvPicPr>
        <p:blipFill>
          <a:blip r:embed="rId4"/>
          <a:stretch>
            <a:fillRect/>
          </a:stretch>
        </p:blipFill>
        <p:spPr>
          <a:xfrm>
            <a:off x="10530191" y="131917"/>
            <a:ext cx="1552575" cy="1619250"/>
          </a:xfrm>
          <a:prstGeom prst="rect">
            <a:avLst/>
          </a:prstGeom>
        </p:spPr>
      </p:pic>
      <p:pic>
        <p:nvPicPr>
          <p:cNvPr id="5" name="Picture 4"/>
          <p:cNvPicPr>
            <a:picLocks noChangeAspect="1"/>
          </p:cNvPicPr>
          <p:nvPr/>
        </p:nvPicPr>
        <p:blipFill>
          <a:blip r:embed="rId5"/>
          <a:stretch>
            <a:fillRect/>
          </a:stretch>
        </p:blipFill>
        <p:spPr>
          <a:xfrm>
            <a:off x="10157168" y="2853714"/>
            <a:ext cx="1626828" cy="1304925"/>
          </a:xfrm>
          <a:prstGeom prst="rect">
            <a:avLst/>
          </a:prstGeom>
        </p:spPr>
      </p:pic>
      <p:pic>
        <p:nvPicPr>
          <p:cNvPr id="6" name="Picture 5"/>
          <p:cNvPicPr>
            <a:picLocks noChangeAspect="1"/>
          </p:cNvPicPr>
          <p:nvPr/>
        </p:nvPicPr>
        <p:blipFill>
          <a:blip r:embed="rId6"/>
          <a:stretch>
            <a:fillRect/>
          </a:stretch>
        </p:blipFill>
        <p:spPr>
          <a:xfrm>
            <a:off x="6671287" y="2133614"/>
            <a:ext cx="3201900" cy="2575773"/>
          </a:xfrm>
          <a:prstGeom prst="rect">
            <a:avLst/>
          </a:prstGeom>
        </p:spPr>
      </p:pic>
      <p:sp>
        <p:nvSpPr>
          <p:cNvPr id="9" name="Title 1"/>
          <p:cNvSpPr>
            <a:spLocks noGrp="1"/>
          </p:cNvSpPr>
          <p:nvPr>
            <p:ph type="title"/>
          </p:nvPr>
        </p:nvSpPr>
        <p:spPr>
          <a:xfrm>
            <a:off x="478800" y="216620"/>
            <a:ext cx="11088688" cy="432000"/>
          </a:xfrm>
        </p:spPr>
        <p:txBody>
          <a:bodyPr/>
          <a:lstStyle/>
          <a:p>
            <a:r>
              <a:rPr lang="en-US" dirty="0" smtClean="0"/>
              <a:t>Footwear Services</a:t>
            </a:r>
            <a:endParaRPr lang="en-GB" dirty="0"/>
          </a:p>
        </p:txBody>
      </p:sp>
    </p:spTree>
    <p:extLst>
      <p:ext uri="{BB962C8B-B14F-4D97-AF65-F5344CB8AC3E}">
        <p14:creationId xmlns:p14="http://schemas.microsoft.com/office/powerpoint/2010/main" val="23123316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grpId="0" nodeType="withEffect">
                                  <p:stCondLst>
                                    <p:cond delay="0"/>
                                  </p:stCondLst>
                                  <p:childTnLst>
                                    <p:set>
                                      <p:cBhvr>
                                        <p:cTn id="6" dur="1" fill="hold">
                                          <p:stCondLst>
                                            <p:cond delay="0"/>
                                          </p:stCondLst>
                                        </p:cTn>
                                        <p:tgtEl>
                                          <p:spTgt spid="516098"/>
                                        </p:tgtEl>
                                        <p:attrNameLst>
                                          <p:attrName>style.visibility</p:attrName>
                                        </p:attrNameLst>
                                      </p:cBhvr>
                                      <p:to>
                                        <p:strVal val="visible"/>
                                      </p:to>
                                    </p:set>
                                    <p:animEffect transition="in" filter="checkerboard(across)">
                                      <p:cBhvr>
                                        <p:cTn id="7" dur="500"/>
                                        <p:tgtEl>
                                          <p:spTgt spid="516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6098"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Value Added Services</a:t>
            </a:r>
            <a:endParaRPr lang="en-GB" dirty="0"/>
          </a:p>
        </p:txBody>
      </p:sp>
      <p:sp>
        <p:nvSpPr>
          <p:cNvPr id="3" name="Content Placeholder 2"/>
          <p:cNvSpPr>
            <a:spLocks noGrp="1"/>
          </p:cNvSpPr>
          <p:nvPr>
            <p:ph idx="1"/>
          </p:nvPr>
        </p:nvSpPr>
        <p:spPr>
          <a:xfrm>
            <a:off x="550486" y="1053464"/>
            <a:ext cx="11088687" cy="4247734"/>
          </a:xfrm>
        </p:spPr>
        <p:txBody>
          <a:bodyPr/>
          <a:lstStyle/>
          <a:p>
            <a:r>
              <a:rPr lang="de-DE" sz="1600" b="1" dirty="0"/>
              <a:t>Single Point of Contact- </a:t>
            </a:r>
          </a:p>
          <a:p>
            <a:r>
              <a:rPr lang="de-DE" sz="1600" b="1" dirty="0"/>
              <a:t>- </a:t>
            </a:r>
            <a:r>
              <a:rPr lang="de-DE" sz="1600" dirty="0"/>
              <a:t>Mr. Dhananjay Pandey ,Key Account Executive / </a:t>
            </a:r>
            <a:r>
              <a:rPr lang="de-DE" sz="1600" dirty="0">
                <a:hlinkClick r:id="rId2"/>
              </a:rPr>
              <a:t>dhananjay.pandey@ind.tuv.com</a:t>
            </a:r>
            <a:r>
              <a:rPr lang="de-DE" sz="1600" dirty="0"/>
              <a:t> /9599849292</a:t>
            </a:r>
          </a:p>
          <a:p>
            <a:r>
              <a:rPr lang="de-DE" sz="1600" u="sng" dirty="0"/>
              <a:t>For any service issues, please escalate to Manager-Customer Service (Mr. Manjeet Yadav @ +919899794272)</a:t>
            </a:r>
            <a:r>
              <a:rPr lang="de-DE" sz="1600" b="1" u="sng" dirty="0"/>
              <a:t> </a:t>
            </a:r>
          </a:p>
          <a:p>
            <a:endParaRPr lang="de-DE" sz="1600" b="1" u="sng" dirty="0"/>
          </a:p>
          <a:p>
            <a:pPr marL="285750" indent="-285750">
              <a:buFontTx/>
              <a:buChar char="-"/>
            </a:pPr>
            <a:r>
              <a:rPr lang="de-DE" sz="1600" dirty="0"/>
              <a:t>TAT – 3 working days</a:t>
            </a:r>
          </a:p>
          <a:p>
            <a:r>
              <a:rPr lang="de-DE" sz="1600" dirty="0"/>
              <a:t>i-   Pickup Facility</a:t>
            </a:r>
          </a:p>
          <a:p>
            <a:pPr marL="465750" lvl="1" indent="-285750">
              <a:buFont typeface="Arial" panose="020B0604020202020204" pitchFamily="34" charset="0"/>
              <a:buChar char="•"/>
            </a:pPr>
            <a:r>
              <a:rPr lang="de-DE" sz="1600" dirty="0"/>
              <a:t>Mumbai</a:t>
            </a:r>
          </a:p>
          <a:p>
            <a:pPr marL="465750" lvl="1" indent="-285750">
              <a:buFont typeface="Arial" panose="020B0604020202020204" pitchFamily="34" charset="0"/>
              <a:buChar char="•"/>
            </a:pPr>
            <a:r>
              <a:rPr lang="de-DE" sz="1600" dirty="0"/>
              <a:t>NCR</a:t>
            </a:r>
          </a:p>
          <a:p>
            <a:pPr marL="465750" lvl="1" indent="-285750">
              <a:buFont typeface="Arial" panose="020B0604020202020204" pitchFamily="34" charset="0"/>
              <a:buChar char="•"/>
            </a:pPr>
            <a:r>
              <a:rPr lang="de-DE" sz="1600" dirty="0"/>
              <a:t>Agra</a:t>
            </a:r>
          </a:p>
          <a:p>
            <a:pPr marL="465750" lvl="1" indent="-285750">
              <a:buFont typeface="Arial" panose="020B0604020202020204" pitchFamily="34" charset="0"/>
              <a:buChar char="•"/>
            </a:pPr>
            <a:r>
              <a:rPr lang="de-DE" sz="1600" dirty="0"/>
              <a:t>Kanpur</a:t>
            </a:r>
          </a:p>
          <a:p>
            <a:pPr marL="465750" lvl="1" indent="-285750">
              <a:buFont typeface="Arial" panose="020B0604020202020204" pitchFamily="34" charset="0"/>
              <a:buChar char="•"/>
            </a:pPr>
            <a:r>
              <a:rPr lang="de-DE" sz="1600" dirty="0"/>
              <a:t>Bangalore</a:t>
            </a:r>
          </a:p>
          <a:p>
            <a:pPr marL="465750" lvl="1" indent="-285750">
              <a:buFont typeface="Arial" panose="020B0604020202020204" pitchFamily="34" charset="0"/>
              <a:buChar char="•"/>
            </a:pPr>
            <a:r>
              <a:rPr lang="de-DE" sz="1600" dirty="0"/>
              <a:t>Ludhiana,etc</a:t>
            </a:r>
          </a:p>
          <a:p>
            <a:endParaRPr lang="de-DE" sz="1600" dirty="0"/>
          </a:p>
          <a:p>
            <a:pPr marL="285750" indent="-285750">
              <a:buFontTx/>
              <a:buChar char="-"/>
            </a:pPr>
            <a:r>
              <a:rPr lang="de-DE" sz="1600" dirty="0"/>
              <a:t>Supplier‘s Event- Lab Training, Season beginning</a:t>
            </a:r>
          </a:p>
          <a:p>
            <a:pPr marL="285750" indent="-285750">
              <a:buFontTx/>
              <a:buChar char="-"/>
            </a:pPr>
            <a:r>
              <a:rPr lang="de-DE" sz="1600" dirty="0"/>
              <a:t>Technical Assistance- Failure Analysis (Repeated failure), Added tests </a:t>
            </a:r>
          </a:p>
          <a:p>
            <a:r>
              <a:rPr lang="de-DE" sz="1600" dirty="0"/>
              <a:t>   </a:t>
            </a:r>
            <a:r>
              <a:rPr lang="de-DE" sz="2200" dirty="0"/>
              <a:t>*</a:t>
            </a:r>
            <a:r>
              <a:rPr lang="de-DE" sz="1800" b="1" u="sng" dirty="0">
                <a:solidFill>
                  <a:srgbClr val="FFC000"/>
                </a:solidFill>
              </a:rPr>
              <a:t>Special Discount for all CLE Members</a:t>
            </a:r>
          </a:p>
          <a:p>
            <a:endParaRPr lang="en-GB" dirty="0"/>
          </a:p>
        </p:txBody>
      </p:sp>
    </p:spTree>
    <p:extLst>
      <p:ext uri="{BB962C8B-B14F-4D97-AF65-F5344CB8AC3E}">
        <p14:creationId xmlns:p14="http://schemas.microsoft.com/office/powerpoint/2010/main" val="2867451827"/>
      </p:ext>
    </p:extLst>
  </p:cSld>
  <p:clrMapOvr>
    <a:masterClrMapping/>
  </p:clrMapOvr>
  <p:transition spd="slow"/>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23959" y="261354"/>
            <a:ext cx="6624000" cy="1222829"/>
          </a:xfrm>
        </p:spPr>
        <p:txBody>
          <a:bodyPr/>
          <a:lstStyle/>
          <a:p>
            <a:r>
              <a:rPr lang="en-US" sz="2400" dirty="0" smtClean="0"/>
              <a:t>Time for Questions and Answers</a:t>
            </a:r>
            <a:br>
              <a:rPr lang="en-US" sz="2400" dirty="0" smtClean="0"/>
            </a:br>
            <a:endParaRPr lang="en-US" sz="2400" dirty="0"/>
          </a:p>
        </p:txBody>
      </p:sp>
      <p:sp>
        <p:nvSpPr>
          <p:cNvPr id="2" name="TextBox 1"/>
          <p:cNvSpPr txBox="1"/>
          <p:nvPr/>
        </p:nvSpPr>
        <p:spPr>
          <a:xfrm>
            <a:off x="262396" y="2853714"/>
            <a:ext cx="5760800" cy="2288896"/>
          </a:xfrm>
          <a:prstGeom prst="rect">
            <a:avLst/>
          </a:prstGeom>
          <a:noFill/>
        </p:spPr>
        <p:txBody>
          <a:bodyPr wrap="square" lIns="0" rtlCol="0">
            <a:spAutoFit/>
          </a:bodyPr>
          <a:lstStyle/>
          <a:p>
            <a:pPr>
              <a:lnSpc>
                <a:spcPts val="2200"/>
              </a:lnSpc>
              <a:buClr>
                <a:schemeClr val="tx2"/>
              </a:buClr>
            </a:pPr>
            <a:r>
              <a:rPr lang="en-US" sz="1800" b="1" u="sng" dirty="0" smtClean="0">
                <a:solidFill>
                  <a:schemeClr val="tx2"/>
                </a:solidFill>
              </a:rPr>
              <a:t>Contact Details :</a:t>
            </a:r>
          </a:p>
          <a:p>
            <a:r>
              <a:rPr lang="en-US" sz="1800" dirty="0">
                <a:solidFill>
                  <a:schemeClr val="tx2"/>
                </a:solidFill>
              </a:rPr>
              <a:t>Siddhartha Srivastava</a:t>
            </a:r>
            <a:endParaRPr lang="en-GB" sz="1800" dirty="0">
              <a:solidFill>
                <a:schemeClr val="tx2"/>
              </a:solidFill>
            </a:endParaRPr>
          </a:p>
          <a:p>
            <a:r>
              <a:rPr lang="en-US" sz="1800" dirty="0">
                <a:solidFill>
                  <a:schemeClr val="tx2"/>
                </a:solidFill>
              </a:rPr>
              <a:t>Sr. Manager- Business Development, </a:t>
            </a:r>
            <a:endParaRPr lang="en-GB" sz="1800" dirty="0">
              <a:solidFill>
                <a:schemeClr val="tx2"/>
              </a:solidFill>
            </a:endParaRPr>
          </a:p>
          <a:p>
            <a:r>
              <a:rPr lang="en-US" sz="1800" dirty="0">
                <a:solidFill>
                  <a:schemeClr val="tx2"/>
                </a:solidFill>
              </a:rPr>
              <a:t>Footwear &amp; Leather Products , </a:t>
            </a:r>
            <a:r>
              <a:rPr lang="en-US" sz="1800" dirty="0" smtClean="0">
                <a:solidFill>
                  <a:schemeClr val="tx2"/>
                </a:solidFill>
              </a:rPr>
              <a:t>Soft lines</a:t>
            </a:r>
            <a:endParaRPr lang="en-GB" sz="1800" dirty="0">
              <a:solidFill>
                <a:schemeClr val="tx2"/>
              </a:solidFill>
            </a:endParaRPr>
          </a:p>
          <a:p>
            <a:r>
              <a:rPr lang="en-US" sz="1800" dirty="0">
                <a:solidFill>
                  <a:schemeClr val="tx2"/>
                </a:solidFill>
              </a:rPr>
              <a:t> </a:t>
            </a:r>
            <a:endParaRPr lang="en-GB" sz="1800" dirty="0">
              <a:solidFill>
                <a:schemeClr val="tx2"/>
              </a:solidFill>
            </a:endParaRPr>
          </a:p>
          <a:p>
            <a:r>
              <a:rPr lang="en-US" sz="1800" dirty="0" smtClean="0">
                <a:solidFill>
                  <a:schemeClr val="tx2"/>
                </a:solidFill>
              </a:rPr>
              <a:t>Mob</a:t>
            </a:r>
            <a:r>
              <a:rPr lang="en-US" sz="1800" dirty="0">
                <a:solidFill>
                  <a:schemeClr val="tx2"/>
                </a:solidFill>
              </a:rPr>
              <a:t>: 9599404006 </a:t>
            </a:r>
            <a:endParaRPr lang="en-GB" sz="1800" dirty="0">
              <a:solidFill>
                <a:schemeClr val="tx2"/>
              </a:solidFill>
            </a:endParaRPr>
          </a:p>
          <a:p>
            <a:r>
              <a:rPr lang="en-US" sz="1800" dirty="0">
                <a:solidFill>
                  <a:schemeClr val="tx2"/>
                </a:solidFill>
              </a:rPr>
              <a:t>Email: </a:t>
            </a:r>
            <a:r>
              <a:rPr lang="en-US" sz="1800" u="sng" dirty="0">
                <a:solidFill>
                  <a:schemeClr val="tx2"/>
                </a:solidFill>
                <a:hlinkClick r:id="rId3"/>
              </a:rPr>
              <a:t>siddhartha.srivastava@ind.tuv.com</a:t>
            </a:r>
            <a:endParaRPr lang="en-GB" sz="1800" dirty="0">
              <a:solidFill>
                <a:schemeClr val="tx2"/>
              </a:solidFill>
            </a:endParaRPr>
          </a:p>
          <a:p>
            <a:pPr>
              <a:lnSpc>
                <a:spcPts val="2200"/>
              </a:lnSpc>
              <a:buClr>
                <a:schemeClr val="tx2"/>
              </a:buClr>
            </a:pPr>
            <a:endParaRPr lang="en-GB" sz="1400" dirty="0" smtClean="0">
              <a:solidFill>
                <a:schemeClr val="tx2"/>
              </a:solidFill>
            </a:endParaRPr>
          </a:p>
        </p:txBody>
      </p:sp>
    </p:spTree>
    <p:extLst>
      <p:ext uri="{BB962C8B-B14F-4D97-AF65-F5344CB8AC3E}">
        <p14:creationId xmlns:p14="http://schemas.microsoft.com/office/powerpoint/2010/main" val="12430920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Title 7"/>
          <p:cNvSpPr>
            <a:spLocks noGrp="1"/>
          </p:cNvSpPr>
          <p:nvPr>
            <p:ph type="title"/>
          </p:nvPr>
        </p:nvSpPr>
        <p:spPr>
          <a:xfrm>
            <a:off x="2062023" y="1"/>
            <a:ext cx="7907580" cy="893970"/>
          </a:xfrm>
        </p:spPr>
        <p:txBody>
          <a:bodyPr/>
          <a:lstStyle/>
          <a:p>
            <a:r>
              <a:rPr lang="de-DE" altLang="en-US" dirty="0" smtClean="0"/>
              <a:t>Softlines Laboratories Network</a:t>
            </a:r>
          </a:p>
        </p:txBody>
      </p:sp>
      <p:sp>
        <p:nvSpPr>
          <p:cNvPr id="77828" name="Rectangle 2"/>
          <p:cNvSpPr>
            <a:spLocks noChangeArrowheads="1"/>
          </p:cNvSpPr>
          <p:nvPr/>
        </p:nvSpPr>
        <p:spPr bwMode="auto">
          <a:xfrm>
            <a:off x="2349427" y="1341749"/>
            <a:ext cx="6410221" cy="51145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09" tIns="44460" rIns="90509" bIns="44460"/>
          <a:lstStyle>
            <a:lvl1pPr defTabSz="762000">
              <a:defRPr sz="1600">
                <a:solidFill>
                  <a:schemeClr val="tx1"/>
                </a:solidFill>
                <a:latin typeface="Arial" panose="020B0604020202020204" pitchFamily="34" charset="0"/>
              </a:defRPr>
            </a:lvl1pPr>
            <a:lvl2pPr marL="742950" indent="-285750" defTabSz="762000">
              <a:defRPr sz="1600">
                <a:solidFill>
                  <a:schemeClr val="tx1"/>
                </a:solidFill>
                <a:latin typeface="Arial" panose="020B0604020202020204" pitchFamily="34" charset="0"/>
              </a:defRPr>
            </a:lvl2pPr>
            <a:lvl3pPr marL="1143000" indent="-228600" defTabSz="762000">
              <a:defRPr sz="1600">
                <a:solidFill>
                  <a:schemeClr val="tx1"/>
                </a:solidFill>
                <a:latin typeface="Arial" panose="020B0604020202020204" pitchFamily="34" charset="0"/>
              </a:defRPr>
            </a:lvl3pPr>
            <a:lvl4pPr marL="1600200" indent="-228600" defTabSz="762000">
              <a:defRPr sz="1600">
                <a:solidFill>
                  <a:schemeClr val="tx1"/>
                </a:solidFill>
                <a:latin typeface="Arial" panose="020B0604020202020204" pitchFamily="34" charset="0"/>
              </a:defRPr>
            </a:lvl4pPr>
            <a:lvl5pPr marL="2057400" indent="-228600" defTabSz="762000">
              <a:defRPr sz="1600">
                <a:solidFill>
                  <a:schemeClr val="tx1"/>
                </a:solidFill>
                <a:latin typeface="Arial" panose="020B0604020202020204" pitchFamily="34" charset="0"/>
              </a:defRPr>
            </a:lvl5pPr>
            <a:lvl6pPr marL="2514600" indent="-228600" defTabSz="762000" eaLnBrk="0" fontAlgn="base" hangingPunct="0">
              <a:spcBef>
                <a:spcPct val="0"/>
              </a:spcBef>
              <a:spcAft>
                <a:spcPct val="0"/>
              </a:spcAft>
              <a:defRPr sz="1600">
                <a:solidFill>
                  <a:schemeClr val="tx1"/>
                </a:solidFill>
                <a:latin typeface="Arial" panose="020B0604020202020204" pitchFamily="34" charset="0"/>
              </a:defRPr>
            </a:lvl6pPr>
            <a:lvl7pPr marL="2971800" indent="-228600" defTabSz="762000" eaLnBrk="0" fontAlgn="base" hangingPunct="0">
              <a:spcBef>
                <a:spcPct val="0"/>
              </a:spcBef>
              <a:spcAft>
                <a:spcPct val="0"/>
              </a:spcAft>
              <a:defRPr sz="1600">
                <a:solidFill>
                  <a:schemeClr val="tx1"/>
                </a:solidFill>
                <a:latin typeface="Arial" panose="020B0604020202020204" pitchFamily="34" charset="0"/>
              </a:defRPr>
            </a:lvl7pPr>
            <a:lvl8pPr marL="3429000" indent="-228600" defTabSz="762000" eaLnBrk="0" fontAlgn="base" hangingPunct="0">
              <a:spcBef>
                <a:spcPct val="0"/>
              </a:spcBef>
              <a:spcAft>
                <a:spcPct val="0"/>
              </a:spcAft>
              <a:defRPr sz="1600">
                <a:solidFill>
                  <a:schemeClr val="tx1"/>
                </a:solidFill>
                <a:latin typeface="Arial" panose="020B0604020202020204" pitchFamily="34" charset="0"/>
              </a:defRPr>
            </a:lvl8pPr>
            <a:lvl9pPr marL="3886200" indent="-228600" defTabSz="762000" eaLnBrk="0" fontAlgn="base" hangingPunct="0">
              <a:spcBef>
                <a:spcPct val="0"/>
              </a:spcBef>
              <a:spcAft>
                <a:spcPct val="0"/>
              </a:spcAft>
              <a:defRPr sz="1600">
                <a:solidFill>
                  <a:schemeClr val="tx1"/>
                </a:solidFill>
                <a:latin typeface="Arial" panose="020B0604020202020204" pitchFamily="34" charset="0"/>
              </a:defRPr>
            </a:lvl9pPr>
          </a:lstStyle>
          <a:p>
            <a:pPr>
              <a:lnSpc>
                <a:spcPct val="90000"/>
              </a:lnSpc>
              <a:spcBef>
                <a:spcPct val="20000"/>
              </a:spcBef>
              <a:spcAft>
                <a:spcPct val="20000"/>
              </a:spcAft>
              <a:buFont typeface="Arial" panose="020B0604020202020204" pitchFamily="34" charset="0"/>
              <a:buChar char="•"/>
            </a:pPr>
            <a:r>
              <a:rPr lang="en-GB" altLang="en-US"/>
              <a:t>  Shanghai</a:t>
            </a:r>
          </a:p>
          <a:p>
            <a:pPr>
              <a:lnSpc>
                <a:spcPct val="90000"/>
              </a:lnSpc>
              <a:spcBef>
                <a:spcPct val="20000"/>
              </a:spcBef>
              <a:spcAft>
                <a:spcPct val="20000"/>
              </a:spcAft>
              <a:buFont typeface="Arial" panose="020B0604020202020204" pitchFamily="34" charset="0"/>
              <a:buChar char="•"/>
            </a:pPr>
            <a:r>
              <a:rPr lang="en-GB" altLang="en-US"/>
              <a:t>  Shenzhen</a:t>
            </a:r>
          </a:p>
          <a:p>
            <a:pPr>
              <a:lnSpc>
                <a:spcPct val="90000"/>
              </a:lnSpc>
              <a:spcBef>
                <a:spcPct val="20000"/>
              </a:spcBef>
              <a:spcAft>
                <a:spcPct val="20000"/>
              </a:spcAft>
              <a:buFont typeface="Arial" panose="020B0604020202020204" pitchFamily="34" charset="0"/>
              <a:buChar char="•"/>
            </a:pPr>
            <a:r>
              <a:rPr lang="en-GB" altLang="en-US"/>
              <a:t>  Ningbo</a:t>
            </a:r>
          </a:p>
          <a:p>
            <a:pPr>
              <a:lnSpc>
                <a:spcPct val="90000"/>
              </a:lnSpc>
              <a:spcBef>
                <a:spcPct val="20000"/>
              </a:spcBef>
              <a:spcAft>
                <a:spcPct val="20000"/>
              </a:spcAft>
              <a:buFont typeface="Arial" panose="020B0604020202020204" pitchFamily="34" charset="0"/>
              <a:buChar char="•"/>
            </a:pPr>
            <a:r>
              <a:rPr lang="en-GB" altLang="en-US"/>
              <a:t>  Hong kong</a:t>
            </a:r>
          </a:p>
          <a:p>
            <a:pPr>
              <a:lnSpc>
                <a:spcPct val="90000"/>
              </a:lnSpc>
              <a:spcBef>
                <a:spcPct val="20000"/>
              </a:spcBef>
              <a:spcAft>
                <a:spcPct val="20000"/>
              </a:spcAft>
              <a:buFont typeface="Arial" panose="020B0604020202020204" pitchFamily="34" charset="0"/>
              <a:buChar char="•"/>
            </a:pPr>
            <a:r>
              <a:rPr lang="en-GB" altLang="en-US"/>
              <a:t>  Thailand</a:t>
            </a:r>
          </a:p>
          <a:p>
            <a:pPr>
              <a:lnSpc>
                <a:spcPct val="90000"/>
              </a:lnSpc>
              <a:spcBef>
                <a:spcPct val="20000"/>
              </a:spcBef>
              <a:spcAft>
                <a:spcPct val="20000"/>
              </a:spcAft>
              <a:buFont typeface="Arial" panose="020B0604020202020204" pitchFamily="34" charset="0"/>
              <a:buChar char="•"/>
            </a:pPr>
            <a:r>
              <a:rPr lang="en-GB" altLang="en-US"/>
              <a:t>   Vietnam</a:t>
            </a:r>
          </a:p>
          <a:p>
            <a:pPr>
              <a:lnSpc>
                <a:spcPct val="90000"/>
              </a:lnSpc>
              <a:spcBef>
                <a:spcPct val="20000"/>
              </a:spcBef>
              <a:spcAft>
                <a:spcPct val="20000"/>
              </a:spcAft>
              <a:buFont typeface="Arial" panose="020B0604020202020204" pitchFamily="34" charset="0"/>
              <a:buChar char="•"/>
            </a:pPr>
            <a:r>
              <a:rPr lang="en-GB" altLang="en-US"/>
              <a:t>   Turkey</a:t>
            </a:r>
          </a:p>
          <a:p>
            <a:pPr>
              <a:lnSpc>
                <a:spcPct val="90000"/>
              </a:lnSpc>
              <a:spcBef>
                <a:spcPct val="20000"/>
              </a:spcBef>
              <a:spcAft>
                <a:spcPct val="20000"/>
              </a:spcAft>
              <a:buFont typeface="Arial" panose="020B0604020202020204" pitchFamily="34" charset="0"/>
              <a:buChar char="•"/>
            </a:pPr>
            <a:r>
              <a:rPr lang="en-GB" altLang="en-US"/>
              <a:t>   Bangladesh</a:t>
            </a:r>
          </a:p>
          <a:p>
            <a:pPr>
              <a:lnSpc>
                <a:spcPct val="90000"/>
              </a:lnSpc>
              <a:spcBef>
                <a:spcPct val="20000"/>
              </a:spcBef>
              <a:spcAft>
                <a:spcPct val="20000"/>
              </a:spcAft>
              <a:buFont typeface="Arial" panose="020B0604020202020204" pitchFamily="34" charset="0"/>
              <a:buChar char="•"/>
            </a:pPr>
            <a:r>
              <a:rPr lang="en-GB" altLang="en-US"/>
              <a:t>   India x3</a:t>
            </a:r>
          </a:p>
          <a:p>
            <a:pPr>
              <a:lnSpc>
                <a:spcPct val="90000"/>
              </a:lnSpc>
              <a:spcBef>
                <a:spcPct val="20000"/>
              </a:spcBef>
              <a:spcAft>
                <a:spcPct val="20000"/>
              </a:spcAft>
              <a:buFont typeface="Arial" panose="020B0604020202020204" pitchFamily="34" charset="0"/>
              <a:buChar char="•"/>
            </a:pPr>
            <a:r>
              <a:rPr lang="en-GB" altLang="en-US"/>
              <a:t>   US  </a:t>
            </a:r>
          </a:p>
          <a:p>
            <a:pPr>
              <a:lnSpc>
                <a:spcPct val="90000"/>
              </a:lnSpc>
              <a:spcBef>
                <a:spcPct val="20000"/>
              </a:spcBef>
              <a:spcAft>
                <a:spcPct val="20000"/>
              </a:spcAft>
              <a:buFont typeface="Arial" panose="020B0604020202020204" pitchFamily="34" charset="0"/>
              <a:buChar char="•"/>
            </a:pPr>
            <a:r>
              <a:rPr lang="en-GB" altLang="en-US"/>
              <a:t>   Germany x 2</a:t>
            </a:r>
            <a:br>
              <a:rPr lang="en-GB" altLang="en-US"/>
            </a:br>
            <a:endParaRPr lang="en-GB" altLang="en-US"/>
          </a:p>
          <a:p>
            <a:pPr>
              <a:lnSpc>
                <a:spcPct val="90000"/>
              </a:lnSpc>
              <a:spcBef>
                <a:spcPct val="20000"/>
              </a:spcBef>
              <a:spcAft>
                <a:spcPct val="20000"/>
              </a:spcAft>
            </a:pPr>
            <a:endParaRPr lang="en-GB" altLang="en-US"/>
          </a:p>
          <a:p>
            <a:pPr>
              <a:lnSpc>
                <a:spcPct val="90000"/>
              </a:lnSpc>
              <a:spcBef>
                <a:spcPct val="20000"/>
              </a:spcBef>
              <a:spcAft>
                <a:spcPct val="20000"/>
              </a:spcAft>
            </a:pPr>
            <a:endParaRPr lang="en-GB" altLang="en-US"/>
          </a:p>
        </p:txBody>
      </p:sp>
      <p:pic>
        <p:nvPicPr>
          <p:cNvPr id="77829"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43697" y="1125799"/>
            <a:ext cx="1748243" cy="117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0"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59576" y="2592988"/>
            <a:ext cx="1740303" cy="1124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1"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4199" y="1146441"/>
            <a:ext cx="1656146" cy="117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2"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47678" y="2421499"/>
            <a:ext cx="1729187" cy="1076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3" name="Picture 1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84199" y="3498073"/>
            <a:ext cx="1656146" cy="1233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4"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51637" y="3998251"/>
            <a:ext cx="1740303" cy="115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5" name="Picture 1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84199" y="4762016"/>
            <a:ext cx="1656146" cy="115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6" name="Picture 18"/>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23111" y="1146441"/>
            <a:ext cx="1772060" cy="1192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7" name="Picture 19"/>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99292" y="2607278"/>
            <a:ext cx="1772060" cy="1125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38" name="Picture 2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23111" y="3998251"/>
            <a:ext cx="1748242" cy="115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3576465079"/>
      </p:ext>
    </p:extLst>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201"/>
        <p:cNvGrpSpPr/>
        <p:nvPr/>
      </p:nvGrpSpPr>
      <p:grpSpPr>
        <a:xfrm>
          <a:off x="0" y="0"/>
          <a:ext cx="0" cy="0"/>
          <a:chOff x="0" y="0"/>
          <a:chExt cx="0" cy="0"/>
        </a:xfrm>
      </p:grpSpPr>
      <p:pic>
        <p:nvPicPr>
          <p:cNvPr id="2202" name="Google Shape;2202;p194"/>
          <p:cNvPicPr preferRelativeResize="0">
            <a:picLocks noGrp="1"/>
          </p:cNvPicPr>
          <p:nvPr>
            <p:ph type="pic" idx="2"/>
          </p:nvPr>
        </p:nvPicPr>
        <p:blipFill rotWithShape="1">
          <a:blip r:embed="rId3">
            <a:alphaModFix/>
          </a:blip>
          <a:srcRect l="2326" r="2317"/>
          <a:stretch/>
        </p:blipFill>
        <p:spPr>
          <a:xfrm>
            <a:off x="-1" y="1241"/>
            <a:ext cx="12190413" cy="6857107"/>
          </a:xfrm>
          <a:prstGeom prst="rect">
            <a:avLst/>
          </a:prstGeom>
          <a:noFill/>
          <a:ln>
            <a:noFill/>
          </a:ln>
        </p:spPr>
      </p:pic>
      <p:sp>
        <p:nvSpPr>
          <p:cNvPr id="2203" name="Google Shape;2203;p194"/>
          <p:cNvSpPr txBox="1"/>
          <p:nvPr/>
        </p:nvSpPr>
        <p:spPr>
          <a:xfrm>
            <a:off x="1388640" y="3899470"/>
            <a:ext cx="4963454" cy="830892"/>
          </a:xfrm>
          <a:prstGeom prst="rect">
            <a:avLst/>
          </a:prstGeom>
          <a:noFill/>
          <a:ln>
            <a:noFill/>
          </a:ln>
        </p:spPr>
        <p:txBody>
          <a:bodyPr spcFirstLastPara="1" wrap="square" lIns="91413" tIns="45694" rIns="91413" bIns="45694" anchor="t" anchorCtr="0">
            <a:noAutofit/>
          </a:bodyPr>
          <a:lstStyle/>
          <a:p>
            <a:pPr algn="ctr">
              <a:buClr>
                <a:srgbClr val="555555"/>
              </a:buClr>
              <a:buSzPts val="4800"/>
            </a:pPr>
            <a:r>
              <a:rPr lang="en-US" sz="4800" b="1" dirty="0">
                <a:solidFill>
                  <a:srgbClr val="555555"/>
                </a:solidFill>
                <a:latin typeface="Arial"/>
                <a:ea typeface="Arial"/>
                <a:cs typeface="Arial"/>
                <a:sym typeface="Arial"/>
              </a:rPr>
              <a:t>Thank you!</a:t>
            </a:r>
            <a:endParaRPr sz="3200" b="1" dirty="0">
              <a:solidFill>
                <a:srgbClr val="555555"/>
              </a:solidFill>
              <a:latin typeface="Arial"/>
              <a:ea typeface="Arial"/>
              <a:cs typeface="Arial"/>
              <a:sym typeface="Arial"/>
            </a:endParaRPr>
          </a:p>
        </p:txBody>
      </p:sp>
    </p:spTree>
    <p:extLst>
      <p:ext uri="{BB962C8B-B14F-4D97-AF65-F5344CB8AC3E}">
        <p14:creationId xmlns:p14="http://schemas.microsoft.com/office/powerpoint/2010/main" val="28220273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61"/>
          <p:cNvSpPr>
            <a:spLocks noChangeArrowheads="1"/>
          </p:cNvSpPr>
          <p:nvPr/>
        </p:nvSpPr>
        <p:spPr bwMode="auto">
          <a:xfrm>
            <a:off x="6377847" y="4177680"/>
            <a:ext cx="3502836" cy="862212"/>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75" name="Rectangle 60"/>
          <p:cNvSpPr>
            <a:spLocks noChangeArrowheads="1"/>
          </p:cNvSpPr>
          <p:nvPr/>
        </p:nvSpPr>
        <p:spPr bwMode="auto">
          <a:xfrm>
            <a:off x="6377847" y="3093166"/>
            <a:ext cx="3502836" cy="935254"/>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76" name="Rectangle 59"/>
          <p:cNvSpPr>
            <a:spLocks noChangeArrowheads="1"/>
          </p:cNvSpPr>
          <p:nvPr/>
        </p:nvSpPr>
        <p:spPr bwMode="auto">
          <a:xfrm>
            <a:off x="6377847" y="2003890"/>
            <a:ext cx="3502836" cy="905084"/>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77" name="Rectangle 58"/>
          <p:cNvSpPr>
            <a:spLocks noChangeArrowheads="1"/>
          </p:cNvSpPr>
          <p:nvPr/>
        </p:nvSpPr>
        <p:spPr bwMode="auto">
          <a:xfrm>
            <a:off x="6408016" y="1005121"/>
            <a:ext cx="3504423" cy="836806"/>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78" name="Rectangle 39"/>
          <p:cNvSpPr>
            <a:spLocks noChangeArrowheads="1"/>
          </p:cNvSpPr>
          <p:nvPr/>
        </p:nvSpPr>
        <p:spPr bwMode="auto">
          <a:xfrm>
            <a:off x="1684110" y="4172916"/>
            <a:ext cx="3528242" cy="866976"/>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79" name="Rectangle 38"/>
          <p:cNvSpPr>
            <a:spLocks noChangeArrowheads="1"/>
          </p:cNvSpPr>
          <p:nvPr/>
        </p:nvSpPr>
        <p:spPr bwMode="auto">
          <a:xfrm>
            <a:off x="1701577" y="3093166"/>
            <a:ext cx="3528242" cy="935254"/>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80" name="Rectangle 37"/>
          <p:cNvSpPr>
            <a:spLocks noChangeArrowheads="1"/>
          </p:cNvSpPr>
          <p:nvPr/>
        </p:nvSpPr>
        <p:spPr bwMode="auto">
          <a:xfrm>
            <a:off x="1701577" y="2003890"/>
            <a:ext cx="3528242" cy="905084"/>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81" name="Rectangle 32"/>
          <p:cNvSpPr>
            <a:spLocks noChangeArrowheads="1"/>
          </p:cNvSpPr>
          <p:nvPr/>
        </p:nvSpPr>
        <p:spPr bwMode="auto">
          <a:xfrm>
            <a:off x="1701577" y="994006"/>
            <a:ext cx="3528242" cy="847921"/>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882" name="Title 5"/>
          <p:cNvSpPr>
            <a:spLocks noGrp="1"/>
          </p:cNvSpPr>
          <p:nvPr>
            <p:ph type="title"/>
          </p:nvPr>
        </p:nvSpPr>
        <p:spPr/>
        <p:txBody>
          <a:bodyPr/>
          <a:lstStyle/>
          <a:p>
            <a:r>
              <a:rPr lang="en-US" altLang="en-US" dirty="0" smtClean="0"/>
              <a:t>Testing Standards</a:t>
            </a:r>
          </a:p>
        </p:txBody>
      </p:sp>
      <p:graphicFrame>
        <p:nvGraphicFramePr>
          <p:cNvPr id="79884" name="Object 11"/>
          <p:cNvGraphicFramePr>
            <a:graphicFrameLocks/>
          </p:cNvGraphicFramePr>
          <p:nvPr/>
        </p:nvGraphicFramePr>
        <p:xfrm>
          <a:off x="1827019" y="3253541"/>
          <a:ext cx="1140089" cy="743122"/>
        </p:xfrm>
        <a:graphic>
          <a:graphicData uri="http://schemas.openxmlformats.org/presentationml/2006/ole">
            <mc:AlternateContent xmlns:mc="http://schemas.openxmlformats.org/markup-compatibility/2006">
              <mc:Choice xmlns:v="urn:schemas-microsoft-com:vml" Requires="v">
                <p:oleObj spid="_x0000_s12507" name="Clip" r:id="rId3" imgW="1433513" imgH="782638" progId="">
                  <p:embed/>
                </p:oleObj>
              </mc:Choice>
              <mc:Fallback>
                <p:oleObj name="Clip" r:id="rId3" imgW="1433513" imgH="782638" progId="">
                  <p:embed/>
                  <p:pic>
                    <p:nvPicPr>
                      <p:cNvPr id="79884" name="Object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7019" y="3253541"/>
                        <a:ext cx="1140089" cy="743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885" name="Object 12"/>
          <p:cNvGraphicFramePr>
            <a:graphicFrameLocks/>
          </p:cNvGraphicFramePr>
          <p:nvPr/>
        </p:nvGraphicFramePr>
        <p:xfrm>
          <a:off x="1801613" y="2205549"/>
          <a:ext cx="1165495" cy="601801"/>
        </p:xfrm>
        <a:graphic>
          <a:graphicData uri="http://schemas.openxmlformats.org/presentationml/2006/ole">
            <mc:AlternateContent xmlns:mc="http://schemas.openxmlformats.org/markup-compatibility/2006">
              <mc:Choice xmlns:v="urn:schemas-microsoft-com:vml" Requires="v">
                <p:oleObj spid="_x0000_s12508" name="Clip" r:id="rId5" imgW="1549400" imgH="800100" progId="">
                  <p:embed/>
                </p:oleObj>
              </mc:Choice>
              <mc:Fallback>
                <p:oleObj name="Clip" r:id="rId5" imgW="1549400" imgH="800100" progId="">
                  <p:embed/>
                  <p:pic>
                    <p:nvPicPr>
                      <p:cNvPr id="79885" name="Object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01613" y="2205549"/>
                        <a:ext cx="1165495" cy="601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886" name="Object 14"/>
          <p:cNvGraphicFramePr>
            <a:graphicFrameLocks/>
          </p:cNvGraphicFramePr>
          <p:nvPr/>
        </p:nvGraphicFramePr>
        <p:xfrm>
          <a:off x="1846073" y="1128975"/>
          <a:ext cx="1152792" cy="592274"/>
        </p:xfrm>
        <a:graphic>
          <a:graphicData uri="http://schemas.openxmlformats.org/presentationml/2006/ole">
            <mc:AlternateContent xmlns:mc="http://schemas.openxmlformats.org/markup-compatibility/2006">
              <mc:Choice xmlns:v="urn:schemas-microsoft-com:vml" Requires="v">
                <p:oleObj spid="_x0000_s12509" name="Clip" r:id="rId7" imgW="1541463" imgH="1036638" progId="">
                  <p:embed/>
                </p:oleObj>
              </mc:Choice>
              <mc:Fallback>
                <p:oleObj name="Clip" r:id="rId7" imgW="1541463" imgH="1036638" progId="">
                  <p:embed/>
                  <p:pic>
                    <p:nvPicPr>
                      <p:cNvPr id="79886" name="Object 14"/>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46073" y="1128975"/>
                        <a:ext cx="1152792" cy="592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887" name="Object 15"/>
          <p:cNvGraphicFramePr>
            <a:graphicFrameLocks noChangeAspect="1"/>
          </p:cNvGraphicFramePr>
          <p:nvPr/>
        </p:nvGraphicFramePr>
        <p:xfrm>
          <a:off x="1811139" y="4358697"/>
          <a:ext cx="1155968" cy="584335"/>
        </p:xfrm>
        <a:graphic>
          <a:graphicData uri="http://schemas.openxmlformats.org/presentationml/2006/ole">
            <mc:AlternateContent xmlns:mc="http://schemas.openxmlformats.org/markup-compatibility/2006">
              <mc:Choice xmlns:v="urn:schemas-microsoft-com:vml" Requires="v">
                <p:oleObj spid="_x0000_s12510" name="Clip" r:id="rId9" imgW="2995613" imgH="1936750" progId="">
                  <p:embed/>
                </p:oleObj>
              </mc:Choice>
              <mc:Fallback>
                <p:oleObj name="Clip" r:id="rId9" imgW="2995613" imgH="1936750" progId="">
                  <p:embed/>
                  <p:pic>
                    <p:nvPicPr>
                      <p:cNvPr id="79887" name="Object 1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11139" y="4358697"/>
                        <a:ext cx="1155968" cy="58433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9888" name="TextBox 1"/>
          <p:cNvSpPr txBox="1">
            <a:spLocks noChangeArrowheads="1"/>
          </p:cNvSpPr>
          <p:nvPr/>
        </p:nvSpPr>
        <p:spPr bwMode="auto">
          <a:xfrm>
            <a:off x="3322789" y="1165495"/>
            <a:ext cx="1125799"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EN, ISO</a:t>
            </a:r>
          </a:p>
        </p:txBody>
      </p:sp>
      <p:sp>
        <p:nvSpPr>
          <p:cNvPr id="79889" name="TextBox 3"/>
          <p:cNvSpPr txBox="1">
            <a:spLocks noChangeArrowheads="1"/>
          </p:cNvSpPr>
          <p:nvPr/>
        </p:nvSpPr>
        <p:spPr bwMode="auto">
          <a:xfrm>
            <a:off x="3305324" y="1502123"/>
            <a:ext cx="844745" cy="33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Europe</a:t>
            </a:r>
          </a:p>
        </p:txBody>
      </p:sp>
      <p:sp>
        <p:nvSpPr>
          <p:cNvPr id="79890" name="TextBox 41"/>
          <p:cNvSpPr txBox="1">
            <a:spLocks noChangeArrowheads="1"/>
          </p:cNvSpPr>
          <p:nvPr/>
        </p:nvSpPr>
        <p:spPr bwMode="auto">
          <a:xfrm>
            <a:off x="3264039" y="2149973"/>
            <a:ext cx="743122"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CAN</a:t>
            </a:r>
          </a:p>
        </p:txBody>
      </p:sp>
      <p:sp>
        <p:nvSpPr>
          <p:cNvPr id="79891" name="TextBox 42"/>
          <p:cNvSpPr txBox="1">
            <a:spLocks noChangeArrowheads="1"/>
          </p:cNvSpPr>
          <p:nvPr/>
        </p:nvSpPr>
        <p:spPr bwMode="auto">
          <a:xfrm>
            <a:off x="3214815" y="2421499"/>
            <a:ext cx="900321" cy="33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Canada</a:t>
            </a:r>
          </a:p>
        </p:txBody>
      </p:sp>
      <p:sp>
        <p:nvSpPr>
          <p:cNvPr id="79892" name="TextBox 43"/>
          <p:cNvSpPr txBox="1">
            <a:spLocks noChangeArrowheads="1"/>
          </p:cNvSpPr>
          <p:nvPr/>
        </p:nvSpPr>
        <p:spPr bwMode="auto">
          <a:xfrm>
            <a:off x="3322790" y="3245601"/>
            <a:ext cx="543051"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AS</a:t>
            </a:r>
          </a:p>
        </p:txBody>
      </p:sp>
      <p:sp>
        <p:nvSpPr>
          <p:cNvPr id="79893" name="TextBox 44"/>
          <p:cNvSpPr txBox="1">
            <a:spLocks noChangeArrowheads="1"/>
          </p:cNvSpPr>
          <p:nvPr/>
        </p:nvSpPr>
        <p:spPr bwMode="auto">
          <a:xfrm>
            <a:off x="3286269" y="3574291"/>
            <a:ext cx="981302" cy="33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Australia</a:t>
            </a:r>
          </a:p>
        </p:txBody>
      </p:sp>
      <p:sp>
        <p:nvSpPr>
          <p:cNvPr id="79894" name="TextBox 45"/>
          <p:cNvSpPr txBox="1">
            <a:spLocks noChangeArrowheads="1"/>
          </p:cNvSpPr>
          <p:nvPr/>
        </p:nvSpPr>
        <p:spPr bwMode="auto">
          <a:xfrm>
            <a:off x="3262451" y="4253898"/>
            <a:ext cx="570045"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JIS</a:t>
            </a:r>
          </a:p>
        </p:txBody>
      </p:sp>
      <p:sp>
        <p:nvSpPr>
          <p:cNvPr id="79895" name="TextBox 46"/>
          <p:cNvSpPr txBox="1">
            <a:spLocks noChangeArrowheads="1"/>
          </p:cNvSpPr>
          <p:nvPr/>
        </p:nvSpPr>
        <p:spPr bwMode="auto">
          <a:xfrm>
            <a:off x="3718169" y="5252666"/>
            <a:ext cx="741534" cy="338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Japan</a:t>
            </a:r>
          </a:p>
        </p:txBody>
      </p:sp>
      <p:sp>
        <p:nvSpPr>
          <p:cNvPr id="79896" name="TextBox 47"/>
          <p:cNvSpPr txBox="1">
            <a:spLocks noChangeArrowheads="1"/>
          </p:cNvSpPr>
          <p:nvPr/>
        </p:nvSpPr>
        <p:spPr bwMode="auto">
          <a:xfrm>
            <a:off x="7816455" y="1052757"/>
            <a:ext cx="627208"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DIN</a:t>
            </a:r>
          </a:p>
        </p:txBody>
      </p:sp>
      <p:sp>
        <p:nvSpPr>
          <p:cNvPr id="79897" name="TextBox 48"/>
          <p:cNvSpPr txBox="1">
            <a:spLocks noChangeArrowheads="1"/>
          </p:cNvSpPr>
          <p:nvPr/>
        </p:nvSpPr>
        <p:spPr bwMode="auto">
          <a:xfrm>
            <a:off x="7797400" y="1341749"/>
            <a:ext cx="1028938" cy="33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Germany</a:t>
            </a:r>
          </a:p>
        </p:txBody>
      </p:sp>
      <p:sp>
        <p:nvSpPr>
          <p:cNvPr id="79898" name="TextBox 49"/>
          <p:cNvSpPr txBox="1">
            <a:spLocks noChangeArrowheads="1"/>
          </p:cNvSpPr>
          <p:nvPr/>
        </p:nvSpPr>
        <p:spPr bwMode="auto">
          <a:xfrm>
            <a:off x="7762467" y="2138858"/>
            <a:ext cx="1926084"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AATCC, ASTM</a:t>
            </a:r>
          </a:p>
        </p:txBody>
      </p:sp>
      <p:sp>
        <p:nvSpPr>
          <p:cNvPr id="79899" name="TextBox 50"/>
          <p:cNvSpPr txBox="1">
            <a:spLocks noChangeArrowheads="1"/>
          </p:cNvSpPr>
          <p:nvPr/>
        </p:nvSpPr>
        <p:spPr bwMode="auto">
          <a:xfrm>
            <a:off x="7730710" y="2481838"/>
            <a:ext cx="604978" cy="33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USA</a:t>
            </a:r>
          </a:p>
        </p:txBody>
      </p:sp>
      <p:sp>
        <p:nvSpPr>
          <p:cNvPr id="79900" name="TextBox 51"/>
          <p:cNvSpPr txBox="1">
            <a:spLocks noChangeArrowheads="1"/>
          </p:cNvSpPr>
          <p:nvPr/>
        </p:nvSpPr>
        <p:spPr bwMode="auto">
          <a:xfrm>
            <a:off x="7857739" y="3174148"/>
            <a:ext cx="543051"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BS</a:t>
            </a:r>
          </a:p>
        </p:txBody>
      </p:sp>
      <p:sp>
        <p:nvSpPr>
          <p:cNvPr id="79901" name="TextBox 52"/>
          <p:cNvSpPr txBox="1">
            <a:spLocks noChangeArrowheads="1"/>
          </p:cNvSpPr>
          <p:nvPr/>
        </p:nvSpPr>
        <p:spPr bwMode="auto">
          <a:xfrm>
            <a:off x="7840273" y="3480606"/>
            <a:ext cx="1641855" cy="338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United Kingdom</a:t>
            </a:r>
          </a:p>
        </p:txBody>
      </p:sp>
      <p:sp>
        <p:nvSpPr>
          <p:cNvPr id="79902" name="TextBox 53"/>
          <p:cNvSpPr txBox="1">
            <a:spLocks noChangeArrowheads="1"/>
          </p:cNvSpPr>
          <p:nvPr/>
        </p:nvSpPr>
        <p:spPr bwMode="auto">
          <a:xfrm>
            <a:off x="7835509" y="4299945"/>
            <a:ext cx="570045"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GB</a:t>
            </a:r>
          </a:p>
        </p:txBody>
      </p:sp>
      <p:sp>
        <p:nvSpPr>
          <p:cNvPr id="79903" name="TextBox 54"/>
          <p:cNvSpPr txBox="1">
            <a:spLocks noChangeArrowheads="1"/>
          </p:cNvSpPr>
          <p:nvPr/>
        </p:nvSpPr>
        <p:spPr bwMode="auto">
          <a:xfrm>
            <a:off x="7870442" y="4641338"/>
            <a:ext cx="717716" cy="33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China</a:t>
            </a:r>
          </a:p>
        </p:txBody>
      </p:sp>
      <p:graphicFrame>
        <p:nvGraphicFramePr>
          <p:cNvPr id="79904" name="Object 13"/>
          <p:cNvGraphicFramePr>
            <a:graphicFrameLocks/>
          </p:cNvGraphicFramePr>
          <p:nvPr/>
        </p:nvGraphicFramePr>
        <p:xfrm>
          <a:off x="6546161" y="2167440"/>
          <a:ext cx="989242" cy="585923"/>
        </p:xfrm>
        <a:graphic>
          <a:graphicData uri="http://schemas.openxmlformats.org/presentationml/2006/ole">
            <mc:AlternateContent xmlns:mc="http://schemas.openxmlformats.org/markup-compatibility/2006">
              <mc:Choice xmlns:v="urn:schemas-microsoft-com:vml" Requires="v">
                <p:oleObj spid="_x0000_s12511" name="Clip" r:id="rId11" imgW="1393825" imgH="869950" progId="">
                  <p:embed/>
                </p:oleObj>
              </mc:Choice>
              <mc:Fallback>
                <p:oleObj name="Clip" r:id="rId11" imgW="1393825" imgH="869950" progId="">
                  <p:embed/>
                  <p:pic>
                    <p:nvPicPr>
                      <p:cNvPr id="79904" name="Object 13"/>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546161" y="2167440"/>
                        <a:ext cx="989242" cy="5859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905" name="Object 16"/>
          <p:cNvGraphicFramePr>
            <a:graphicFrameLocks noChangeAspect="1"/>
          </p:cNvGraphicFramePr>
          <p:nvPr/>
        </p:nvGraphicFramePr>
        <p:xfrm>
          <a:off x="6515992" y="1122624"/>
          <a:ext cx="1019411" cy="587511"/>
        </p:xfrm>
        <a:graphic>
          <a:graphicData uri="http://schemas.openxmlformats.org/presentationml/2006/ole">
            <mc:AlternateContent xmlns:mc="http://schemas.openxmlformats.org/markup-compatibility/2006">
              <mc:Choice xmlns:v="urn:schemas-microsoft-com:vml" Requires="v">
                <p:oleObj spid="_x0000_s12512" name="Clip" r:id="rId13" imgW="2927350" imgH="1905000" progId="">
                  <p:embed/>
                </p:oleObj>
              </mc:Choice>
              <mc:Fallback>
                <p:oleObj name="Clip" r:id="rId13" imgW="2927350" imgH="1905000" progId="">
                  <p:embed/>
                  <p:pic>
                    <p:nvPicPr>
                      <p:cNvPr id="79905" name="Object 16"/>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515992" y="1122624"/>
                        <a:ext cx="1019411" cy="58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9906" name="Object 17"/>
          <p:cNvGraphicFramePr>
            <a:graphicFrameLocks noChangeAspect="1"/>
          </p:cNvGraphicFramePr>
          <p:nvPr/>
        </p:nvGraphicFramePr>
        <p:xfrm>
          <a:off x="6528694" y="3231311"/>
          <a:ext cx="1079750" cy="584335"/>
        </p:xfrm>
        <a:graphic>
          <a:graphicData uri="http://schemas.openxmlformats.org/presentationml/2006/ole">
            <mc:AlternateContent xmlns:mc="http://schemas.openxmlformats.org/markup-compatibility/2006">
              <mc:Choice xmlns:v="urn:schemas-microsoft-com:vml" Requires="v">
                <p:oleObj spid="_x0000_s12513" name="Clip" r:id="rId15" imgW="3024188" imgH="1501775" progId="">
                  <p:embed/>
                </p:oleObj>
              </mc:Choice>
              <mc:Fallback>
                <p:oleObj name="Clip" r:id="rId15" imgW="3024188" imgH="1501775" progId="">
                  <p:embed/>
                  <p:pic>
                    <p:nvPicPr>
                      <p:cNvPr id="79906" name="Object 1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28694" y="3231311"/>
                        <a:ext cx="1079750" cy="584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9907" name="Picture 52" descr="China_fla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27106" y="4285655"/>
            <a:ext cx="1081338" cy="635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909" name="Rectangle 32"/>
          <p:cNvSpPr>
            <a:spLocks noChangeArrowheads="1"/>
          </p:cNvSpPr>
          <p:nvPr/>
        </p:nvSpPr>
        <p:spPr bwMode="auto">
          <a:xfrm>
            <a:off x="1682523" y="5162158"/>
            <a:ext cx="3528242" cy="889206"/>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pic>
        <p:nvPicPr>
          <p:cNvPr id="79910" name="Picture 38"/>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812728" y="5268545"/>
            <a:ext cx="1154379" cy="6256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911" name="TextBox 1"/>
          <p:cNvSpPr txBox="1">
            <a:spLocks noChangeArrowheads="1"/>
          </p:cNvSpPr>
          <p:nvPr/>
        </p:nvSpPr>
        <p:spPr bwMode="auto">
          <a:xfrm>
            <a:off x="3262451" y="5252666"/>
            <a:ext cx="913024"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SASO</a:t>
            </a:r>
          </a:p>
        </p:txBody>
      </p:sp>
      <p:sp>
        <p:nvSpPr>
          <p:cNvPr id="79912" name="TextBox 3"/>
          <p:cNvSpPr txBox="1">
            <a:spLocks noChangeArrowheads="1"/>
          </p:cNvSpPr>
          <p:nvPr/>
        </p:nvSpPr>
        <p:spPr bwMode="auto">
          <a:xfrm>
            <a:off x="3286269" y="5590882"/>
            <a:ext cx="1344923" cy="33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Saudi Arabia</a:t>
            </a:r>
          </a:p>
        </p:txBody>
      </p:sp>
      <p:sp>
        <p:nvSpPr>
          <p:cNvPr id="79913" name="TextBox 46"/>
          <p:cNvSpPr txBox="1">
            <a:spLocks noChangeArrowheads="1"/>
          </p:cNvSpPr>
          <p:nvPr/>
        </p:nvSpPr>
        <p:spPr bwMode="auto">
          <a:xfrm>
            <a:off x="3265626" y="4582586"/>
            <a:ext cx="741535" cy="338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Japan</a:t>
            </a:r>
          </a:p>
        </p:txBody>
      </p:sp>
      <p:sp>
        <p:nvSpPr>
          <p:cNvPr id="79914" name="Rectangle 61"/>
          <p:cNvSpPr>
            <a:spLocks noChangeArrowheads="1"/>
          </p:cNvSpPr>
          <p:nvPr/>
        </p:nvSpPr>
        <p:spPr bwMode="auto">
          <a:xfrm>
            <a:off x="6368320" y="5149455"/>
            <a:ext cx="3502836" cy="862212"/>
          </a:xfrm>
          <a:prstGeom prst="rect">
            <a:avLst/>
          </a:prstGeom>
          <a:solidFill>
            <a:srgbClr val="326EC2"/>
          </a:solidFill>
          <a:ln w="3175" algn="ctr">
            <a:solidFill>
              <a:srgbClr val="326EC2">
                <a:alpha val="79999"/>
              </a:srgbClr>
            </a:solidFill>
            <a:round/>
            <a:headEnd/>
            <a:tailEnd/>
          </a:ln>
        </p:spPr>
        <p:txBody>
          <a:bodyPr wrap="none" lIns="90021" tIns="46811" rIns="90021" bIns="46811" anchor="ct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endParaRPr lang="en-US" altLang="en-US"/>
          </a:p>
        </p:txBody>
      </p:sp>
      <p:sp>
        <p:nvSpPr>
          <p:cNvPr id="79915" name="TextBox 53"/>
          <p:cNvSpPr txBox="1">
            <a:spLocks noChangeArrowheads="1"/>
          </p:cNvSpPr>
          <p:nvPr/>
        </p:nvSpPr>
        <p:spPr bwMode="auto">
          <a:xfrm>
            <a:off x="7857739" y="5214557"/>
            <a:ext cx="427137"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2000" b="1">
                <a:solidFill>
                  <a:schemeClr val="bg1"/>
                </a:solidFill>
              </a:rPr>
              <a:t>IS</a:t>
            </a:r>
          </a:p>
        </p:txBody>
      </p:sp>
      <p:sp>
        <p:nvSpPr>
          <p:cNvPr id="79916" name="TextBox 54"/>
          <p:cNvSpPr txBox="1">
            <a:spLocks noChangeArrowheads="1"/>
          </p:cNvSpPr>
          <p:nvPr/>
        </p:nvSpPr>
        <p:spPr bwMode="auto">
          <a:xfrm>
            <a:off x="7872030" y="5541658"/>
            <a:ext cx="628796" cy="338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a:solidFill>
                  <a:schemeClr val="bg1"/>
                </a:solidFill>
              </a:rPr>
              <a:t>India</a:t>
            </a:r>
          </a:p>
        </p:txBody>
      </p:sp>
      <p:pic>
        <p:nvPicPr>
          <p:cNvPr id="79917" name="Picture 4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522343" y="5301890"/>
            <a:ext cx="828867" cy="597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05220189"/>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876" y="405374"/>
            <a:ext cx="7198560" cy="432000"/>
          </a:xfrm>
        </p:spPr>
        <p:txBody>
          <a:bodyPr/>
          <a:lstStyle/>
          <a:p>
            <a:r>
              <a:rPr lang="en-US" dirty="0" smtClean="0"/>
              <a:t>  Footwear &amp; Leather  Testing Services – Highlights</a:t>
            </a:r>
            <a:endParaRPr lang="en-GB" dirty="0"/>
          </a:p>
        </p:txBody>
      </p:sp>
      <p:sp>
        <p:nvSpPr>
          <p:cNvPr id="3" name="Content Placeholder 2"/>
          <p:cNvSpPr>
            <a:spLocks noGrp="1"/>
          </p:cNvSpPr>
          <p:nvPr>
            <p:ph sz="quarter" idx="13"/>
          </p:nvPr>
        </p:nvSpPr>
        <p:spPr>
          <a:xfrm>
            <a:off x="118377" y="1125474"/>
            <a:ext cx="11520424" cy="5140751"/>
          </a:xfrm>
        </p:spPr>
        <p:txBody>
          <a:bodyPr/>
          <a:lstStyle/>
          <a:p>
            <a:r>
              <a:rPr lang="en-US" sz="2000" b="1" u="sng" dirty="0" smtClean="0">
                <a:solidFill>
                  <a:schemeClr val="tx2"/>
                </a:solidFill>
              </a:rPr>
              <a:t>Physical Testing parameters </a:t>
            </a:r>
          </a:p>
          <a:p>
            <a:r>
              <a:rPr lang="en-US" dirty="0" smtClean="0">
                <a:solidFill>
                  <a:schemeClr val="tx2"/>
                </a:solidFill>
              </a:rPr>
              <a:t>  </a:t>
            </a:r>
          </a:p>
          <a:p>
            <a:pPr marL="171450" indent="-171450">
              <a:buFontTx/>
              <a:buChar char="-"/>
            </a:pPr>
            <a:r>
              <a:rPr lang="en-US" sz="1800" dirty="0" smtClean="0"/>
              <a:t>Color </a:t>
            </a:r>
            <a:r>
              <a:rPr lang="en-US" sz="1800" dirty="0"/>
              <a:t>Fastness Parameters :  </a:t>
            </a:r>
            <a:r>
              <a:rPr lang="en-US" sz="1800" dirty="0" smtClean="0"/>
              <a:t>Colorfastness </a:t>
            </a:r>
            <a:r>
              <a:rPr lang="en-US" sz="1800" dirty="0"/>
              <a:t>to Rubbing </a:t>
            </a:r>
            <a:r>
              <a:rPr lang="en-US" sz="1800" dirty="0" smtClean="0"/>
              <a:t>, Color </a:t>
            </a:r>
            <a:r>
              <a:rPr lang="en-US" sz="1800" dirty="0"/>
              <a:t>fastness to Perspiration, Color fastness to </a:t>
            </a:r>
            <a:r>
              <a:rPr lang="en-US" sz="1800" dirty="0" smtClean="0"/>
              <a:t>Water </a:t>
            </a:r>
          </a:p>
          <a:p>
            <a:endParaRPr lang="en-US" sz="1800" dirty="0" smtClean="0"/>
          </a:p>
          <a:p>
            <a:pPr marL="171450" indent="-171450">
              <a:buFontTx/>
              <a:buChar char="-"/>
            </a:pPr>
            <a:r>
              <a:rPr lang="en-US" sz="1800" dirty="0" smtClean="0"/>
              <a:t>Functional </a:t>
            </a:r>
            <a:r>
              <a:rPr lang="en-US" sz="1800" dirty="0"/>
              <a:t>testing Parameters : Water Penetration Test , Water Vapour Absorption, Water Vapour </a:t>
            </a:r>
            <a:r>
              <a:rPr lang="en-US" sz="1800" dirty="0" smtClean="0"/>
              <a:t>Permeability.</a:t>
            </a:r>
          </a:p>
          <a:p>
            <a:endParaRPr lang="en-US" sz="1800" dirty="0" smtClean="0"/>
          </a:p>
          <a:p>
            <a:pPr marL="171450" indent="-171450">
              <a:buFontTx/>
              <a:buChar char="-"/>
            </a:pPr>
            <a:r>
              <a:rPr lang="en-US" sz="1800" dirty="0" smtClean="0"/>
              <a:t>Footwear/Leather testing Parameters </a:t>
            </a:r>
            <a:r>
              <a:rPr lang="en-US" sz="1800" dirty="0"/>
              <a:t>: Slip Resistance , Abrasion Resistance-Sole ( Drum) , Top Piece Attachment Strength, Heel Impact Resistance , Vamp Flexing , Adhesion of </a:t>
            </a:r>
            <a:r>
              <a:rPr lang="en-US" sz="1800" dirty="0" smtClean="0"/>
              <a:t>finish,</a:t>
            </a:r>
            <a:r>
              <a:rPr lang="en-GB" sz="1800" dirty="0"/>
              <a:t> Velcro Peel and Shear Strength , Abrasion Resistance of Leather, Eyelet Attachment Strength , Ross Flexing, Breaking strength of Shoe Lace, Toe Post Strength etc.</a:t>
            </a:r>
            <a:endParaRPr lang="en-GB" sz="1800" dirty="0" smtClean="0"/>
          </a:p>
          <a:p>
            <a:endParaRPr lang="en-GB" sz="2000" dirty="0" smtClean="0">
              <a:solidFill>
                <a:schemeClr val="tx2"/>
              </a:solidFill>
            </a:endParaRPr>
          </a:p>
          <a:p>
            <a:r>
              <a:rPr lang="en-US" sz="2000" b="1" u="sng" dirty="0" smtClean="0">
                <a:solidFill>
                  <a:schemeClr val="tx2"/>
                </a:solidFill>
              </a:rPr>
              <a:t>Chemical Testing Parameters </a:t>
            </a:r>
            <a:endParaRPr lang="en-US" sz="2000" dirty="0" smtClean="0">
              <a:solidFill>
                <a:schemeClr val="tx2"/>
              </a:solidFill>
            </a:endParaRPr>
          </a:p>
          <a:p>
            <a:r>
              <a:rPr lang="en-US" sz="2000" dirty="0">
                <a:solidFill>
                  <a:schemeClr val="tx2"/>
                </a:solidFill>
              </a:rPr>
              <a:t>- </a:t>
            </a:r>
            <a:r>
              <a:rPr lang="en-US" sz="2000" dirty="0"/>
              <a:t>Short chain chlorinated </a:t>
            </a:r>
            <a:r>
              <a:rPr lang="en-US" sz="2000" dirty="0" smtClean="0"/>
              <a:t>paraffin's , Azo ,</a:t>
            </a:r>
            <a:r>
              <a:rPr lang="en-GB" sz="2000" dirty="0"/>
              <a:t> Lead in Surface Coating / Lead in Substrate, Phthalates , Chromium </a:t>
            </a:r>
            <a:r>
              <a:rPr lang="en-GB" sz="2000" dirty="0" smtClean="0"/>
              <a:t>VI etc.</a:t>
            </a:r>
            <a:endParaRPr lang="en-GB" sz="2000" dirty="0"/>
          </a:p>
        </p:txBody>
      </p:sp>
      <p:pic>
        <p:nvPicPr>
          <p:cNvPr id="8" name="Picture 4" descr="sho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83496" y="74404"/>
            <a:ext cx="3781428" cy="15259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17757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Title 1"/>
          <p:cNvSpPr>
            <a:spLocks noGrp="1"/>
          </p:cNvSpPr>
          <p:nvPr>
            <p:ph type="title"/>
          </p:nvPr>
        </p:nvSpPr>
        <p:spPr/>
        <p:txBody>
          <a:bodyPr/>
          <a:lstStyle/>
          <a:p>
            <a:r>
              <a:rPr lang="en-US" altLang="en-US" dirty="0" smtClean="0"/>
              <a:t>TÜV Rheinland India  – Our Soft lines Network.</a:t>
            </a:r>
          </a:p>
        </p:txBody>
      </p:sp>
      <p:sp>
        <p:nvSpPr>
          <p:cNvPr id="73733" name="Text Placeholder 6"/>
          <p:cNvSpPr>
            <a:spLocks noGrp="1"/>
          </p:cNvSpPr>
          <p:nvPr>
            <p:ph type="body" sz="quarter" idx="13"/>
          </p:nvPr>
        </p:nvSpPr>
        <p:spPr>
          <a:xfrm>
            <a:off x="2062023" y="1268707"/>
            <a:ext cx="8052076" cy="360445"/>
          </a:xfrm>
        </p:spPr>
        <p:txBody>
          <a:bodyPr/>
          <a:lstStyle/>
          <a:p>
            <a:endParaRPr lang="en-US" altLang="en-US" smtClean="0"/>
          </a:p>
          <a:p>
            <a:endParaRPr lang="en-US" altLang="en-US" smtClean="0"/>
          </a:p>
        </p:txBody>
      </p:sp>
      <p:pic>
        <p:nvPicPr>
          <p:cNvPr id="737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9151" y="1076575"/>
            <a:ext cx="2251596" cy="1502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6" name="Content Placeholder 1"/>
          <p:cNvSpPr txBox="1">
            <a:spLocks/>
          </p:cNvSpPr>
          <p:nvPr/>
        </p:nvSpPr>
        <p:spPr bwMode="auto">
          <a:xfrm>
            <a:off x="1929867" y="2668411"/>
            <a:ext cx="3248777" cy="2929615"/>
          </a:xfrm>
          <a:prstGeom prst="rect">
            <a:avLst/>
          </a:prstGeom>
          <a:noFill/>
          <a:ln>
            <a:noFill/>
          </a:ln>
          <a:effectLst/>
          <a:extLst/>
        </p:spPr>
        <p:txBody>
          <a:bodyPr lIns="0" tIns="0" rIns="0" bIns="0"/>
          <a:lstStyle/>
          <a:p>
            <a:pPr marL="176248" indent="-176248">
              <a:spcAft>
                <a:spcPts val="600"/>
              </a:spcAft>
              <a:buClr>
                <a:srgbClr val="000000"/>
              </a:buClr>
              <a:buFont typeface="Wingdings" pitchFamily="2" charset="2"/>
              <a:buChar char="§"/>
              <a:defRPr/>
            </a:pPr>
            <a:r>
              <a:rPr lang="en-US" kern="0" dirty="0">
                <a:cs typeface="Arial" pitchFamily="34" charset="0"/>
              </a:rPr>
              <a:t>Three laboratories across India</a:t>
            </a:r>
          </a:p>
          <a:p>
            <a:pPr marL="743099" lvl="1" indent="-285807">
              <a:spcAft>
                <a:spcPts val="600"/>
              </a:spcAft>
              <a:buClr>
                <a:srgbClr val="000000"/>
              </a:buClr>
              <a:buFont typeface="Wingdings" panose="05000000000000000000" pitchFamily="2" charset="2"/>
              <a:buChar char="Ø"/>
              <a:defRPr/>
            </a:pPr>
            <a:r>
              <a:rPr lang="en-US" kern="0" dirty="0">
                <a:cs typeface="Arial" pitchFamily="34" charset="0"/>
              </a:rPr>
              <a:t>Gurgaon, </a:t>
            </a:r>
          </a:p>
          <a:p>
            <a:pPr marL="743099" lvl="1" indent="-285807">
              <a:spcAft>
                <a:spcPts val="600"/>
              </a:spcAft>
              <a:buClr>
                <a:srgbClr val="000000"/>
              </a:buClr>
              <a:buFont typeface="Wingdings" panose="05000000000000000000" pitchFamily="2" charset="2"/>
              <a:buChar char="Ø"/>
              <a:defRPr/>
            </a:pPr>
            <a:r>
              <a:rPr lang="en-US" kern="0" dirty="0">
                <a:cs typeface="Arial" pitchFamily="34" charset="0"/>
              </a:rPr>
              <a:t>Bangalore </a:t>
            </a:r>
          </a:p>
          <a:p>
            <a:pPr marL="743099" lvl="1" indent="-285807">
              <a:spcAft>
                <a:spcPts val="600"/>
              </a:spcAft>
              <a:buClr>
                <a:srgbClr val="000000"/>
              </a:buClr>
              <a:buFont typeface="Wingdings" panose="05000000000000000000" pitchFamily="2" charset="2"/>
              <a:buChar char="Ø"/>
              <a:defRPr/>
            </a:pPr>
            <a:r>
              <a:rPr lang="en-US" kern="0" dirty="0">
                <a:cs typeface="Arial" pitchFamily="34" charset="0"/>
              </a:rPr>
              <a:t>Tirupur</a:t>
            </a:r>
          </a:p>
          <a:p>
            <a:pPr>
              <a:spcAft>
                <a:spcPts val="600"/>
              </a:spcAft>
              <a:buClr>
                <a:srgbClr val="000000"/>
              </a:buClr>
              <a:defRPr/>
            </a:pPr>
            <a:endParaRPr lang="en-US" kern="0" dirty="0">
              <a:cs typeface="Arial" pitchFamily="34" charset="0"/>
            </a:endParaRPr>
          </a:p>
        </p:txBody>
      </p:sp>
      <p:sp>
        <p:nvSpPr>
          <p:cNvPr id="73736" name="TextBox 33"/>
          <p:cNvSpPr txBox="1">
            <a:spLocks noChangeAspect="1" noChangeArrowheads="1"/>
          </p:cNvSpPr>
          <p:nvPr/>
        </p:nvSpPr>
        <p:spPr bwMode="auto">
          <a:xfrm>
            <a:off x="6149194" y="5359054"/>
            <a:ext cx="612917" cy="276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1200" b="1">
                <a:solidFill>
                  <a:schemeClr val="bg1"/>
                </a:solidFill>
              </a:rPr>
              <a:t>Kochi</a:t>
            </a:r>
          </a:p>
        </p:txBody>
      </p:sp>
      <p:sp>
        <p:nvSpPr>
          <p:cNvPr id="73737" name="TextBox 29"/>
          <p:cNvSpPr txBox="1">
            <a:spLocks noChangeArrowheads="1"/>
          </p:cNvSpPr>
          <p:nvPr/>
        </p:nvSpPr>
        <p:spPr bwMode="auto">
          <a:xfrm>
            <a:off x="8149906" y="3995075"/>
            <a:ext cx="1308403" cy="276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1200" b="1">
                <a:solidFill>
                  <a:schemeClr val="bg1"/>
                </a:solidFill>
              </a:rPr>
              <a:t>Visakhapatnam</a:t>
            </a:r>
          </a:p>
        </p:txBody>
      </p:sp>
      <p:sp>
        <p:nvSpPr>
          <p:cNvPr id="73738" name="Rectangle 163"/>
          <p:cNvSpPr>
            <a:spLocks noChangeArrowheads="1"/>
          </p:cNvSpPr>
          <p:nvPr/>
        </p:nvSpPr>
        <p:spPr bwMode="auto">
          <a:xfrm>
            <a:off x="5952299" y="4930330"/>
            <a:ext cx="722480" cy="276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1200" b="1">
                <a:solidFill>
                  <a:schemeClr val="bg1"/>
                </a:solidFill>
              </a:rPr>
              <a:t>Tirupur</a:t>
            </a:r>
          </a:p>
        </p:txBody>
      </p:sp>
      <p:sp>
        <p:nvSpPr>
          <p:cNvPr id="73739" name="Rectangle 164"/>
          <p:cNvSpPr>
            <a:spLocks noChangeArrowheads="1"/>
          </p:cNvSpPr>
          <p:nvPr/>
        </p:nvSpPr>
        <p:spPr bwMode="auto">
          <a:xfrm>
            <a:off x="6166661" y="2286530"/>
            <a:ext cx="827278" cy="276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1200" b="1">
                <a:solidFill>
                  <a:schemeClr val="bg1"/>
                </a:solidFill>
              </a:rPr>
              <a:t>Gurgaon</a:t>
            </a:r>
            <a:endParaRPr lang="en-US" altLang="en-US" sz="1200"/>
          </a:p>
        </p:txBody>
      </p:sp>
      <p:sp>
        <p:nvSpPr>
          <p:cNvPr id="73740" name="TextBox 22"/>
          <p:cNvSpPr txBox="1">
            <a:spLocks noChangeArrowheads="1"/>
          </p:cNvSpPr>
          <p:nvPr/>
        </p:nvSpPr>
        <p:spPr bwMode="auto">
          <a:xfrm>
            <a:off x="7044751" y="2272240"/>
            <a:ext cx="612917" cy="276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1pPr>
            <a:lvl2pPr marL="742950" indent="-28575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11430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2057400" indent="-228600">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eaLnBrk="1" hangingPunct="1">
              <a:spcAft>
                <a:spcPct val="0"/>
              </a:spcAft>
              <a:buClrTx/>
              <a:buFontTx/>
              <a:buNone/>
            </a:pPr>
            <a:r>
              <a:rPr lang="en-US" altLang="en-US" sz="1200" b="1">
                <a:solidFill>
                  <a:schemeClr val="bg1"/>
                </a:solidFill>
              </a:rPr>
              <a:t>Noida</a:t>
            </a:r>
          </a:p>
        </p:txBody>
      </p:sp>
      <p:pic>
        <p:nvPicPr>
          <p:cNvPr id="73741" name="Picture 5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7695" y="1043230"/>
            <a:ext cx="4692149" cy="49112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9658673"/>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MIO_GUID" val="03595ce5-3e01-464c-88c8-45749d8c5302"/>
  <p:tag name="MIO_EKGUID" val="38d6abde-2d69-4b47-932a-3396706e1a34"/>
  <p:tag name="MIO_UPDATE" val="True"/>
  <p:tag name="MIO_VERSION" val="04.05.2018 18:35:10"/>
  <p:tag name="MIO_DBID" val="45D6C5C4-89E9-4184-810D-0F005109E3D2"/>
  <p:tag name="MIO_LASTDOWNLOADED" val="14.04.2020 20:37:00"/>
  <p:tag name="MIO_OBJECTNAME" val="Office"/>
  <p:tag name="MIO_LASTEDITORNAME" val="Michaela Kapalla"/>
</p:tagLst>
</file>

<file path=ppt/tags/tag107.xml><?xml version="1.0" encoding="utf-8"?>
<p:tagLst xmlns:a="http://schemas.openxmlformats.org/drawingml/2006/main" xmlns:r="http://schemas.openxmlformats.org/officeDocument/2006/relationships" xmlns:p="http://schemas.openxmlformats.org/presentationml/2006/main">
  <p:tag name="MIO_GUID" val="d92e9583-7b26-486b-90be-6e03583e8898"/>
</p:tagLst>
</file>

<file path=ppt/tags/tag108.xml><?xml version="1.0" encoding="utf-8"?>
<p:tagLst xmlns:a="http://schemas.openxmlformats.org/drawingml/2006/main" xmlns:r="http://schemas.openxmlformats.org/officeDocument/2006/relationships" xmlns:p="http://schemas.openxmlformats.org/presentationml/2006/main">
  <p:tag name="MIO_GUID" val="2054c348-a5ac-4dbc-bf82-b0d45c74b225"/>
</p:tagLst>
</file>

<file path=ppt/tags/tag109.xml><?xml version="1.0" encoding="utf-8"?>
<p:tagLst xmlns:a="http://schemas.openxmlformats.org/drawingml/2006/main" xmlns:r="http://schemas.openxmlformats.org/officeDocument/2006/relationships" xmlns:p="http://schemas.openxmlformats.org/presentationml/2006/main">
  <p:tag name="MIO_GUID" val="6ee588ff-31a0-46cf-bdf9-7f2571b087eb"/>
</p:tagLst>
</file>

<file path=ppt/tags/tag11.xml><?xml version="1.0" encoding="utf-8"?>
<p:tagLst xmlns:a="http://schemas.openxmlformats.org/drawingml/2006/main" xmlns:r="http://schemas.openxmlformats.org/officeDocument/2006/relationships" xmlns:p="http://schemas.openxmlformats.org/presentationml/2006/main">
  <p:tag name="MIO_GUID" val="ecdacc0b-80de-4efe-91b4-5f2d60594470"/>
  <p:tag name="MIO_EK" val="3"/>
  <p:tag name="MIO_EK_DESIGN" val="-1"/>
  <p:tag name="MIO_VERSION_DESIGN" val="01.01.0001 00:00:00"/>
  <p:tag name="MIO_DBID_DESIGN" val="0697DB97-ABE8-48BD-A7C2-0968716355E1"/>
  <p:tag name="MIO_EKGUID" val="3414763e-2334-4648-8777-56aaf323796b"/>
  <p:tag name="MIO_UPDATE" val="True"/>
  <p:tag name="MIO_VERSION" val="20.03.2017 14:42:37"/>
  <p:tag name="MIO_DBID" val="7f940ac8-abef-4c67-8229-2251c0bb5af3"/>
  <p:tag name="MIO_LASTDOWNLOADED" val="24.10.2017 15:16:39"/>
  <p:tag name="MIO_OBJECTNAME" val="Agenda Übersicht"/>
  <p:tag name="MIO_LASTEDITORNAME" val="empower enterprise"/>
</p:tagLst>
</file>

<file path=ppt/tags/tag110.xml><?xml version="1.0" encoding="utf-8"?>
<p:tagLst xmlns:a="http://schemas.openxmlformats.org/drawingml/2006/main" xmlns:r="http://schemas.openxmlformats.org/officeDocument/2006/relationships" xmlns:p="http://schemas.openxmlformats.org/presentationml/2006/main">
  <p:tag name="MIO_GUID" val="0e2eaa9e-06f4-4375-8cd8-1932b99f1abb"/>
</p:tagLst>
</file>

<file path=ppt/tags/tag111.xml><?xml version="1.0" encoding="utf-8"?>
<p:tagLst xmlns:a="http://schemas.openxmlformats.org/drawingml/2006/main" xmlns:r="http://schemas.openxmlformats.org/officeDocument/2006/relationships" xmlns:p="http://schemas.openxmlformats.org/presentationml/2006/main">
  <p:tag name="MIO_GUID" val="5618ea3b-7cb1-4621-8574-c33356697cc6"/>
</p:tagLst>
</file>

<file path=ppt/tags/tag112.xml><?xml version="1.0" encoding="utf-8"?>
<p:tagLst xmlns:a="http://schemas.openxmlformats.org/drawingml/2006/main" xmlns:r="http://schemas.openxmlformats.org/officeDocument/2006/relationships" xmlns:p="http://schemas.openxmlformats.org/presentationml/2006/main">
  <p:tag name="MIO_GUID" val="87593283-353d-4f6d-b86a-a7af824dbb13"/>
</p:tagLst>
</file>

<file path=ppt/tags/tag113.xml><?xml version="1.0" encoding="utf-8"?>
<p:tagLst xmlns:a="http://schemas.openxmlformats.org/drawingml/2006/main" xmlns:r="http://schemas.openxmlformats.org/officeDocument/2006/relationships" xmlns:p="http://schemas.openxmlformats.org/presentationml/2006/main">
  <p:tag name="MIO_GUID" val="6881d442-01d3-42f9-86fc-5dd9bb36a703"/>
</p:tagLst>
</file>

<file path=ppt/tags/tag114.xml><?xml version="1.0" encoding="utf-8"?>
<p:tagLst xmlns:a="http://schemas.openxmlformats.org/drawingml/2006/main" xmlns:r="http://schemas.openxmlformats.org/officeDocument/2006/relationships" xmlns:p="http://schemas.openxmlformats.org/presentationml/2006/main">
  <p:tag name="MIO_GUID" val="3a0dffb6-2e84-4986-8d50-e34af1a14dde"/>
</p:tagLst>
</file>

<file path=ppt/tags/tag115.xml><?xml version="1.0" encoding="utf-8"?>
<p:tagLst xmlns:a="http://schemas.openxmlformats.org/drawingml/2006/main" xmlns:r="http://schemas.openxmlformats.org/officeDocument/2006/relationships" xmlns:p="http://schemas.openxmlformats.org/presentationml/2006/main">
  <p:tag name="MIO_GUID" val="ee134551-fb9f-47e5-9966-fb606e594017"/>
</p:tagLst>
</file>

<file path=ppt/tags/tag116.xml><?xml version="1.0" encoding="utf-8"?>
<p:tagLst xmlns:a="http://schemas.openxmlformats.org/drawingml/2006/main" xmlns:r="http://schemas.openxmlformats.org/officeDocument/2006/relationships" xmlns:p="http://schemas.openxmlformats.org/presentationml/2006/main">
  <p:tag name="MIO_GUID" val="76dd1191-0fc5-4f08-bea8-961a7fb84b42"/>
</p:tagLst>
</file>

<file path=ppt/tags/tag117.xml><?xml version="1.0" encoding="utf-8"?>
<p:tagLst xmlns:a="http://schemas.openxmlformats.org/drawingml/2006/main" xmlns:r="http://schemas.openxmlformats.org/officeDocument/2006/relationships" xmlns:p="http://schemas.openxmlformats.org/presentationml/2006/main">
  <p:tag name="MIO_GUID" val="78cca5a4-eaac-471f-8472-774962866541"/>
</p:tagLst>
</file>

<file path=ppt/tags/tag118.xml><?xml version="1.0" encoding="utf-8"?>
<p:tagLst xmlns:a="http://schemas.openxmlformats.org/drawingml/2006/main" xmlns:r="http://schemas.openxmlformats.org/officeDocument/2006/relationships" xmlns:p="http://schemas.openxmlformats.org/presentationml/2006/main">
  <p:tag name="MIO_GUID" val="ddd725a0-ac23-495d-b2e1-78e9602c5fa0"/>
</p:tagLst>
</file>

<file path=ppt/tags/tag119.xml><?xml version="1.0" encoding="utf-8"?>
<p:tagLst xmlns:a="http://schemas.openxmlformats.org/drawingml/2006/main" xmlns:r="http://schemas.openxmlformats.org/officeDocument/2006/relationships" xmlns:p="http://schemas.openxmlformats.org/presentationml/2006/main">
  <p:tag name="MIO_GUID" val="5b567ce3-53d4-40aa-a636-d65efd3454e7"/>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3.xml><?xml version="1.0" encoding="utf-8"?>
<p:tagLst xmlns:a="http://schemas.openxmlformats.org/drawingml/2006/main" xmlns:r="http://schemas.openxmlformats.org/officeDocument/2006/relationships" xmlns:p="http://schemas.openxmlformats.org/presentationml/2006/main">
  <p:tag name="MIO_GUID" val="cd13efe9-f099-4c59-920c-7ba9575d3304"/>
  <p:tag name="MIO_EK" val="546"/>
  <p:tag name="MIO_UPDATE" val="True"/>
  <p:tag name="MIO_VERSION" val="09.02.2012 14:29:17"/>
  <p:tag name="MIO_DBID" val="0697DB97-ABE8-48BD-A7C2-0968716355E1"/>
  <p:tag name="MIO_EK_DESIGN" val="544"/>
  <p:tag name="MIO_VERSION_DESIGN" val="09.02.2012 14:18:20"/>
  <p:tag name="MIO_DBID_DESIGN" val="0697DB97-ABE8-48BD-A7C2-0968716355E1"/>
</p:tagLst>
</file>

<file path=ppt/tags/tag14.xml><?xml version="1.0" encoding="utf-8"?>
<p:tagLst xmlns:a="http://schemas.openxmlformats.org/drawingml/2006/main" xmlns:r="http://schemas.openxmlformats.org/officeDocument/2006/relationships" xmlns:p="http://schemas.openxmlformats.org/presentationml/2006/main">
  <p:tag name="MIO_GUID" val="81f66621-70be-47d1-8f18-f50c196542f8"/>
  <p:tag name="MIO_EKGUID" val="ab5a2821-9734-485b-9399-d716f13377a7"/>
  <p:tag name="MIO_UPDATE" val="True"/>
  <p:tag name="MIO_VERSION" val="04.05.2018 19:03:32"/>
  <p:tag name="MIO_DBID" val="45D6C5C4-89E9-4184-810D-0F005109E3D2"/>
  <p:tag name="MIO_LASTDOWNLOADED" val="15.04.2020 00:59:13"/>
  <p:tag name="MIO_OBJECTNAME" val="World"/>
  <p:tag name="MIO_LASTEDITORNAME" val="Michaela Kapall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27.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28.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29.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31.xml><?xml version="1.0" encoding="utf-8"?>
<p:tagLst xmlns:a="http://schemas.openxmlformats.org/drawingml/2006/main" xmlns:r="http://schemas.openxmlformats.org/officeDocument/2006/relationships" xmlns:p="http://schemas.openxmlformats.org/presentationml/2006/main">
  <p:tag name="VCT-BODYINDENTATION" val="0;0;0;14.17323;14.17323;28.34646;28.12504;42.37504;28.32677;42.5;28.32677;42.5;28.32677;42.5;28.32677;42.5;28.32677;42.5;"/>
  <p:tag name="VCT-BULLETVISIBILITY" val="G ********"/>
  <p:tag name="VCTCREATESHAPEHANDLED" val="1"/>
  <p:tag name="STYLE" val="NativeTextbox"/>
  <p:tag name="DATE" val="07/19/2017 11:25:36"/>
  <p:tag name="VCT_NATIVEBODY" val="16.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7:56"/>
  <p:tag name="MIO_OBJECTNAME" val="Contact"/>
  <p:tag name="MIO_LASTEDITORNAME" val="empower enterprise"/>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EK" val="2099"/>
  <p:tag name="MIO_FALLBACK_LAYOUT" val="10"/>
  <p:tag name="MIO_SHOW_DATE" val="True"/>
  <p:tag name="MIO_SHOW_FOOTER" val="True"/>
  <p:tag name="MIO_SHOW_PAGENUMBER" val="Tru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2.03.2017 15:12:22"/>
  <p:tag name="MIO_DBID" val="7f940ac8-abef-4c67-8229-2251c0bb5af3"/>
  <p:tag name="MIO_LASTDOWNLOADED" val="30.03.2017 17:21:18"/>
  <p:tag name="MIO_OBJECTNAME" val="TÜV Rheinland EN"/>
  <p:tag name="MIO_LASTEDITORNAME" val="Hendrik Rölfs"/>
  <p:tag name="MIO_CDID" val="4e1976f0-00f2-4571-8200-ef53bf5e2598"/>
</p:tagLst>
</file>

<file path=ppt/tags/tag50.xml><?xml version="1.0" encoding="utf-8"?>
<p:tagLst xmlns:a="http://schemas.openxmlformats.org/drawingml/2006/main" xmlns:r="http://schemas.openxmlformats.org/officeDocument/2006/relationships" xmlns:p="http://schemas.openxmlformats.org/presentationml/2006/main">
  <p:tag name="MIO_GUID" val="a1152ee3-9a01-4cda-a476-f14eeeaaef27"/>
  <p:tag name="MIO_EK" val="2169"/>
  <p:tag name="MIO_EKGUID" val="b64f8af9-3ab1-4924-b7b6-08384a4844a0"/>
  <p:tag name="MIO_UPDATE" val="True"/>
  <p:tag name="MIO_VERSION" val="22.03.2017 15:41:19"/>
  <p:tag name="MIO_DBID" val="45D6C5C4-89E9-4184-810D-0F005109E3D2"/>
  <p:tag name="MIO_LASTDOWNLOADED" val="28.08.2017 12:08:27"/>
  <p:tag name="MIO_OBJECTNAME" val="Phone"/>
  <p:tag name="MIO_LASTEDITORNAME" val="empower enterprise"/>
</p:tagLst>
</file>

<file path=ppt/tags/tag51.xml><?xml version="1.0" encoding="utf-8"?>
<p:tagLst xmlns:a="http://schemas.openxmlformats.org/drawingml/2006/main" xmlns:r="http://schemas.openxmlformats.org/officeDocument/2006/relationships" xmlns:p="http://schemas.openxmlformats.org/presentationml/2006/main">
  <p:tag name="MIO_GUID" val="ef0afc49-5a57-4b9c-b864-3b0561b62911"/>
  <p:tag name="MIO_EK" val="2171"/>
  <p:tag name="MIO_EKGUID" val="4fb00b98-4763-48a1-a2bf-c1aee6d5a88d"/>
  <p:tag name="MIO_UPDATE" val="True"/>
  <p:tag name="MIO_VERSION" val="22.03.2017 15:42:31"/>
  <p:tag name="MIO_DBID" val="45D6C5C4-89E9-4184-810D-0F005109E3D2"/>
  <p:tag name="MIO_LASTDOWNLOADED" val="28.08.2017 12:08:55"/>
  <p:tag name="MIO_OBJECTNAME" val="Share"/>
  <p:tag name="MIO_LASTEDITORNAME" val="empower enterprise"/>
</p:tagLst>
</file>

<file path=ppt/tags/tag52.xml><?xml version="1.0" encoding="utf-8"?>
<p:tagLst xmlns:a="http://schemas.openxmlformats.org/drawingml/2006/main" xmlns:r="http://schemas.openxmlformats.org/officeDocument/2006/relationships" xmlns:p="http://schemas.openxmlformats.org/presentationml/2006/main">
  <p:tag name="MIO_GUID" val="fa427b23-448a-4ba4-be04-fed1bbf56568"/>
  <p:tag name="MIO_EK" val="2092"/>
  <p:tag name="MIO_EKGUID" val="49a7629c-35d0-41b6-8e6a-b2b160c887e7"/>
  <p:tag name="MIO_UPDATE" val="True"/>
  <p:tag name="MIO_VERSION" val="20.03.2017 16:58:54"/>
  <p:tag name="MIO_DBID" val="45D6C5C4-89E9-4184-810D-0F005109E3D2"/>
  <p:tag name="MIO_LASTDOWNLOADED" val="28.08.2017 12:08:39"/>
  <p:tag name="MIO_OBJECTNAME" val="Certificate"/>
  <p:tag name="MIO_LASTEDITORNAME" val="empower enterprise"/>
</p:tagLst>
</file>

<file path=ppt/tags/tag53.xml><?xml version="1.0" encoding="utf-8"?>
<p:tagLst xmlns:a="http://schemas.openxmlformats.org/drawingml/2006/main" xmlns:r="http://schemas.openxmlformats.org/officeDocument/2006/relationships" xmlns:p="http://schemas.openxmlformats.org/presentationml/2006/main">
  <p:tag name="MIO_GUID" val="2dfa95bb-707c-413c-abbb-2d0fd8c1933d"/>
  <p:tag name="MIO_EK" val="2164"/>
  <p:tag name="MIO_EKGUID" val="c8378ec5-94eb-43e7-9e15-4734038729d4"/>
  <p:tag name="MIO_UPDATE" val="True"/>
  <p:tag name="MIO_VERSION" val="22.03.2017 15:41:07"/>
  <p:tag name="MIO_DBID" val="45D6C5C4-89E9-4184-810D-0F005109E3D2"/>
  <p:tag name="MIO_LASTDOWNLOADED" val="28.08.2017 12:11:13"/>
  <p:tag name="MIO_OBJECTNAME" val="Online Shop"/>
  <p:tag name="MIO_LASTEDITORNAME" val="empower enterprise"/>
</p:tagLst>
</file>

<file path=ppt/tags/tag54.xml><?xml version="1.0" encoding="utf-8"?>
<p:tagLst xmlns:a="http://schemas.openxmlformats.org/drawingml/2006/main" xmlns:r="http://schemas.openxmlformats.org/officeDocument/2006/relationships" xmlns:p="http://schemas.openxmlformats.org/presentationml/2006/main">
  <p:tag name="MIO_GUID" val="1c12d528-9d96-4b02-a049-b8e1bcaeed35"/>
</p:tagLst>
</file>

<file path=ppt/tags/tag55.xml><?xml version="1.0" encoding="utf-8"?>
<p:tagLst xmlns:a="http://schemas.openxmlformats.org/drawingml/2006/main" xmlns:r="http://schemas.openxmlformats.org/officeDocument/2006/relationships" xmlns:p="http://schemas.openxmlformats.org/presentationml/2006/main">
  <p:tag name="MIO_GUID" val="97c54e6a-e5f3-4b23-8a1e-e067b24800de"/>
</p:tagLst>
</file>

<file path=ppt/tags/tag56.xml><?xml version="1.0" encoding="utf-8"?>
<p:tagLst xmlns:a="http://schemas.openxmlformats.org/drawingml/2006/main" xmlns:r="http://schemas.openxmlformats.org/officeDocument/2006/relationships" xmlns:p="http://schemas.openxmlformats.org/presentationml/2006/main">
  <p:tag name="MIO_GUID" val="97c54e6a-e5f3-4b23-8a1e-e067b24800de"/>
</p:tagLst>
</file>

<file path=ppt/tags/tag57.xml><?xml version="1.0" encoding="utf-8"?>
<p:tagLst xmlns:a="http://schemas.openxmlformats.org/drawingml/2006/main" xmlns:r="http://schemas.openxmlformats.org/officeDocument/2006/relationships" xmlns:p="http://schemas.openxmlformats.org/presentationml/2006/main">
  <p:tag name="MIO_GUID" val="97c54e6a-e5f3-4b23-8a1e-e067b24800de"/>
</p:tagLst>
</file>

<file path=ppt/tags/tag58.xml><?xml version="1.0" encoding="utf-8"?>
<p:tagLst xmlns:a="http://schemas.openxmlformats.org/drawingml/2006/main" xmlns:r="http://schemas.openxmlformats.org/officeDocument/2006/relationships" xmlns:p="http://schemas.openxmlformats.org/presentationml/2006/main">
  <p:tag name="MIO_GUID" val="6150d4ce-2769-4077-98e9-230246c941e0"/>
  <p:tag name="MIO_EK" val="2093"/>
  <p:tag name="MIO_EKGUID" val="fda22750-5b9e-4efe-b111-e7ca6fa8397d"/>
  <p:tag name="MIO_UPDATE" val="True"/>
  <p:tag name="MIO_VERSION" val="20.03.2017 16:59:00"/>
  <p:tag name="MIO_DBID" val="45D6C5C4-89E9-4184-810D-0F005109E3D2"/>
  <p:tag name="MIO_LASTDOWNLOADED" val="28.08.2017 12:20:56"/>
  <p:tag name="MIO_OBJECTNAME" val="Check"/>
  <p:tag name="MIO_LASTEDITORNAME" val="empower enterprise"/>
</p:tagLst>
</file>

<file path=ppt/tags/tag59.xml><?xml version="1.0" encoding="utf-8"?>
<p:tagLst xmlns:a="http://schemas.openxmlformats.org/drawingml/2006/main" xmlns:r="http://schemas.openxmlformats.org/officeDocument/2006/relationships" xmlns:p="http://schemas.openxmlformats.org/presentationml/2006/main">
  <p:tag name="MIO_GUID" val="97c54e6a-e5f3-4b23-8a1e-e067b24800d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IO_GUID" val="1c12d528-9d96-4b02-a049-b8e1bcaeed35"/>
</p:tagLst>
</file>

<file path=ppt/tags/tag61.xml><?xml version="1.0" encoding="utf-8"?>
<p:tagLst xmlns:a="http://schemas.openxmlformats.org/drawingml/2006/main" xmlns:r="http://schemas.openxmlformats.org/officeDocument/2006/relationships" xmlns:p="http://schemas.openxmlformats.org/presentationml/2006/main">
  <p:tag name="MIO_GUID" val="8d819ff6-e9dd-48c7-b630-6928dc2722cd"/>
</p:tagLst>
</file>

<file path=ppt/tags/tag62.xml><?xml version="1.0" encoding="utf-8"?>
<p:tagLst xmlns:a="http://schemas.openxmlformats.org/drawingml/2006/main" xmlns:r="http://schemas.openxmlformats.org/officeDocument/2006/relationships" xmlns:p="http://schemas.openxmlformats.org/presentationml/2006/main">
  <p:tag name="MIO_GUID" val="76928fbd-1f2b-4062-90ef-d56472368d9e"/>
</p:tagLst>
</file>

<file path=ppt/tags/tag63.xml><?xml version="1.0" encoding="utf-8"?>
<p:tagLst xmlns:a="http://schemas.openxmlformats.org/drawingml/2006/main" xmlns:r="http://schemas.openxmlformats.org/officeDocument/2006/relationships" xmlns:p="http://schemas.openxmlformats.org/presentationml/2006/main">
  <p:tag name="MIO_GUID" val="32281650-1169-4eb0-b4f2-c2b1e27b95a9"/>
</p:tagLst>
</file>

<file path=ppt/tags/tag64.xml><?xml version="1.0" encoding="utf-8"?>
<p:tagLst xmlns:a="http://schemas.openxmlformats.org/drawingml/2006/main" xmlns:r="http://schemas.openxmlformats.org/officeDocument/2006/relationships" xmlns:p="http://schemas.openxmlformats.org/presentationml/2006/main">
  <p:tag name="MIO_GUID" val="84fc42ba-71c3-4360-b199-a9c7182c1fcc"/>
  <p:tag name="MIO_EK" val="2166"/>
  <p:tag name="MIO_EKGUID" val="c33a9979-c934-4f02-aea0-7170caee05c3"/>
  <p:tag name="MIO_UPDATE" val="True"/>
  <p:tag name="MIO_VERSION" val="22.03.2017 15:41:12"/>
  <p:tag name="MIO_DBID" val="45D6C5C4-89E9-4184-810D-0F005109E3D2"/>
  <p:tag name="MIO_LASTDOWNLOADED" val="28.08.2017 12:05:23"/>
  <p:tag name="MIO_OBJECTNAME" val="Search"/>
  <p:tag name="MIO_LASTEDITORNAME" val="empower enterprise"/>
</p:tagLst>
</file>

<file path=ppt/tags/tag65.xml><?xml version="1.0" encoding="utf-8"?>
<p:tagLst xmlns:a="http://schemas.openxmlformats.org/drawingml/2006/main" xmlns:r="http://schemas.openxmlformats.org/officeDocument/2006/relationships" xmlns:p="http://schemas.openxmlformats.org/presentationml/2006/main">
  <p:tag name="MIO_GUID" val="1396d0a9-b830-4e14-9c31-8733a53b3caa"/>
</p:tagLst>
</file>

<file path=ppt/tags/tag66.xml><?xml version="1.0" encoding="utf-8"?>
<p:tagLst xmlns:a="http://schemas.openxmlformats.org/drawingml/2006/main" xmlns:r="http://schemas.openxmlformats.org/officeDocument/2006/relationships" xmlns:p="http://schemas.openxmlformats.org/presentationml/2006/main">
  <p:tag name="MIO_GUID" val="c8fa7c4d-5846-4dea-a453-05597fefebce"/>
</p:tagLst>
</file>

<file path=ppt/tags/tag67.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68.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69.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1.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2.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3.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4.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5.xml><?xml version="1.0" encoding="utf-8"?>
<p:tagLst xmlns:a="http://schemas.openxmlformats.org/drawingml/2006/main" xmlns:r="http://schemas.openxmlformats.org/officeDocument/2006/relationships" xmlns:p="http://schemas.openxmlformats.org/presentationml/2006/main">
  <p:tag name="MIO_GUID" val="1821cc07-4b7b-49e6-8964-ecf5ad77b45d"/>
  <p:tag name="MIO_EK" val="2095"/>
  <p:tag name="MIO_EKGUID" val="5d6619c9-6828-42e7-a451-51427764b1d7"/>
  <p:tag name="MIO_UPDATE" val="True"/>
  <p:tag name="MIO_VERSION" val="20.03.2017 16:59:16"/>
  <p:tag name="MIO_DBID" val="45D6C5C4-89E9-4184-810D-0F005109E3D2"/>
  <p:tag name="MIO_LASTDOWNLOADED" val="28.08.2017 12:04:11"/>
  <p:tag name="MIO_OBJECTNAME" val="Contact"/>
  <p:tag name="MIO_LASTEDITORNAME" val="empower enterprise"/>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436</TotalTime>
  <Words>4578</Words>
  <Application>Microsoft Office PowerPoint</Application>
  <PresentationFormat>Custom</PresentationFormat>
  <Paragraphs>754</Paragraphs>
  <Slides>60</Slides>
  <Notes>3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3</vt:i4>
      </vt:variant>
      <vt:variant>
        <vt:lpstr>Slide Titles</vt:lpstr>
      </vt:variant>
      <vt:variant>
        <vt:i4>60</vt:i4>
      </vt:variant>
    </vt:vector>
  </HeadingPairs>
  <TitlesOfParts>
    <vt:vector size="74" baseType="lpstr">
      <vt:lpstr>ＭＳ Ｐゴシック</vt:lpstr>
      <vt:lpstr>宋体</vt:lpstr>
      <vt:lpstr>宋体</vt:lpstr>
      <vt:lpstr>Arial</vt:lpstr>
      <vt:lpstr>Calibri</vt:lpstr>
      <vt:lpstr>Courier New</vt:lpstr>
      <vt:lpstr>DengXian</vt:lpstr>
      <vt:lpstr>Symbol</vt:lpstr>
      <vt:lpstr>Verdana</vt:lpstr>
      <vt:lpstr>Wingdings</vt:lpstr>
      <vt:lpstr>TÜV Rheinland</vt:lpstr>
      <vt:lpstr>think-cell Folie</vt:lpstr>
      <vt:lpstr>Microsoft ClipArt Gallery</vt:lpstr>
      <vt:lpstr>Clip</vt:lpstr>
      <vt:lpstr>Compliance &amp; Testing Services Leather, Leather Products &amp; footwear Supply chain   26th  August , 2021</vt:lpstr>
      <vt:lpstr>Agenda</vt:lpstr>
      <vt:lpstr>PowerPoint Presentation</vt:lpstr>
      <vt:lpstr>Our Motivation : Weaving a safe future</vt:lpstr>
      <vt:lpstr>Softlines.</vt:lpstr>
      <vt:lpstr>Softlines Laboratories Network</vt:lpstr>
      <vt:lpstr>Testing Standards</vt:lpstr>
      <vt:lpstr>  Footwear &amp; Leather  Testing Services – Highlights</vt:lpstr>
      <vt:lpstr>TÜV Rheinland India  – Our Soft lines Network.</vt:lpstr>
      <vt:lpstr>Technical Training – EU REACH Regulation (EC) No 1907/2006</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Technical Training – REACH Regulation</vt:lpstr>
      <vt:lpstr> Legal requirement according to REACH Regulation</vt:lpstr>
      <vt:lpstr>REACH Obligations Overview at Different Object Levels</vt:lpstr>
      <vt:lpstr>Technical training – REACH Regulation</vt:lpstr>
      <vt:lpstr>3. Candidate List</vt:lpstr>
      <vt:lpstr>Technical training – REACH Regulation</vt:lpstr>
      <vt:lpstr>Technical training – REACH Regulation</vt:lpstr>
      <vt:lpstr>Technical training – REACH Regulation</vt:lpstr>
      <vt:lpstr>PowerPoint Presentation</vt:lpstr>
      <vt:lpstr>Engagement across supply chain</vt:lpstr>
      <vt:lpstr>Your Local Partner</vt:lpstr>
      <vt:lpstr>DETOXing your supply chain</vt:lpstr>
      <vt:lpstr>PowerPoint Presentation</vt:lpstr>
      <vt:lpstr>Chemical Management : Factory Level aspects {OUTPUT}</vt:lpstr>
      <vt:lpstr>Environmental Exposure Pathways of Hazardous Chemicals </vt:lpstr>
      <vt:lpstr>Sampling Point Locations</vt:lpstr>
      <vt:lpstr>MRSL &gt; Brain of the ZDHC Programme</vt:lpstr>
      <vt:lpstr>Transition to New Approach for Textile/footwear Industry</vt:lpstr>
      <vt:lpstr>PowerPoint Presentation</vt:lpstr>
      <vt:lpstr>General information about ZDHC MRSL</vt:lpstr>
      <vt:lpstr>ZDHC MRSL Version 2.0 : Your road to the top</vt:lpstr>
      <vt:lpstr>ZDHC MRSL Management Team</vt:lpstr>
      <vt:lpstr>PowerPoint Presentation</vt:lpstr>
      <vt:lpstr>PowerPoint Presentation</vt:lpstr>
      <vt:lpstr> Classes of Priority Chemicals</vt:lpstr>
      <vt:lpstr> Chemicals used at each stage of Manufactur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date on our preparations for the BIS recognition for the Footwear testing</vt:lpstr>
      <vt:lpstr>Update on our preparations for the BIS recognition for the Footwear testing</vt:lpstr>
      <vt:lpstr>Update on our preparations for the BIS recognition for the Footwear testing</vt:lpstr>
      <vt:lpstr>Footwear Services</vt:lpstr>
      <vt:lpstr>Value Added Services</vt:lpstr>
      <vt:lpstr>Time for Questions and Answers </vt:lpstr>
      <vt:lpstr>PowerPoint Presentation</vt:lpstr>
    </vt:vector>
  </TitlesOfParts>
  <Company>TÜV Rhein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Perspectives</dc:title>
  <dc:creator>Alfredo Elsner</dc:creator>
  <cp:lastModifiedBy>Shivendra Parmar</cp:lastModifiedBy>
  <cp:revision>425</cp:revision>
  <cp:lastPrinted>2019-12-04T07:10:25Z</cp:lastPrinted>
  <dcterms:created xsi:type="dcterms:W3CDTF">2016-12-05T09:44:27Z</dcterms:created>
  <dcterms:modified xsi:type="dcterms:W3CDTF">2021-08-25T11:5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1-08-24T08:49:42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69d40870-eca6-4dd1-bb92-ba83a75c036d</vt:lpwstr>
  </property>
  <property fmtid="{D5CDD505-2E9C-101B-9397-08002B2CF9AE}" pid="8" name="MSIP_Label_d3d538fd-7cd2-4b8b-bd42-f6ee8cc1e568_ContentBits">
    <vt:lpwstr>0</vt:lpwstr>
  </property>
</Properties>
</file>